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wdp" ContentType="image/vnd.ms-photo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0" r:id="rId3"/>
  </p:sldMasterIdLst>
  <p:notesMasterIdLst>
    <p:notesMasterId r:id="rId6"/>
  </p:notesMasterIdLst>
  <p:sldIdLst>
    <p:sldId id="256" r:id="rId4"/>
    <p:sldId id="462" r:id="rId5"/>
    <p:sldId id="3440" r:id="rId7"/>
    <p:sldId id="258" r:id="rId8"/>
    <p:sldId id="3482" r:id="rId9"/>
    <p:sldId id="277" r:id="rId10"/>
    <p:sldId id="3442" r:id="rId11"/>
    <p:sldId id="3446" r:id="rId12"/>
    <p:sldId id="3447" r:id="rId13"/>
    <p:sldId id="3449" r:id="rId14"/>
    <p:sldId id="3450" r:id="rId15"/>
    <p:sldId id="463" r:id="rId16"/>
    <p:sldId id="3420" r:id="rId17"/>
    <p:sldId id="3472" r:id="rId18"/>
    <p:sldId id="3473" r:id="rId19"/>
    <p:sldId id="464" r:id="rId20"/>
    <p:sldId id="3477" r:id="rId21"/>
    <p:sldId id="3478" r:id="rId22"/>
    <p:sldId id="3480" r:id="rId23"/>
    <p:sldId id="3423" r:id="rId24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</p:showPr>
  <p:clrMru>
    <a:srgbClr val="47BAF3"/>
    <a:srgbClr val="0E9AE2"/>
    <a:srgbClr val="E6E6E6"/>
    <a:srgbClr val="1C221E"/>
    <a:srgbClr val="455C4C"/>
    <a:srgbClr val="EFF1F3"/>
    <a:srgbClr val="D3D6DA"/>
    <a:srgbClr val="DDE1E6"/>
    <a:srgbClr val="FDEFDC"/>
    <a:srgbClr val="A823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82" autoAdjust="0"/>
    <p:restoredTop sz="93898" autoAdjust="0"/>
  </p:normalViewPr>
  <p:slideViewPr>
    <p:cSldViewPr snapToGrid="0">
      <p:cViewPr>
        <p:scale>
          <a:sx n="50" d="100"/>
          <a:sy n="50" d="100"/>
        </p:scale>
        <p:origin x="1314" y="12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8" Type="http://schemas.openxmlformats.org/officeDocument/2006/relationships/tags" Target="tags/tag17.xml"/><Relationship Id="rId27" Type="http://schemas.openxmlformats.org/officeDocument/2006/relationships/tableStyles" Target="tableStyles.xml"/><Relationship Id="rId26" Type="http://schemas.openxmlformats.org/officeDocument/2006/relationships/viewProps" Target="viewProps.xml"/><Relationship Id="rId25" Type="http://schemas.openxmlformats.org/officeDocument/2006/relationships/presProps" Target="presProps.xml"/><Relationship Id="rId24" Type="http://schemas.openxmlformats.org/officeDocument/2006/relationships/slide" Target="slides/slide20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34315E-AA88-4C4F-BC7F-691CB14FAFB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8D1EEC-C44F-4BFC-84C2-8741EE48D1A9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55EFFF-B0FB-403A-A486-EC5484ACBE9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55EFFF-B0FB-403A-A486-EC5484ACBE9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21E8CE-9CC8-49CD-83DC-F491AC292AD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21E8CE-9CC8-49CD-83DC-F491AC292AD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21E8CE-9CC8-49CD-83DC-F491AC292AD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21E8CE-9CC8-49CD-83DC-F491AC292AD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55EFFF-B0FB-403A-A486-EC5484ACBE9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-32063822" y="52592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E6E6E6"/>
                </a:solidFill>
              </a:rPr>
              <a:t>8435759</a:t>
            </a:r>
            <a:endParaRPr lang="zh-CN" altLang="en-US" dirty="0">
              <a:solidFill>
                <a:srgbClr val="E6E6E6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4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rgbClr val="E6E6E6"/>
              </a:solidFill>
            </a:endParaRPr>
          </a:p>
        </p:txBody>
      </p:sp>
      <p:grpSp>
        <p:nvGrpSpPr>
          <p:cNvPr id="438" name="组合 437"/>
          <p:cNvGrpSpPr/>
          <p:nvPr userDrawn="1"/>
        </p:nvGrpSpPr>
        <p:grpSpPr>
          <a:xfrm rot="20715591">
            <a:off x="-2678010" y="-1722569"/>
            <a:ext cx="14438908" cy="11720996"/>
            <a:chOff x="13556559" y="-5698344"/>
            <a:chExt cx="15242125" cy="12373020"/>
          </a:xfrm>
          <a:solidFill>
            <a:schemeClr val="accent4">
              <a:alpha val="15000"/>
            </a:schemeClr>
          </a:solidFill>
        </p:grpSpPr>
        <p:sp>
          <p:nvSpPr>
            <p:cNvPr id="9" name="iconfont-11894-5689857"/>
            <p:cNvSpPr>
              <a:spLocks noChangeAspect="1"/>
            </p:cNvSpPr>
            <p:nvPr userDrawn="1"/>
          </p:nvSpPr>
          <p:spPr bwMode="auto">
            <a:xfrm>
              <a:off x="13556559" y="-569834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08" name="iconfont-11894-5689857"/>
            <p:cNvSpPr>
              <a:spLocks noChangeAspect="1"/>
            </p:cNvSpPr>
            <p:nvPr userDrawn="1"/>
          </p:nvSpPr>
          <p:spPr bwMode="auto">
            <a:xfrm>
              <a:off x="14775929" y="-5662675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09" name="iconfont-11894-5689857"/>
            <p:cNvSpPr>
              <a:spLocks noChangeAspect="1"/>
            </p:cNvSpPr>
            <p:nvPr userDrawn="1"/>
          </p:nvSpPr>
          <p:spPr bwMode="auto">
            <a:xfrm>
              <a:off x="15995299" y="-5675673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0" name="iconfont-11894-5689857"/>
            <p:cNvSpPr>
              <a:spLocks noChangeAspect="1"/>
            </p:cNvSpPr>
            <p:nvPr userDrawn="1"/>
          </p:nvSpPr>
          <p:spPr bwMode="auto">
            <a:xfrm>
              <a:off x="17214969" y="-569834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1" name="iconfont-11894-5689857"/>
            <p:cNvSpPr>
              <a:spLocks noChangeAspect="1"/>
            </p:cNvSpPr>
            <p:nvPr userDrawn="1"/>
          </p:nvSpPr>
          <p:spPr bwMode="auto">
            <a:xfrm>
              <a:off x="18434538" y="-5698344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2" name="iconfont-11894-5689857"/>
            <p:cNvSpPr>
              <a:spLocks noChangeAspect="1"/>
            </p:cNvSpPr>
            <p:nvPr userDrawn="1"/>
          </p:nvSpPr>
          <p:spPr bwMode="auto">
            <a:xfrm>
              <a:off x="19746077" y="-5698344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3" name="iconfont-11894-5689857"/>
            <p:cNvSpPr>
              <a:spLocks noChangeAspect="1"/>
            </p:cNvSpPr>
            <p:nvPr userDrawn="1"/>
          </p:nvSpPr>
          <p:spPr bwMode="auto">
            <a:xfrm>
              <a:off x="20872779" y="-5696863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4" name="iconfont-11894-5689857"/>
            <p:cNvSpPr>
              <a:spLocks noChangeAspect="1"/>
            </p:cNvSpPr>
            <p:nvPr userDrawn="1"/>
          </p:nvSpPr>
          <p:spPr bwMode="auto">
            <a:xfrm>
              <a:off x="22092150" y="-5691945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5" name="iconfont-11894-5689857"/>
            <p:cNvSpPr>
              <a:spLocks noChangeAspect="1"/>
            </p:cNvSpPr>
            <p:nvPr userDrawn="1"/>
          </p:nvSpPr>
          <p:spPr bwMode="auto">
            <a:xfrm>
              <a:off x="23401954" y="-5698344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0" name="iconfont-11894-5689857"/>
            <p:cNvSpPr>
              <a:spLocks noChangeAspect="1"/>
            </p:cNvSpPr>
            <p:nvPr userDrawn="1"/>
          </p:nvSpPr>
          <p:spPr bwMode="auto">
            <a:xfrm>
              <a:off x="24530889" y="-569834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17" name="iconfont-11894-5689857"/>
            <p:cNvSpPr>
              <a:spLocks noChangeAspect="1"/>
            </p:cNvSpPr>
            <p:nvPr userDrawn="1"/>
          </p:nvSpPr>
          <p:spPr bwMode="auto">
            <a:xfrm>
              <a:off x="25750260" y="-5629091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18" name="iconfont-11894-5689857"/>
            <p:cNvSpPr>
              <a:spLocks noChangeAspect="1"/>
            </p:cNvSpPr>
            <p:nvPr userDrawn="1"/>
          </p:nvSpPr>
          <p:spPr bwMode="auto">
            <a:xfrm>
              <a:off x="26969630" y="-5692242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9" name="iconfont-11894-5689857"/>
            <p:cNvSpPr>
              <a:spLocks noChangeAspect="1"/>
            </p:cNvSpPr>
            <p:nvPr userDrawn="1"/>
          </p:nvSpPr>
          <p:spPr bwMode="auto">
            <a:xfrm>
              <a:off x="28188999" y="-569834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0" name="iconfont-11894-5689857"/>
            <p:cNvSpPr>
              <a:spLocks noChangeAspect="1"/>
            </p:cNvSpPr>
            <p:nvPr userDrawn="1"/>
          </p:nvSpPr>
          <p:spPr bwMode="auto">
            <a:xfrm>
              <a:off x="13556559" y="-422792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91" name="iconfont-11894-5689857"/>
            <p:cNvSpPr>
              <a:spLocks noChangeAspect="1"/>
            </p:cNvSpPr>
            <p:nvPr userDrawn="1"/>
          </p:nvSpPr>
          <p:spPr bwMode="auto">
            <a:xfrm>
              <a:off x="14775929" y="-4192258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2" name="iconfont-11894-5689857"/>
            <p:cNvSpPr>
              <a:spLocks noChangeAspect="1"/>
            </p:cNvSpPr>
            <p:nvPr userDrawn="1"/>
          </p:nvSpPr>
          <p:spPr bwMode="auto">
            <a:xfrm>
              <a:off x="15995299" y="-4205256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3" name="iconfont-11894-5689857"/>
            <p:cNvSpPr>
              <a:spLocks noChangeAspect="1"/>
            </p:cNvSpPr>
            <p:nvPr userDrawn="1"/>
          </p:nvSpPr>
          <p:spPr bwMode="auto">
            <a:xfrm>
              <a:off x="17214969" y="-4227927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4" name="iconfont-11894-5689857"/>
            <p:cNvSpPr>
              <a:spLocks noChangeAspect="1"/>
            </p:cNvSpPr>
            <p:nvPr userDrawn="1"/>
          </p:nvSpPr>
          <p:spPr bwMode="auto">
            <a:xfrm>
              <a:off x="18434041" y="-4227927"/>
              <a:ext cx="609685" cy="609685"/>
            </a:xfrm>
            <a:custGeom>
              <a:avLst/>
              <a:gdLst>
                <a:gd name="T0" fmla="*/ 12800 w 12800"/>
                <a:gd name="T1" fmla="*/ 11680 h 12800"/>
                <a:gd name="T2" fmla="*/ 11680 w 12800"/>
                <a:gd name="T3" fmla="*/ 12800 h 12800"/>
                <a:gd name="T4" fmla="*/ 1120 w 12800"/>
                <a:gd name="T5" fmla="*/ 12800 h 12800"/>
                <a:gd name="T6" fmla="*/ 0 w 12800"/>
                <a:gd name="T7" fmla="*/ 11680 h 12800"/>
                <a:gd name="T8" fmla="*/ 0 w 12800"/>
                <a:gd name="T9" fmla="*/ 1120 h 12800"/>
                <a:gd name="T10" fmla="*/ 1120 w 12800"/>
                <a:gd name="T11" fmla="*/ 0 h 12800"/>
                <a:gd name="T12" fmla="*/ 11680 w 12800"/>
                <a:gd name="T13" fmla="*/ 0 h 12800"/>
                <a:gd name="T14" fmla="*/ 12800 w 12800"/>
                <a:gd name="T15" fmla="*/ 1120 h 12800"/>
                <a:gd name="T16" fmla="*/ 12800 w 12800"/>
                <a:gd name="T17" fmla="*/ 11680 h 12800"/>
                <a:gd name="T18" fmla="*/ 12005 w 12800"/>
                <a:gd name="T19" fmla="*/ 1366 h 12800"/>
                <a:gd name="T20" fmla="*/ 11466 w 12800"/>
                <a:gd name="T21" fmla="*/ 800 h 12800"/>
                <a:gd name="T22" fmla="*/ 1200 w 12800"/>
                <a:gd name="T23" fmla="*/ 800 h 12800"/>
                <a:gd name="T24" fmla="*/ 800 w 12800"/>
                <a:gd name="T25" fmla="*/ 1200 h 12800"/>
                <a:gd name="T26" fmla="*/ 800 w 12800"/>
                <a:gd name="T27" fmla="*/ 11500 h 12800"/>
                <a:gd name="T28" fmla="*/ 1300 w 12800"/>
                <a:gd name="T29" fmla="*/ 12000 h 12800"/>
                <a:gd name="T30" fmla="*/ 11500 w 12800"/>
                <a:gd name="T31" fmla="*/ 12000 h 12800"/>
                <a:gd name="T32" fmla="*/ 12005 w 12800"/>
                <a:gd name="T33" fmla="*/ 11434 h 12800"/>
                <a:gd name="T34" fmla="*/ 12000 w 12800"/>
                <a:gd name="T35" fmla="*/ 1200 h 12800"/>
                <a:gd name="T36" fmla="*/ 12005 w 12800"/>
                <a:gd name="T37" fmla="*/ 1366 h 12800"/>
                <a:gd name="T38" fmla="*/ 8800 w 12800"/>
                <a:gd name="T39" fmla="*/ 10400 h 12800"/>
                <a:gd name="T40" fmla="*/ 4000 w 12800"/>
                <a:gd name="T41" fmla="*/ 10400 h 12800"/>
                <a:gd name="T42" fmla="*/ 4000 w 12800"/>
                <a:gd name="T43" fmla="*/ 7200 h 12800"/>
                <a:gd name="T44" fmla="*/ 1600 w 12800"/>
                <a:gd name="T45" fmla="*/ 7200 h 12800"/>
                <a:gd name="T46" fmla="*/ 6400 w 12800"/>
                <a:gd name="T47" fmla="*/ 1562 h 12800"/>
                <a:gd name="T48" fmla="*/ 11200 w 12800"/>
                <a:gd name="T49" fmla="*/ 7200 h 12800"/>
                <a:gd name="T50" fmla="*/ 8800 w 12800"/>
                <a:gd name="T51" fmla="*/ 7200 h 12800"/>
                <a:gd name="T52" fmla="*/ 8800 w 12800"/>
                <a:gd name="T53" fmla="*/ 10400 h 12800"/>
                <a:gd name="T54" fmla="*/ 4800 w 12800"/>
                <a:gd name="T55" fmla="*/ 9600 h 12800"/>
                <a:gd name="T56" fmla="*/ 8000 w 12800"/>
                <a:gd name="T57" fmla="*/ 9600 h 12800"/>
                <a:gd name="T58" fmla="*/ 8000 w 12800"/>
                <a:gd name="T59" fmla="*/ 6400 h 12800"/>
                <a:gd name="T60" fmla="*/ 9566 w 12800"/>
                <a:gd name="T61" fmla="*/ 6400 h 12800"/>
                <a:gd name="T62" fmla="*/ 6400 w 12800"/>
                <a:gd name="T63" fmla="*/ 2900 h 12800"/>
                <a:gd name="T64" fmla="*/ 3280 w 12800"/>
                <a:gd name="T65" fmla="*/ 6400 h 12800"/>
                <a:gd name="T66" fmla="*/ 4800 w 12800"/>
                <a:gd name="T67" fmla="*/ 6400 h 12800"/>
                <a:gd name="T68" fmla="*/ 4800 w 12800"/>
                <a:gd name="T69" fmla="*/ 96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800" h="12800">
                  <a:moveTo>
                    <a:pt x="12800" y="11680"/>
                  </a:moveTo>
                  <a:cubicBezTo>
                    <a:pt x="12800" y="12298"/>
                    <a:pt x="12298" y="12800"/>
                    <a:pt x="11680" y="12800"/>
                  </a:cubicBezTo>
                  <a:lnTo>
                    <a:pt x="1120" y="12800"/>
                  </a:lnTo>
                  <a:cubicBezTo>
                    <a:pt x="502" y="12800"/>
                    <a:pt x="0" y="12298"/>
                    <a:pt x="0" y="11680"/>
                  </a:cubicBezTo>
                  <a:lnTo>
                    <a:pt x="0" y="1120"/>
                  </a:lnTo>
                  <a:cubicBezTo>
                    <a:pt x="0" y="502"/>
                    <a:pt x="502" y="0"/>
                    <a:pt x="1120" y="0"/>
                  </a:cubicBezTo>
                  <a:lnTo>
                    <a:pt x="11680" y="0"/>
                  </a:lnTo>
                  <a:cubicBezTo>
                    <a:pt x="12298" y="0"/>
                    <a:pt x="12800" y="502"/>
                    <a:pt x="12800" y="1120"/>
                  </a:cubicBezTo>
                  <a:lnTo>
                    <a:pt x="12800" y="11680"/>
                  </a:lnTo>
                  <a:close/>
                  <a:moveTo>
                    <a:pt x="12005" y="1366"/>
                  </a:moveTo>
                  <a:cubicBezTo>
                    <a:pt x="12005" y="1017"/>
                    <a:pt x="11706" y="800"/>
                    <a:pt x="11466" y="800"/>
                  </a:cubicBezTo>
                  <a:lnTo>
                    <a:pt x="1200" y="800"/>
                  </a:lnTo>
                  <a:cubicBezTo>
                    <a:pt x="1038" y="800"/>
                    <a:pt x="800" y="1001"/>
                    <a:pt x="800" y="1200"/>
                  </a:cubicBezTo>
                  <a:lnTo>
                    <a:pt x="800" y="11500"/>
                  </a:lnTo>
                  <a:cubicBezTo>
                    <a:pt x="800" y="11740"/>
                    <a:pt x="1060" y="12000"/>
                    <a:pt x="1300" y="12000"/>
                  </a:cubicBezTo>
                  <a:lnTo>
                    <a:pt x="11500" y="12000"/>
                  </a:lnTo>
                  <a:cubicBezTo>
                    <a:pt x="11740" y="12000"/>
                    <a:pt x="12005" y="11674"/>
                    <a:pt x="12005" y="11434"/>
                  </a:cubicBezTo>
                  <a:lnTo>
                    <a:pt x="12000" y="1200"/>
                  </a:lnTo>
                  <a:lnTo>
                    <a:pt x="12005" y="1366"/>
                  </a:lnTo>
                  <a:close/>
                  <a:moveTo>
                    <a:pt x="8800" y="10400"/>
                  </a:moveTo>
                  <a:lnTo>
                    <a:pt x="4000" y="10400"/>
                  </a:lnTo>
                  <a:lnTo>
                    <a:pt x="4000" y="7200"/>
                  </a:lnTo>
                  <a:lnTo>
                    <a:pt x="1600" y="7200"/>
                  </a:lnTo>
                  <a:lnTo>
                    <a:pt x="6400" y="1562"/>
                  </a:lnTo>
                  <a:lnTo>
                    <a:pt x="11200" y="7200"/>
                  </a:lnTo>
                  <a:lnTo>
                    <a:pt x="8800" y="7200"/>
                  </a:lnTo>
                  <a:lnTo>
                    <a:pt x="8800" y="10400"/>
                  </a:lnTo>
                  <a:close/>
                  <a:moveTo>
                    <a:pt x="4800" y="9600"/>
                  </a:moveTo>
                  <a:lnTo>
                    <a:pt x="8000" y="9600"/>
                  </a:lnTo>
                  <a:lnTo>
                    <a:pt x="8000" y="6400"/>
                  </a:lnTo>
                  <a:lnTo>
                    <a:pt x="9566" y="6400"/>
                  </a:lnTo>
                  <a:lnTo>
                    <a:pt x="6400" y="2900"/>
                  </a:lnTo>
                  <a:lnTo>
                    <a:pt x="3280" y="6400"/>
                  </a:lnTo>
                  <a:lnTo>
                    <a:pt x="4800" y="6400"/>
                  </a:lnTo>
                  <a:lnTo>
                    <a:pt x="4800" y="96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25" name="iconfont-11894-5689857"/>
            <p:cNvSpPr>
              <a:spLocks noChangeAspect="1"/>
            </p:cNvSpPr>
            <p:nvPr userDrawn="1"/>
          </p:nvSpPr>
          <p:spPr bwMode="auto">
            <a:xfrm>
              <a:off x="19653408" y="-4227927"/>
              <a:ext cx="609685" cy="609685"/>
            </a:xfrm>
            <a:custGeom>
              <a:avLst/>
              <a:gdLst>
                <a:gd name="T0" fmla="*/ 12800 w 12800"/>
                <a:gd name="T1" fmla="*/ 12800 h 12800"/>
                <a:gd name="T2" fmla="*/ 0 w 12800"/>
                <a:gd name="T3" fmla="*/ 12800 h 12800"/>
                <a:gd name="T4" fmla="*/ 0 w 12800"/>
                <a:gd name="T5" fmla="*/ 0 h 12800"/>
                <a:gd name="T6" fmla="*/ 800 w 12800"/>
                <a:gd name="T7" fmla="*/ 0 h 12800"/>
                <a:gd name="T8" fmla="*/ 800 w 12800"/>
                <a:gd name="T9" fmla="*/ 12000 h 12800"/>
                <a:gd name="T10" fmla="*/ 12800 w 12800"/>
                <a:gd name="T11" fmla="*/ 12000 h 12800"/>
                <a:gd name="T12" fmla="*/ 12800 w 12800"/>
                <a:gd name="T13" fmla="*/ 12800 h 12800"/>
                <a:gd name="T14" fmla="*/ 800 w 12800"/>
                <a:gd name="T15" fmla="*/ 12480 h 12800"/>
                <a:gd name="T16" fmla="*/ 0 w 12800"/>
                <a:gd name="T17" fmla="*/ 12240 h 12800"/>
                <a:gd name="T18" fmla="*/ 2720 w 12800"/>
                <a:gd name="T19" fmla="*/ 2320 h 12800"/>
                <a:gd name="T20" fmla="*/ 6080 w 12800"/>
                <a:gd name="T21" fmla="*/ 7600 h 12800"/>
                <a:gd name="T22" fmla="*/ 8400 w 12800"/>
                <a:gd name="T23" fmla="*/ 2400 h 12800"/>
                <a:gd name="T24" fmla="*/ 12800 w 12800"/>
                <a:gd name="T25" fmla="*/ 2400 h 12800"/>
                <a:gd name="T26" fmla="*/ 12800 w 12800"/>
                <a:gd name="T27" fmla="*/ 3200 h 12800"/>
                <a:gd name="T28" fmla="*/ 8960 w 12800"/>
                <a:gd name="T29" fmla="*/ 3200 h 12800"/>
                <a:gd name="T30" fmla="*/ 6240 w 12800"/>
                <a:gd name="T31" fmla="*/ 9280 h 12800"/>
                <a:gd name="T32" fmla="*/ 3040 w 12800"/>
                <a:gd name="T33" fmla="*/ 4400 h 12800"/>
                <a:gd name="T34" fmla="*/ 800 w 12800"/>
                <a:gd name="T35" fmla="*/ 1248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00" h="12800">
                  <a:moveTo>
                    <a:pt x="12800" y="12800"/>
                  </a:moveTo>
                  <a:lnTo>
                    <a:pt x="0" y="12800"/>
                  </a:lnTo>
                  <a:lnTo>
                    <a:pt x="0" y="0"/>
                  </a:lnTo>
                  <a:lnTo>
                    <a:pt x="800" y="0"/>
                  </a:lnTo>
                  <a:lnTo>
                    <a:pt x="800" y="12000"/>
                  </a:lnTo>
                  <a:lnTo>
                    <a:pt x="12800" y="12000"/>
                  </a:lnTo>
                  <a:lnTo>
                    <a:pt x="12800" y="12800"/>
                  </a:lnTo>
                  <a:close/>
                  <a:moveTo>
                    <a:pt x="800" y="12480"/>
                  </a:moveTo>
                  <a:lnTo>
                    <a:pt x="0" y="12240"/>
                  </a:lnTo>
                  <a:lnTo>
                    <a:pt x="2720" y="2320"/>
                  </a:lnTo>
                  <a:lnTo>
                    <a:pt x="6080" y="7600"/>
                  </a:lnTo>
                  <a:lnTo>
                    <a:pt x="8400" y="2400"/>
                  </a:lnTo>
                  <a:lnTo>
                    <a:pt x="12800" y="2400"/>
                  </a:lnTo>
                  <a:lnTo>
                    <a:pt x="12800" y="3200"/>
                  </a:lnTo>
                  <a:lnTo>
                    <a:pt x="8960" y="3200"/>
                  </a:lnTo>
                  <a:lnTo>
                    <a:pt x="6240" y="9280"/>
                  </a:lnTo>
                  <a:lnTo>
                    <a:pt x="3040" y="4400"/>
                  </a:lnTo>
                  <a:lnTo>
                    <a:pt x="800" y="124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6" name="iconfont-11894-5689857"/>
            <p:cNvSpPr>
              <a:spLocks noChangeAspect="1"/>
            </p:cNvSpPr>
            <p:nvPr userDrawn="1"/>
          </p:nvSpPr>
          <p:spPr bwMode="auto">
            <a:xfrm>
              <a:off x="20872779" y="-4226446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" name="iconfont-11894-5689857"/>
            <p:cNvSpPr>
              <a:spLocks noChangeAspect="1"/>
            </p:cNvSpPr>
            <p:nvPr userDrawn="1"/>
          </p:nvSpPr>
          <p:spPr bwMode="auto">
            <a:xfrm>
              <a:off x="22092150" y="-4221528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9" name="iconfont-11894-5689857"/>
            <p:cNvSpPr>
              <a:spLocks noChangeAspect="1"/>
            </p:cNvSpPr>
            <p:nvPr userDrawn="1"/>
          </p:nvSpPr>
          <p:spPr bwMode="auto">
            <a:xfrm>
              <a:off x="23311520" y="-4227927"/>
              <a:ext cx="609685" cy="609685"/>
            </a:xfrm>
            <a:custGeom>
              <a:avLst/>
              <a:gdLst>
                <a:gd name="T0" fmla="*/ 0 w 12800"/>
                <a:gd name="T1" fmla="*/ 800 h 12800"/>
                <a:gd name="T2" fmla="*/ 0 w 12800"/>
                <a:gd name="T3" fmla="*/ 12000 h 12800"/>
                <a:gd name="T4" fmla="*/ 800 w 12800"/>
                <a:gd name="T5" fmla="*/ 12800 h 12800"/>
                <a:gd name="T6" fmla="*/ 4800 w 12800"/>
                <a:gd name="T7" fmla="*/ 12800 h 12800"/>
                <a:gd name="T8" fmla="*/ 4800 w 12800"/>
                <a:gd name="T9" fmla="*/ 12000 h 12800"/>
                <a:gd name="T10" fmla="*/ 8000 w 12800"/>
                <a:gd name="T11" fmla="*/ 12000 h 12800"/>
                <a:gd name="T12" fmla="*/ 8000 w 12800"/>
                <a:gd name="T13" fmla="*/ 12800 h 12800"/>
                <a:gd name="T14" fmla="*/ 12000 w 12800"/>
                <a:gd name="T15" fmla="*/ 12800 h 12800"/>
                <a:gd name="T16" fmla="*/ 12800 w 12800"/>
                <a:gd name="T17" fmla="*/ 12000 h 12800"/>
                <a:gd name="T18" fmla="*/ 12800 w 12800"/>
                <a:gd name="T19" fmla="*/ 800 h 12800"/>
                <a:gd name="T20" fmla="*/ 12000 w 12800"/>
                <a:gd name="T21" fmla="*/ 0 h 12800"/>
                <a:gd name="T22" fmla="*/ 800 w 12800"/>
                <a:gd name="T23" fmla="*/ 0 h 12800"/>
                <a:gd name="T24" fmla="*/ 0 w 12800"/>
                <a:gd name="T25" fmla="*/ 800 h 12800"/>
                <a:gd name="T26" fmla="*/ 8000 w 12800"/>
                <a:gd name="T27" fmla="*/ 11200 h 12800"/>
                <a:gd name="T28" fmla="*/ 4800 w 12800"/>
                <a:gd name="T29" fmla="*/ 11200 h 12800"/>
                <a:gd name="T30" fmla="*/ 4800 w 12800"/>
                <a:gd name="T31" fmla="*/ 10400 h 12800"/>
                <a:gd name="T32" fmla="*/ 8000 w 12800"/>
                <a:gd name="T33" fmla="*/ 10400 h 12800"/>
                <a:gd name="T34" fmla="*/ 8000 w 12800"/>
                <a:gd name="T35" fmla="*/ 11200 h 12800"/>
                <a:gd name="T36" fmla="*/ 11200 w 12800"/>
                <a:gd name="T37" fmla="*/ 12000 h 12800"/>
                <a:gd name="T38" fmla="*/ 8800 w 12800"/>
                <a:gd name="T39" fmla="*/ 12000 h 12800"/>
                <a:gd name="T40" fmla="*/ 8800 w 12800"/>
                <a:gd name="T41" fmla="*/ 9600 h 12800"/>
                <a:gd name="T42" fmla="*/ 4000 w 12800"/>
                <a:gd name="T43" fmla="*/ 9600 h 12800"/>
                <a:gd name="T44" fmla="*/ 4000 w 12800"/>
                <a:gd name="T45" fmla="*/ 12000 h 12800"/>
                <a:gd name="T46" fmla="*/ 1600 w 12800"/>
                <a:gd name="T47" fmla="*/ 12000 h 12800"/>
                <a:gd name="T48" fmla="*/ 800 w 12800"/>
                <a:gd name="T49" fmla="*/ 11200 h 12800"/>
                <a:gd name="T50" fmla="*/ 800 w 12800"/>
                <a:gd name="T51" fmla="*/ 1600 h 12800"/>
                <a:gd name="T52" fmla="*/ 1600 w 12800"/>
                <a:gd name="T53" fmla="*/ 800 h 12800"/>
                <a:gd name="T54" fmla="*/ 11200 w 12800"/>
                <a:gd name="T55" fmla="*/ 800 h 12800"/>
                <a:gd name="T56" fmla="*/ 12000 w 12800"/>
                <a:gd name="T57" fmla="*/ 1600 h 12800"/>
                <a:gd name="T58" fmla="*/ 12000 w 12800"/>
                <a:gd name="T59" fmla="*/ 11200 h 12800"/>
                <a:gd name="T60" fmla="*/ 11200 w 12800"/>
                <a:gd name="T61" fmla="*/ 12000 h 12800"/>
                <a:gd name="T62" fmla="*/ 4000 w 12800"/>
                <a:gd name="T63" fmla="*/ 4800 h 12800"/>
                <a:gd name="T64" fmla="*/ 8800 w 12800"/>
                <a:gd name="T65" fmla="*/ 4800 h 12800"/>
                <a:gd name="T66" fmla="*/ 8800 w 12800"/>
                <a:gd name="T67" fmla="*/ 6400 h 12800"/>
                <a:gd name="T68" fmla="*/ 4000 w 12800"/>
                <a:gd name="T69" fmla="*/ 6400 h 12800"/>
                <a:gd name="T70" fmla="*/ 4000 w 12800"/>
                <a:gd name="T71" fmla="*/ 4800 h 12800"/>
                <a:gd name="T72" fmla="*/ 4000 w 12800"/>
                <a:gd name="T73" fmla="*/ 2400 h 12800"/>
                <a:gd name="T74" fmla="*/ 8800 w 12800"/>
                <a:gd name="T75" fmla="*/ 2400 h 12800"/>
                <a:gd name="T76" fmla="*/ 8800 w 12800"/>
                <a:gd name="T77" fmla="*/ 4000 h 12800"/>
                <a:gd name="T78" fmla="*/ 4000 w 12800"/>
                <a:gd name="T79" fmla="*/ 4000 h 12800"/>
                <a:gd name="T80" fmla="*/ 4000 w 12800"/>
                <a:gd name="T81" fmla="*/ 2400 h 12800"/>
                <a:gd name="T82" fmla="*/ 4000 w 12800"/>
                <a:gd name="T83" fmla="*/ 7200 h 12800"/>
                <a:gd name="T84" fmla="*/ 8800 w 12800"/>
                <a:gd name="T85" fmla="*/ 7200 h 12800"/>
                <a:gd name="T86" fmla="*/ 8800 w 12800"/>
                <a:gd name="T87" fmla="*/ 8800 h 12800"/>
                <a:gd name="T88" fmla="*/ 4000 w 12800"/>
                <a:gd name="T89" fmla="*/ 8800 h 12800"/>
                <a:gd name="T90" fmla="*/ 4000 w 12800"/>
                <a:gd name="T91" fmla="*/ 72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00" h="12800">
                  <a:moveTo>
                    <a:pt x="0" y="800"/>
                  </a:moveTo>
                  <a:lnTo>
                    <a:pt x="0" y="12000"/>
                  </a:lnTo>
                  <a:cubicBezTo>
                    <a:pt x="0" y="12442"/>
                    <a:pt x="358" y="12800"/>
                    <a:pt x="800" y="12800"/>
                  </a:cubicBezTo>
                  <a:lnTo>
                    <a:pt x="4800" y="12800"/>
                  </a:lnTo>
                  <a:lnTo>
                    <a:pt x="4800" y="12000"/>
                  </a:lnTo>
                  <a:lnTo>
                    <a:pt x="8000" y="12000"/>
                  </a:lnTo>
                  <a:lnTo>
                    <a:pt x="8000" y="12800"/>
                  </a:lnTo>
                  <a:lnTo>
                    <a:pt x="12000" y="12800"/>
                  </a:lnTo>
                  <a:cubicBezTo>
                    <a:pt x="12442" y="12800"/>
                    <a:pt x="12800" y="12442"/>
                    <a:pt x="12800" y="12000"/>
                  </a:cubicBezTo>
                  <a:lnTo>
                    <a:pt x="12800" y="800"/>
                  </a:lnTo>
                  <a:cubicBezTo>
                    <a:pt x="12800" y="358"/>
                    <a:pt x="12442" y="0"/>
                    <a:pt x="12000" y="0"/>
                  </a:cubicBezTo>
                  <a:lnTo>
                    <a:pt x="800" y="0"/>
                  </a:lnTo>
                  <a:cubicBezTo>
                    <a:pt x="358" y="0"/>
                    <a:pt x="0" y="358"/>
                    <a:pt x="0" y="800"/>
                  </a:cubicBezTo>
                  <a:close/>
                  <a:moveTo>
                    <a:pt x="8000" y="11200"/>
                  </a:moveTo>
                  <a:lnTo>
                    <a:pt x="4800" y="11200"/>
                  </a:lnTo>
                  <a:lnTo>
                    <a:pt x="4800" y="10400"/>
                  </a:lnTo>
                  <a:lnTo>
                    <a:pt x="8000" y="10400"/>
                  </a:lnTo>
                  <a:lnTo>
                    <a:pt x="8000" y="11200"/>
                  </a:lnTo>
                  <a:close/>
                  <a:moveTo>
                    <a:pt x="11200" y="12000"/>
                  </a:moveTo>
                  <a:lnTo>
                    <a:pt x="8800" y="12000"/>
                  </a:lnTo>
                  <a:lnTo>
                    <a:pt x="8800" y="9600"/>
                  </a:lnTo>
                  <a:lnTo>
                    <a:pt x="4000" y="9600"/>
                  </a:lnTo>
                  <a:lnTo>
                    <a:pt x="4000" y="12000"/>
                  </a:lnTo>
                  <a:lnTo>
                    <a:pt x="1600" y="12000"/>
                  </a:lnTo>
                  <a:cubicBezTo>
                    <a:pt x="1158" y="12000"/>
                    <a:pt x="800" y="11642"/>
                    <a:pt x="800" y="11200"/>
                  </a:cubicBezTo>
                  <a:lnTo>
                    <a:pt x="800" y="1600"/>
                  </a:lnTo>
                  <a:cubicBezTo>
                    <a:pt x="800" y="1158"/>
                    <a:pt x="1158" y="800"/>
                    <a:pt x="1600" y="800"/>
                  </a:cubicBezTo>
                  <a:lnTo>
                    <a:pt x="11200" y="800"/>
                  </a:lnTo>
                  <a:cubicBezTo>
                    <a:pt x="11642" y="800"/>
                    <a:pt x="12000" y="1158"/>
                    <a:pt x="12000" y="1600"/>
                  </a:cubicBezTo>
                  <a:lnTo>
                    <a:pt x="12000" y="11200"/>
                  </a:lnTo>
                  <a:cubicBezTo>
                    <a:pt x="12000" y="11642"/>
                    <a:pt x="11642" y="12000"/>
                    <a:pt x="11200" y="12000"/>
                  </a:cubicBezTo>
                  <a:close/>
                  <a:moveTo>
                    <a:pt x="4000" y="4800"/>
                  </a:moveTo>
                  <a:lnTo>
                    <a:pt x="8800" y="4800"/>
                  </a:lnTo>
                  <a:lnTo>
                    <a:pt x="8800" y="6400"/>
                  </a:lnTo>
                  <a:lnTo>
                    <a:pt x="4000" y="6400"/>
                  </a:lnTo>
                  <a:lnTo>
                    <a:pt x="4000" y="4800"/>
                  </a:lnTo>
                  <a:close/>
                  <a:moveTo>
                    <a:pt x="4000" y="2400"/>
                  </a:moveTo>
                  <a:lnTo>
                    <a:pt x="8800" y="2400"/>
                  </a:lnTo>
                  <a:lnTo>
                    <a:pt x="8800" y="4000"/>
                  </a:lnTo>
                  <a:lnTo>
                    <a:pt x="4000" y="4000"/>
                  </a:lnTo>
                  <a:lnTo>
                    <a:pt x="4000" y="2400"/>
                  </a:lnTo>
                  <a:close/>
                  <a:moveTo>
                    <a:pt x="4000" y="7200"/>
                  </a:moveTo>
                  <a:lnTo>
                    <a:pt x="8800" y="7200"/>
                  </a:lnTo>
                  <a:lnTo>
                    <a:pt x="8800" y="8800"/>
                  </a:lnTo>
                  <a:lnTo>
                    <a:pt x="4000" y="8800"/>
                  </a:lnTo>
                  <a:lnTo>
                    <a:pt x="4000" y="72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9" name="iconfont-11894-5689857"/>
            <p:cNvSpPr>
              <a:spLocks noChangeAspect="1"/>
            </p:cNvSpPr>
            <p:nvPr userDrawn="1"/>
          </p:nvSpPr>
          <p:spPr bwMode="auto">
            <a:xfrm>
              <a:off x="24530889" y="-422792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00" name="iconfont-11894-5689857"/>
            <p:cNvSpPr>
              <a:spLocks noChangeAspect="1"/>
            </p:cNvSpPr>
            <p:nvPr userDrawn="1"/>
          </p:nvSpPr>
          <p:spPr bwMode="auto">
            <a:xfrm>
              <a:off x="25750260" y="-4158674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01" name="iconfont-11894-5689857"/>
            <p:cNvSpPr>
              <a:spLocks noChangeAspect="1"/>
            </p:cNvSpPr>
            <p:nvPr userDrawn="1"/>
          </p:nvSpPr>
          <p:spPr bwMode="auto">
            <a:xfrm>
              <a:off x="26969630" y="-4221825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2" name="iconfont-11894-5689857"/>
            <p:cNvSpPr>
              <a:spLocks noChangeAspect="1"/>
            </p:cNvSpPr>
            <p:nvPr userDrawn="1"/>
          </p:nvSpPr>
          <p:spPr bwMode="auto">
            <a:xfrm>
              <a:off x="28188999" y="-4227927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04" name="iconfont-11894-5689857"/>
            <p:cNvSpPr>
              <a:spLocks noChangeAspect="1"/>
            </p:cNvSpPr>
            <p:nvPr userDrawn="1"/>
          </p:nvSpPr>
          <p:spPr bwMode="auto">
            <a:xfrm>
              <a:off x="13556559" y="-2757510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05" name="iconfont-11894-5689857"/>
            <p:cNvSpPr>
              <a:spLocks noChangeAspect="1"/>
            </p:cNvSpPr>
            <p:nvPr userDrawn="1"/>
          </p:nvSpPr>
          <p:spPr bwMode="auto">
            <a:xfrm>
              <a:off x="14775929" y="-2721841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06" name="iconfont-11894-5689857"/>
            <p:cNvSpPr>
              <a:spLocks noChangeAspect="1"/>
            </p:cNvSpPr>
            <p:nvPr userDrawn="1"/>
          </p:nvSpPr>
          <p:spPr bwMode="auto">
            <a:xfrm>
              <a:off x="15995299" y="-2734839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" name="iconfont-11894-5689857"/>
            <p:cNvSpPr>
              <a:spLocks noChangeAspect="1"/>
            </p:cNvSpPr>
            <p:nvPr userDrawn="1"/>
          </p:nvSpPr>
          <p:spPr bwMode="auto">
            <a:xfrm>
              <a:off x="17214969" y="-2757510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8" name="iconfont-11894-5689857"/>
            <p:cNvSpPr>
              <a:spLocks noChangeAspect="1"/>
            </p:cNvSpPr>
            <p:nvPr userDrawn="1"/>
          </p:nvSpPr>
          <p:spPr bwMode="auto">
            <a:xfrm>
              <a:off x="18434538" y="-2757510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9" name="iconfont-11894-5689857"/>
            <p:cNvSpPr>
              <a:spLocks noChangeAspect="1"/>
            </p:cNvSpPr>
            <p:nvPr userDrawn="1"/>
          </p:nvSpPr>
          <p:spPr bwMode="auto">
            <a:xfrm>
              <a:off x="19746077" y="-2757510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6" name="iconfont-11894-5689857"/>
            <p:cNvSpPr>
              <a:spLocks noChangeAspect="1"/>
            </p:cNvSpPr>
            <p:nvPr userDrawn="1"/>
          </p:nvSpPr>
          <p:spPr bwMode="auto">
            <a:xfrm>
              <a:off x="20905719" y="-2757510"/>
              <a:ext cx="543805" cy="609685"/>
            </a:xfrm>
            <a:custGeom>
              <a:avLst/>
              <a:gdLst>
                <a:gd name="T0" fmla="*/ 10400 w 11417"/>
                <a:gd name="T1" fmla="*/ 4000 h 12800"/>
                <a:gd name="T2" fmla="*/ 6400 w 11417"/>
                <a:gd name="T3" fmla="*/ 4000 h 12800"/>
                <a:gd name="T4" fmla="*/ 6400 w 11417"/>
                <a:gd name="T5" fmla="*/ 800 h 12800"/>
                <a:gd name="T6" fmla="*/ 7200 w 11417"/>
                <a:gd name="T7" fmla="*/ 800 h 12800"/>
                <a:gd name="T8" fmla="*/ 7200 w 11417"/>
                <a:gd name="T9" fmla="*/ 3200 h 12800"/>
                <a:gd name="T10" fmla="*/ 10400 w 11417"/>
                <a:gd name="T11" fmla="*/ 3200 h 12800"/>
                <a:gd name="T12" fmla="*/ 10400 w 11417"/>
                <a:gd name="T13" fmla="*/ 4000 h 12800"/>
                <a:gd name="T14" fmla="*/ 9087 w 11417"/>
                <a:gd name="T15" fmla="*/ 9425 h 12800"/>
                <a:gd name="T16" fmla="*/ 11417 w 11417"/>
                <a:gd name="T17" fmla="*/ 11755 h 12800"/>
                <a:gd name="T18" fmla="*/ 10908 w 11417"/>
                <a:gd name="T19" fmla="*/ 12264 h 12800"/>
                <a:gd name="T20" fmla="*/ 8578 w 11417"/>
                <a:gd name="T21" fmla="*/ 9934 h 12800"/>
                <a:gd name="T22" fmla="*/ 9087 w 11417"/>
                <a:gd name="T23" fmla="*/ 9425 h 12800"/>
                <a:gd name="T24" fmla="*/ 7782 w 11417"/>
                <a:gd name="T25" fmla="*/ 10560 h 12800"/>
                <a:gd name="T26" fmla="*/ 5862 w 11417"/>
                <a:gd name="T27" fmla="*/ 8640 h 12800"/>
                <a:gd name="T28" fmla="*/ 7782 w 11417"/>
                <a:gd name="T29" fmla="*/ 6720 h 12800"/>
                <a:gd name="T30" fmla="*/ 9702 w 11417"/>
                <a:gd name="T31" fmla="*/ 8640 h 12800"/>
                <a:gd name="T32" fmla="*/ 7782 w 11417"/>
                <a:gd name="T33" fmla="*/ 10560 h 12800"/>
                <a:gd name="T34" fmla="*/ 7782 w 11417"/>
                <a:gd name="T35" fmla="*/ 7520 h 12800"/>
                <a:gd name="T36" fmla="*/ 6662 w 11417"/>
                <a:gd name="T37" fmla="*/ 8640 h 12800"/>
                <a:gd name="T38" fmla="*/ 7782 w 11417"/>
                <a:gd name="T39" fmla="*/ 9760 h 12800"/>
                <a:gd name="T40" fmla="*/ 8902 w 11417"/>
                <a:gd name="T41" fmla="*/ 8640 h 12800"/>
                <a:gd name="T42" fmla="*/ 7782 w 11417"/>
                <a:gd name="T43" fmla="*/ 7520 h 12800"/>
                <a:gd name="T44" fmla="*/ 7200 w 11417"/>
                <a:gd name="T45" fmla="*/ 12800 h 12800"/>
                <a:gd name="T46" fmla="*/ 1542 w 11417"/>
                <a:gd name="T47" fmla="*/ 12800 h 12800"/>
                <a:gd name="T48" fmla="*/ 0 w 11417"/>
                <a:gd name="T49" fmla="*/ 10880 h 12800"/>
                <a:gd name="T50" fmla="*/ 0 w 11417"/>
                <a:gd name="T51" fmla="*/ 1615 h 12800"/>
                <a:gd name="T52" fmla="*/ 1542 w 11417"/>
                <a:gd name="T53" fmla="*/ 0 h 12800"/>
                <a:gd name="T54" fmla="*/ 7062 w 11417"/>
                <a:gd name="T55" fmla="*/ 0 h 12800"/>
                <a:gd name="T56" fmla="*/ 11200 w 11417"/>
                <a:gd name="T57" fmla="*/ 3120 h 12800"/>
                <a:gd name="T58" fmla="*/ 11200 w 11417"/>
                <a:gd name="T59" fmla="*/ 8000 h 12800"/>
                <a:gd name="T60" fmla="*/ 10400 w 11417"/>
                <a:gd name="T61" fmla="*/ 8000 h 12800"/>
                <a:gd name="T62" fmla="*/ 10400 w 11417"/>
                <a:gd name="T63" fmla="*/ 3440 h 12800"/>
                <a:gd name="T64" fmla="*/ 6822 w 11417"/>
                <a:gd name="T65" fmla="*/ 800 h 12800"/>
                <a:gd name="T66" fmla="*/ 1542 w 11417"/>
                <a:gd name="T67" fmla="*/ 800 h 12800"/>
                <a:gd name="T68" fmla="*/ 800 w 11417"/>
                <a:gd name="T69" fmla="*/ 1668 h 12800"/>
                <a:gd name="T70" fmla="*/ 800 w 11417"/>
                <a:gd name="T71" fmla="*/ 10960 h 12800"/>
                <a:gd name="T72" fmla="*/ 1542 w 11417"/>
                <a:gd name="T73" fmla="*/ 12000 h 12800"/>
                <a:gd name="T74" fmla="*/ 7200 w 11417"/>
                <a:gd name="T75" fmla="*/ 12000 h 12800"/>
                <a:gd name="T76" fmla="*/ 7200 w 11417"/>
                <a:gd name="T77" fmla="*/ 12800 h 12800"/>
                <a:gd name="T78" fmla="*/ 1600 w 11417"/>
                <a:gd name="T79" fmla="*/ 2400 h 12800"/>
                <a:gd name="T80" fmla="*/ 4800 w 11417"/>
                <a:gd name="T81" fmla="*/ 2400 h 12800"/>
                <a:gd name="T82" fmla="*/ 4800 w 11417"/>
                <a:gd name="T83" fmla="*/ 3200 h 12800"/>
                <a:gd name="T84" fmla="*/ 1600 w 11417"/>
                <a:gd name="T85" fmla="*/ 3200 h 12800"/>
                <a:gd name="T86" fmla="*/ 1600 w 11417"/>
                <a:gd name="T87" fmla="*/ 2400 h 12800"/>
                <a:gd name="T88" fmla="*/ 1600 w 11417"/>
                <a:gd name="T89" fmla="*/ 4000 h 12800"/>
                <a:gd name="T90" fmla="*/ 5600 w 11417"/>
                <a:gd name="T91" fmla="*/ 4000 h 12800"/>
                <a:gd name="T92" fmla="*/ 5600 w 11417"/>
                <a:gd name="T93" fmla="*/ 4800 h 12800"/>
                <a:gd name="T94" fmla="*/ 1600 w 11417"/>
                <a:gd name="T95" fmla="*/ 4800 h 12800"/>
                <a:gd name="T96" fmla="*/ 1600 w 11417"/>
                <a:gd name="T97" fmla="*/ 4000 h 12800"/>
                <a:gd name="T98" fmla="*/ 1600 w 11417"/>
                <a:gd name="T99" fmla="*/ 5600 h 12800"/>
                <a:gd name="T100" fmla="*/ 6400 w 11417"/>
                <a:gd name="T101" fmla="*/ 5600 h 12800"/>
                <a:gd name="T102" fmla="*/ 6400 w 11417"/>
                <a:gd name="T103" fmla="*/ 6400 h 12800"/>
                <a:gd name="T104" fmla="*/ 1600 w 11417"/>
                <a:gd name="T105" fmla="*/ 6400 h 12800"/>
                <a:gd name="T106" fmla="*/ 1600 w 11417"/>
                <a:gd name="T107" fmla="*/ 56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417" h="12800">
                  <a:moveTo>
                    <a:pt x="10400" y="4000"/>
                  </a:moveTo>
                  <a:lnTo>
                    <a:pt x="6400" y="4000"/>
                  </a:lnTo>
                  <a:lnTo>
                    <a:pt x="6400" y="800"/>
                  </a:lnTo>
                  <a:lnTo>
                    <a:pt x="7200" y="800"/>
                  </a:lnTo>
                  <a:lnTo>
                    <a:pt x="7200" y="3200"/>
                  </a:lnTo>
                  <a:lnTo>
                    <a:pt x="10400" y="3200"/>
                  </a:lnTo>
                  <a:lnTo>
                    <a:pt x="10400" y="4000"/>
                  </a:lnTo>
                  <a:close/>
                  <a:moveTo>
                    <a:pt x="9087" y="9425"/>
                  </a:moveTo>
                  <a:lnTo>
                    <a:pt x="11417" y="11755"/>
                  </a:lnTo>
                  <a:lnTo>
                    <a:pt x="10908" y="12264"/>
                  </a:lnTo>
                  <a:lnTo>
                    <a:pt x="8578" y="9934"/>
                  </a:lnTo>
                  <a:lnTo>
                    <a:pt x="9087" y="9425"/>
                  </a:lnTo>
                  <a:close/>
                  <a:moveTo>
                    <a:pt x="7782" y="10560"/>
                  </a:moveTo>
                  <a:cubicBezTo>
                    <a:pt x="6742" y="10560"/>
                    <a:pt x="5862" y="9680"/>
                    <a:pt x="5862" y="8640"/>
                  </a:cubicBezTo>
                  <a:cubicBezTo>
                    <a:pt x="5862" y="7600"/>
                    <a:pt x="6742" y="6720"/>
                    <a:pt x="7782" y="6720"/>
                  </a:cubicBezTo>
                  <a:cubicBezTo>
                    <a:pt x="8822" y="6720"/>
                    <a:pt x="9702" y="7600"/>
                    <a:pt x="9702" y="8640"/>
                  </a:cubicBezTo>
                  <a:cubicBezTo>
                    <a:pt x="9622" y="9680"/>
                    <a:pt x="8822" y="10560"/>
                    <a:pt x="7782" y="10560"/>
                  </a:cubicBezTo>
                  <a:close/>
                  <a:moveTo>
                    <a:pt x="7782" y="7520"/>
                  </a:moveTo>
                  <a:cubicBezTo>
                    <a:pt x="7142" y="7520"/>
                    <a:pt x="6662" y="8000"/>
                    <a:pt x="6662" y="8640"/>
                  </a:cubicBezTo>
                  <a:cubicBezTo>
                    <a:pt x="6662" y="9280"/>
                    <a:pt x="7142" y="9760"/>
                    <a:pt x="7782" y="9760"/>
                  </a:cubicBezTo>
                  <a:cubicBezTo>
                    <a:pt x="8422" y="9760"/>
                    <a:pt x="8902" y="9280"/>
                    <a:pt x="8902" y="8640"/>
                  </a:cubicBezTo>
                  <a:cubicBezTo>
                    <a:pt x="8902" y="8000"/>
                    <a:pt x="8342" y="7520"/>
                    <a:pt x="7782" y="7520"/>
                  </a:cubicBezTo>
                  <a:close/>
                  <a:moveTo>
                    <a:pt x="7200" y="12800"/>
                  </a:moveTo>
                  <a:lnTo>
                    <a:pt x="1542" y="12800"/>
                  </a:lnTo>
                  <a:cubicBezTo>
                    <a:pt x="582" y="12800"/>
                    <a:pt x="0" y="11920"/>
                    <a:pt x="0" y="10880"/>
                  </a:cubicBezTo>
                  <a:lnTo>
                    <a:pt x="0" y="1615"/>
                  </a:lnTo>
                  <a:cubicBezTo>
                    <a:pt x="0" y="683"/>
                    <a:pt x="582" y="0"/>
                    <a:pt x="1542" y="0"/>
                  </a:cubicBezTo>
                  <a:lnTo>
                    <a:pt x="7062" y="0"/>
                  </a:lnTo>
                  <a:lnTo>
                    <a:pt x="11200" y="3120"/>
                  </a:lnTo>
                  <a:lnTo>
                    <a:pt x="11200" y="8000"/>
                  </a:lnTo>
                  <a:lnTo>
                    <a:pt x="10400" y="8000"/>
                  </a:lnTo>
                  <a:lnTo>
                    <a:pt x="10400" y="3440"/>
                  </a:lnTo>
                  <a:lnTo>
                    <a:pt x="6822" y="800"/>
                  </a:lnTo>
                  <a:lnTo>
                    <a:pt x="1542" y="800"/>
                  </a:lnTo>
                  <a:cubicBezTo>
                    <a:pt x="982" y="800"/>
                    <a:pt x="800" y="1222"/>
                    <a:pt x="800" y="1668"/>
                  </a:cubicBezTo>
                  <a:lnTo>
                    <a:pt x="800" y="10960"/>
                  </a:lnTo>
                  <a:cubicBezTo>
                    <a:pt x="800" y="11520"/>
                    <a:pt x="982" y="12000"/>
                    <a:pt x="1542" y="12000"/>
                  </a:cubicBezTo>
                  <a:lnTo>
                    <a:pt x="7200" y="12000"/>
                  </a:lnTo>
                  <a:lnTo>
                    <a:pt x="7200" y="12800"/>
                  </a:lnTo>
                  <a:close/>
                  <a:moveTo>
                    <a:pt x="1600" y="2400"/>
                  </a:moveTo>
                  <a:lnTo>
                    <a:pt x="4800" y="2400"/>
                  </a:lnTo>
                  <a:lnTo>
                    <a:pt x="4800" y="3200"/>
                  </a:lnTo>
                  <a:lnTo>
                    <a:pt x="1600" y="3200"/>
                  </a:lnTo>
                  <a:lnTo>
                    <a:pt x="1600" y="2400"/>
                  </a:lnTo>
                  <a:close/>
                  <a:moveTo>
                    <a:pt x="1600" y="4000"/>
                  </a:moveTo>
                  <a:lnTo>
                    <a:pt x="5600" y="4000"/>
                  </a:lnTo>
                  <a:lnTo>
                    <a:pt x="5600" y="4800"/>
                  </a:lnTo>
                  <a:lnTo>
                    <a:pt x="1600" y="4800"/>
                  </a:lnTo>
                  <a:lnTo>
                    <a:pt x="1600" y="4000"/>
                  </a:lnTo>
                  <a:close/>
                  <a:moveTo>
                    <a:pt x="1600" y="5600"/>
                  </a:moveTo>
                  <a:lnTo>
                    <a:pt x="6400" y="5600"/>
                  </a:lnTo>
                  <a:lnTo>
                    <a:pt x="6400" y="6400"/>
                  </a:lnTo>
                  <a:lnTo>
                    <a:pt x="1600" y="6400"/>
                  </a:lnTo>
                  <a:lnTo>
                    <a:pt x="1600" y="56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11" name="iconfont-11894-5689857"/>
            <p:cNvSpPr>
              <a:spLocks noChangeAspect="1"/>
            </p:cNvSpPr>
            <p:nvPr userDrawn="1"/>
          </p:nvSpPr>
          <p:spPr bwMode="auto">
            <a:xfrm>
              <a:off x="22092150" y="-2751111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2" name="iconfont-11894-5689857"/>
            <p:cNvSpPr>
              <a:spLocks noChangeAspect="1"/>
            </p:cNvSpPr>
            <p:nvPr userDrawn="1"/>
          </p:nvSpPr>
          <p:spPr bwMode="auto">
            <a:xfrm>
              <a:off x="23401954" y="-2757510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30" name="iconfont-11894-5689857"/>
            <p:cNvSpPr>
              <a:spLocks noChangeAspect="1"/>
            </p:cNvSpPr>
            <p:nvPr userDrawn="1"/>
          </p:nvSpPr>
          <p:spPr bwMode="auto">
            <a:xfrm>
              <a:off x="24530945" y="-2757510"/>
              <a:ext cx="609571" cy="609685"/>
            </a:xfrm>
            <a:custGeom>
              <a:avLst/>
              <a:gdLst>
                <a:gd name="T0" fmla="*/ 0 w 11163"/>
                <a:gd name="T1" fmla="*/ 5582 h 11163"/>
                <a:gd name="T2" fmla="*/ 11163 w 11163"/>
                <a:gd name="T3" fmla="*/ 5582 h 11163"/>
                <a:gd name="T4" fmla="*/ 5581 w 11163"/>
                <a:gd name="T5" fmla="*/ 9964 h 11163"/>
                <a:gd name="T6" fmla="*/ 5581 w 11163"/>
                <a:gd name="T7" fmla="*/ 1200 h 11163"/>
                <a:gd name="T8" fmla="*/ 5581 w 11163"/>
                <a:gd name="T9" fmla="*/ 9964 h 11163"/>
                <a:gd name="T10" fmla="*/ 1699 w 11163"/>
                <a:gd name="T11" fmla="*/ 5582 h 11163"/>
                <a:gd name="T12" fmla="*/ 9464 w 11163"/>
                <a:gd name="T13" fmla="*/ 5582 h 11163"/>
                <a:gd name="T14" fmla="*/ 8410 w 11163"/>
                <a:gd name="T15" fmla="*/ 6786 h 11163"/>
                <a:gd name="T16" fmla="*/ 6994 w 11163"/>
                <a:gd name="T17" fmla="*/ 5848 h 11163"/>
                <a:gd name="T18" fmla="*/ 6994 w 11163"/>
                <a:gd name="T19" fmla="*/ 5315 h 11163"/>
                <a:gd name="T20" fmla="*/ 8410 w 11163"/>
                <a:gd name="T21" fmla="*/ 4377 h 11163"/>
                <a:gd name="T22" fmla="*/ 8410 w 11163"/>
                <a:gd name="T23" fmla="*/ 6786 h 11163"/>
                <a:gd name="T24" fmla="*/ 8012 w 11163"/>
                <a:gd name="T25" fmla="*/ 3714 h 11163"/>
                <a:gd name="T26" fmla="*/ 6069 w 11163"/>
                <a:gd name="T27" fmla="*/ 4233 h 11163"/>
                <a:gd name="T28" fmla="*/ 5980 w 11163"/>
                <a:gd name="T29" fmla="*/ 2534 h 11163"/>
                <a:gd name="T30" fmla="*/ 5580 w 11163"/>
                <a:gd name="T31" fmla="*/ 6267 h 11163"/>
                <a:gd name="T32" fmla="*/ 5580 w 11163"/>
                <a:gd name="T33" fmla="*/ 4897 h 11163"/>
                <a:gd name="T34" fmla="*/ 5580 w 11163"/>
                <a:gd name="T35" fmla="*/ 6267 h 11163"/>
                <a:gd name="T36" fmla="*/ 5205 w 11163"/>
                <a:gd name="T37" fmla="*/ 2542 h 11163"/>
                <a:gd name="T38" fmla="*/ 4646 w 11163"/>
                <a:gd name="T39" fmla="*/ 4493 h 11163"/>
                <a:gd name="T40" fmla="*/ 3127 w 11163"/>
                <a:gd name="T41" fmla="*/ 3735 h 11163"/>
                <a:gd name="T42" fmla="*/ 2741 w 11163"/>
                <a:gd name="T43" fmla="*/ 4405 h 11163"/>
                <a:gd name="T44" fmla="*/ 4165 w 11163"/>
                <a:gd name="T45" fmla="*/ 5329 h 11163"/>
                <a:gd name="T46" fmla="*/ 4165 w 11163"/>
                <a:gd name="T47" fmla="*/ 5834 h 11163"/>
                <a:gd name="T48" fmla="*/ 2741 w 11163"/>
                <a:gd name="T49" fmla="*/ 6759 h 11163"/>
                <a:gd name="T50" fmla="*/ 2741 w 11163"/>
                <a:gd name="T51" fmla="*/ 4405 h 11163"/>
                <a:gd name="T52" fmla="*/ 3135 w 11163"/>
                <a:gd name="T53" fmla="*/ 7426 h 11163"/>
                <a:gd name="T54" fmla="*/ 5105 w 11163"/>
                <a:gd name="T55" fmla="*/ 6934 h 11163"/>
                <a:gd name="T56" fmla="*/ 5208 w 11163"/>
                <a:gd name="T57" fmla="*/ 8632 h 11163"/>
                <a:gd name="T58" fmla="*/ 5981 w 11163"/>
                <a:gd name="T59" fmla="*/ 8629 h 11163"/>
                <a:gd name="T60" fmla="*/ 6069 w 11163"/>
                <a:gd name="T61" fmla="*/ 6931 h 11163"/>
                <a:gd name="T62" fmla="*/ 8013 w 11163"/>
                <a:gd name="T63" fmla="*/ 7450 h 11163"/>
                <a:gd name="T64" fmla="*/ 5981 w 11163"/>
                <a:gd name="T65" fmla="*/ 8629 h 1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163" h="11163">
                  <a:moveTo>
                    <a:pt x="5581" y="0"/>
                  </a:moveTo>
                  <a:cubicBezTo>
                    <a:pt x="2498" y="0"/>
                    <a:pt x="0" y="2499"/>
                    <a:pt x="0" y="5582"/>
                  </a:cubicBezTo>
                  <a:cubicBezTo>
                    <a:pt x="0" y="8664"/>
                    <a:pt x="2498" y="11163"/>
                    <a:pt x="5581" y="11163"/>
                  </a:cubicBezTo>
                  <a:cubicBezTo>
                    <a:pt x="8664" y="11163"/>
                    <a:pt x="11163" y="8664"/>
                    <a:pt x="11163" y="5582"/>
                  </a:cubicBezTo>
                  <a:cubicBezTo>
                    <a:pt x="11163" y="2499"/>
                    <a:pt x="8664" y="0"/>
                    <a:pt x="5581" y="0"/>
                  </a:cubicBezTo>
                  <a:close/>
                  <a:moveTo>
                    <a:pt x="5581" y="9964"/>
                  </a:moveTo>
                  <a:cubicBezTo>
                    <a:pt x="3164" y="9964"/>
                    <a:pt x="1199" y="7998"/>
                    <a:pt x="1199" y="5582"/>
                  </a:cubicBezTo>
                  <a:cubicBezTo>
                    <a:pt x="1199" y="3165"/>
                    <a:pt x="3164" y="1200"/>
                    <a:pt x="5581" y="1200"/>
                  </a:cubicBezTo>
                  <a:cubicBezTo>
                    <a:pt x="7998" y="1200"/>
                    <a:pt x="9964" y="3165"/>
                    <a:pt x="9964" y="5582"/>
                  </a:cubicBezTo>
                  <a:cubicBezTo>
                    <a:pt x="9964" y="7998"/>
                    <a:pt x="7998" y="9964"/>
                    <a:pt x="5581" y="9964"/>
                  </a:cubicBezTo>
                  <a:close/>
                  <a:moveTo>
                    <a:pt x="5581" y="1699"/>
                  </a:moveTo>
                  <a:cubicBezTo>
                    <a:pt x="3436" y="1699"/>
                    <a:pt x="1699" y="3437"/>
                    <a:pt x="1699" y="5582"/>
                  </a:cubicBezTo>
                  <a:cubicBezTo>
                    <a:pt x="1699" y="7726"/>
                    <a:pt x="3436" y="9464"/>
                    <a:pt x="5581" y="9464"/>
                  </a:cubicBezTo>
                  <a:cubicBezTo>
                    <a:pt x="7726" y="9464"/>
                    <a:pt x="9464" y="7726"/>
                    <a:pt x="9464" y="5582"/>
                  </a:cubicBezTo>
                  <a:cubicBezTo>
                    <a:pt x="9464" y="3437"/>
                    <a:pt x="7726" y="1699"/>
                    <a:pt x="5581" y="1699"/>
                  </a:cubicBezTo>
                  <a:close/>
                  <a:moveTo>
                    <a:pt x="8410" y="6786"/>
                  </a:moveTo>
                  <a:cubicBezTo>
                    <a:pt x="8407" y="6784"/>
                    <a:pt x="8404" y="6779"/>
                    <a:pt x="8401" y="6777"/>
                  </a:cubicBezTo>
                  <a:lnTo>
                    <a:pt x="6994" y="5848"/>
                  </a:lnTo>
                  <a:cubicBezTo>
                    <a:pt x="7010" y="5761"/>
                    <a:pt x="7021" y="5673"/>
                    <a:pt x="7021" y="5582"/>
                  </a:cubicBezTo>
                  <a:cubicBezTo>
                    <a:pt x="7021" y="5491"/>
                    <a:pt x="7011" y="5402"/>
                    <a:pt x="6994" y="5315"/>
                  </a:cubicBezTo>
                  <a:lnTo>
                    <a:pt x="8401" y="4386"/>
                  </a:lnTo>
                  <a:cubicBezTo>
                    <a:pt x="8404" y="4384"/>
                    <a:pt x="8407" y="4379"/>
                    <a:pt x="8410" y="4377"/>
                  </a:cubicBezTo>
                  <a:cubicBezTo>
                    <a:pt x="8568" y="4747"/>
                    <a:pt x="8656" y="5154"/>
                    <a:pt x="8656" y="5582"/>
                  </a:cubicBezTo>
                  <a:cubicBezTo>
                    <a:pt x="8656" y="6009"/>
                    <a:pt x="8568" y="6416"/>
                    <a:pt x="8410" y="6786"/>
                  </a:cubicBezTo>
                  <a:close/>
                  <a:moveTo>
                    <a:pt x="8018" y="3712"/>
                  </a:moveTo>
                  <a:cubicBezTo>
                    <a:pt x="8016" y="3713"/>
                    <a:pt x="8014" y="3713"/>
                    <a:pt x="8012" y="3714"/>
                  </a:cubicBezTo>
                  <a:lnTo>
                    <a:pt x="6503" y="4485"/>
                  </a:lnTo>
                  <a:cubicBezTo>
                    <a:pt x="6375" y="4377"/>
                    <a:pt x="6229" y="4291"/>
                    <a:pt x="6069" y="4233"/>
                  </a:cubicBezTo>
                  <a:lnTo>
                    <a:pt x="5982" y="2542"/>
                  </a:lnTo>
                  <a:cubicBezTo>
                    <a:pt x="5982" y="2540"/>
                    <a:pt x="5980" y="2537"/>
                    <a:pt x="5980" y="2534"/>
                  </a:cubicBezTo>
                  <a:cubicBezTo>
                    <a:pt x="6808" y="2643"/>
                    <a:pt x="7532" y="3081"/>
                    <a:pt x="8018" y="3712"/>
                  </a:cubicBezTo>
                  <a:close/>
                  <a:moveTo>
                    <a:pt x="5580" y="6267"/>
                  </a:moveTo>
                  <a:cubicBezTo>
                    <a:pt x="5202" y="6267"/>
                    <a:pt x="4895" y="5960"/>
                    <a:pt x="4895" y="5582"/>
                  </a:cubicBezTo>
                  <a:cubicBezTo>
                    <a:pt x="4895" y="5204"/>
                    <a:pt x="5202" y="4897"/>
                    <a:pt x="5580" y="4897"/>
                  </a:cubicBezTo>
                  <a:cubicBezTo>
                    <a:pt x="5958" y="4897"/>
                    <a:pt x="6264" y="5204"/>
                    <a:pt x="6264" y="5582"/>
                  </a:cubicBezTo>
                  <a:cubicBezTo>
                    <a:pt x="6264" y="5960"/>
                    <a:pt x="5958" y="6267"/>
                    <a:pt x="5580" y="6267"/>
                  </a:cubicBezTo>
                  <a:close/>
                  <a:moveTo>
                    <a:pt x="5208" y="2531"/>
                  </a:moveTo>
                  <a:cubicBezTo>
                    <a:pt x="5207" y="2534"/>
                    <a:pt x="5205" y="2539"/>
                    <a:pt x="5205" y="2542"/>
                  </a:cubicBezTo>
                  <a:lnTo>
                    <a:pt x="5104" y="4229"/>
                  </a:lnTo>
                  <a:cubicBezTo>
                    <a:pt x="4934" y="4289"/>
                    <a:pt x="4780" y="4379"/>
                    <a:pt x="4646" y="4493"/>
                  </a:cubicBezTo>
                  <a:lnTo>
                    <a:pt x="3135" y="3738"/>
                  </a:lnTo>
                  <a:cubicBezTo>
                    <a:pt x="3132" y="3737"/>
                    <a:pt x="3129" y="3737"/>
                    <a:pt x="3127" y="3735"/>
                  </a:cubicBezTo>
                  <a:cubicBezTo>
                    <a:pt x="3618" y="3085"/>
                    <a:pt x="4359" y="2634"/>
                    <a:pt x="5208" y="2531"/>
                  </a:cubicBezTo>
                  <a:close/>
                  <a:moveTo>
                    <a:pt x="2741" y="4405"/>
                  </a:moveTo>
                  <a:cubicBezTo>
                    <a:pt x="2742" y="4406"/>
                    <a:pt x="2744" y="4409"/>
                    <a:pt x="2746" y="4410"/>
                  </a:cubicBezTo>
                  <a:lnTo>
                    <a:pt x="4165" y="5329"/>
                  </a:lnTo>
                  <a:cubicBezTo>
                    <a:pt x="4151" y="5411"/>
                    <a:pt x="4140" y="5495"/>
                    <a:pt x="4140" y="5582"/>
                  </a:cubicBezTo>
                  <a:cubicBezTo>
                    <a:pt x="4140" y="5668"/>
                    <a:pt x="4150" y="5752"/>
                    <a:pt x="4165" y="5834"/>
                  </a:cubicBezTo>
                  <a:lnTo>
                    <a:pt x="2746" y="6753"/>
                  </a:lnTo>
                  <a:cubicBezTo>
                    <a:pt x="2745" y="6754"/>
                    <a:pt x="2742" y="6757"/>
                    <a:pt x="2741" y="6759"/>
                  </a:cubicBezTo>
                  <a:cubicBezTo>
                    <a:pt x="2590" y="6396"/>
                    <a:pt x="2505" y="5999"/>
                    <a:pt x="2505" y="5582"/>
                  </a:cubicBezTo>
                  <a:cubicBezTo>
                    <a:pt x="2506" y="5165"/>
                    <a:pt x="2590" y="4768"/>
                    <a:pt x="2741" y="4405"/>
                  </a:cubicBezTo>
                  <a:close/>
                  <a:moveTo>
                    <a:pt x="3128" y="7428"/>
                  </a:moveTo>
                  <a:cubicBezTo>
                    <a:pt x="3129" y="7428"/>
                    <a:pt x="3133" y="7427"/>
                    <a:pt x="3135" y="7426"/>
                  </a:cubicBezTo>
                  <a:lnTo>
                    <a:pt x="4647" y="6670"/>
                  </a:lnTo>
                  <a:cubicBezTo>
                    <a:pt x="4781" y="6786"/>
                    <a:pt x="4934" y="6875"/>
                    <a:pt x="5105" y="6934"/>
                  </a:cubicBezTo>
                  <a:lnTo>
                    <a:pt x="5205" y="8622"/>
                  </a:lnTo>
                  <a:cubicBezTo>
                    <a:pt x="5205" y="8625"/>
                    <a:pt x="5208" y="8629"/>
                    <a:pt x="5208" y="8632"/>
                  </a:cubicBezTo>
                  <a:cubicBezTo>
                    <a:pt x="4359" y="8530"/>
                    <a:pt x="3618" y="8079"/>
                    <a:pt x="3128" y="7428"/>
                  </a:cubicBezTo>
                  <a:close/>
                  <a:moveTo>
                    <a:pt x="5981" y="8629"/>
                  </a:moveTo>
                  <a:cubicBezTo>
                    <a:pt x="5981" y="8626"/>
                    <a:pt x="5982" y="8624"/>
                    <a:pt x="5982" y="8622"/>
                  </a:cubicBezTo>
                  <a:lnTo>
                    <a:pt x="6069" y="6931"/>
                  </a:lnTo>
                  <a:cubicBezTo>
                    <a:pt x="6229" y="6872"/>
                    <a:pt x="6375" y="6786"/>
                    <a:pt x="6503" y="6678"/>
                  </a:cubicBezTo>
                  <a:lnTo>
                    <a:pt x="8013" y="7450"/>
                  </a:lnTo>
                  <a:cubicBezTo>
                    <a:pt x="8014" y="7450"/>
                    <a:pt x="8016" y="7451"/>
                    <a:pt x="8018" y="7451"/>
                  </a:cubicBezTo>
                  <a:cubicBezTo>
                    <a:pt x="7532" y="8083"/>
                    <a:pt x="6808" y="8520"/>
                    <a:pt x="5981" y="86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4" name="iconfont-11894-5689857"/>
            <p:cNvSpPr>
              <a:spLocks noChangeAspect="1"/>
            </p:cNvSpPr>
            <p:nvPr userDrawn="1"/>
          </p:nvSpPr>
          <p:spPr bwMode="auto">
            <a:xfrm>
              <a:off x="25750260" y="-2688257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8" name="iconfont-11894-5689857"/>
            <p:cNvSpPr>
              <a:spLocks noChangeAspect="1"/>
            </p:cNvSpPr>
            <p:nvPr userDrawn="1"/>
          </p:nvSpPr>
          <p:spPr bwMode="auto">
            <a:xfrm>
              <a:off x="26978856" y="-2757510"/>
              <a:ext cx="591237" cy="609685"/>
            </a:xfrm>
            <a:custGeom>
              <a:avLst/>
              <a:gdLst>
                <a:gd name="T0" fmla="*/ 5719 w 12417"/>
                <a:gd name="T1" fmla="*/ 2264 h 12804"/>
                <a:gd name="T2" fmla="*/ 5719 w 12417"/>
                <a:gd name="T3" fmla="*/ 5366 h 12804"/>
                <a:gd name="T4" fmla="*/ 5720 w 12417"/>
                <a:gd name="T5" fmla="*/ 2816 h 12804"/>
                <a:gd name="T6" fmla="*/ 4596 w 12417"/>
                <a:gd name="T7" fmla="*/ 3938 h 12804"/>
                <a:gd name="T8" fmla="*/ 5720 w 12417"/>
                <a:gd name="T9" fmla="*/ 5917 h 12804"/>
                <a:gd name="T10" fmla="*/ 7700 w 12417"/>
                <a:gd name="T11" fmla="*/ 6211 h 12804"/>
                <a:gd name="T12" fmla="*/ 5034 w 12417"/>
                <a:gd name="T13" fmla="*/ 5462 h 12804"/>
                <a:gd name="T14" fmla="*/ 5871 w 12417"/>
                <a:gd name="T15" fmla="*/ 8460 h 12804"/>
                <a:gd name="T16" fmla="*/ 5763 w 12417"/>
                <a:gd name="T17" fmla="*/ 5268 h 12804"/>
                <a:gd name="T18" fmla="*/ 6409 w 12417"/>
                <a:gd name="T19" fmla="*/ 5466 h 12804"/>
                <a:gd name="T20" fmla="*/ 8933 w 12417"/>
                <a:gd name="T21" fmla="*/ 10332 h 12804"/>
                <a:gd name="T22" fmla="*/ 9845 w 12417"/>
                <a:gd name="T23" fmla="*/ 9087 h 12804"/>
                <a:gd name="T24" fmla="*/ 12413 w 12417"/>
                <a:gd name="T25" fmla="*/ 9743 h 12804"/>
                <a:gd name="T26" fmla="*/ 11727 w 12417"/>
                <a:gd name="T27" fmla="*/ 9056 h 12804"/>
                <a:gd name="T28" fmla="*/ 11732 w 12417"/>
                <a:gd name="T29" fmla="*/ 7666 h 12804"/>
                <a:gd name="T30" fmla="*/ 10925 w 12417"/>
                <a:gd name="T31" fmla="*/ 6943 h 12804"/>
                <a:gd name="T32" fmla="*/ 9988 w 12417"/>
                <a:gd name="T33" fmla="*/ 7193 h 12804"/>
                <a:gd name="T34" fmla="*/ 9357 w 12417"/>
                <a:gd name="T35" fmla="*/ 6463 h 12804"/>
                <a:gd name="T36" fmla="*/ 8670 w 12417"/>
                <a:gd name="T37" fmla="*/ 7149 h 12804"/>
                <a:gd name="T38" fmla="*/ 7758 w 12417"/>
                <a:gd name="T39" fmla="*/ 6832 h 12804"/>
                <a:gd name="T40" fmla="*/ 7508 w 12417"/>
                <a:gd name="T41" fmla="*/ 7768 h 12804"/>
                <a:gd name="T42" fmla="*/ 6559 w 12417"/>
                <a:gd name="T43" fmla="*/ 7950 h 12804"/>
                <a:gd name="T44" fmla="*/ 6526 w 12417"/>
                <a:gd name="T45" fmla="*/ 8658 h 12804"/>
                <a:gd name="T46" fmla="*/ 6079 w 12417"/>
                <a:gd name="T47" fmla="*/ 9519 h 12804"/>
                <a:gd name="T48" fmla="*/ 6766 w 12417"/>
                <a:gd name="T49" fmla="*/ 10205 h 12804"/>
                <a:gd name="T50" fmla="*/ 6614 w 12417"/>
                <a:gd name="T51" fmla="*/ 10934 h 12804"/>
                <a:gd name="T52" fmla="*/ 7385 w 12417"/>
                <a:gd name="T53" fmla="*/ 11368 h 12804"/>
                <a:gd name="T54" fmla="*/ 8074 w 12417"/>
                <a:gd name="T55" fmla="*/ 12575 h 12804"/>
                <a:gd name="T56" fmla="*/ 9133 w 12417"/>
                <a:gd name="T57" fmla="*/ 12798 h 12804"/>
                <a:gd name="T58" fmla="*/ 9819 w 12417"/>
                <a:gd name="T59" fmla="*/ 12112 h 12804"/>
                <a:gd name="T60" fmla="*/ 11209 w 12417"/>
                <a:gd name="T61" fmla="*/ 12118 h 12804"/>
                <a:gd name="T62" fmla="*/ 11932 w 12417"/>
                <a:gd name="T63" fmla="*/ 11312 h 12804"/>
                <a:gd name="T64" fmla="*/ 11774 w 12417"/>
                <a:gd name="T65" fmla="*/ 9929 h 12804"/>
                <a:gd name="T66" fmla="*/ 7604 w 12417"/>
                <a:gd name="T67" fmla="*/ 10422 h 12804"/>
                <a:gd name="T68" fmla="*/ 8454 w 12417"/>
                <a:gd name="T69" fmla="*/ 7988 h 12804"/>
                <a:gd name="T70" fmla="*/ 10356 w 12417"/>
                <a:gd name="T71" fmla="*/ 8175 h 12804"/>
                <a:gd name="T72" fmla="*/ 4705 w 12417"/>
                <a:gd name="T73" fmla="*/ 9599 h 12804"/>
                <a:gd name="T74" fmla="*/ 800 w 12417"/>
                <a:gd name="T75" fmla="*/ 1920 h 12804"/>
                <a:gd name="T76" fmla="*/ 9600 w 12417"/>
                <a:gd name="T77" fmla="*/ 1920 h 12804"/>
                <a:gd name="T78" fmla="*/ 10400 w 12417"/>
                <a:gd name="T79" fmla="*/ 1600 h 12804"/>
                <a:gd name="T80" fmla="*/ 0 w 12417"/>
                <a:gd name="T81" fmla="*/ 1600 h 12804"/>
                <a:gd name="T82" fmla="*/ 4827 w 12417"/>
                <a:gd name="T83" fmla="*/ 10399 h 12804"/>
                <a:gd name="T84" fmla="*/ 1351 w 12417"/>
                <a:gd name="T85" fmla="*/ 7983 h 12804"/>
                <a:gd name="T86" fmla="*/ 4119 w 12417"/>
                <a:gd name="T87" fmla="*/ 4940 h 12804"/>
                <a:gd name="T88" fmla="*/ 4120 w 12417"/>
                <a:gd name="T89" fmla="*/ 5331 h 12804"/>
                <a:gd name="T90" fmla="*/ 4120 w 12417"/>
                <a:gd name="T91" fmla="*/ 2856 h 12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417" h="12804">
                  <a:moveTo>
                    <a:pt x="6404" y="5462"/>
                  </a:moveTo>
                  <a:cubicBezTo>
                    <a:pt x="6986" y="5200"/>
                    <a:pt x="7394" y="4616"/>
                    <a:pt x="7394" y="3938"/>
                  </a:cubicBezTo>
                  <a:cubicBezTo>
                    <a:pt x="7394" y="3015"/>
                    <a:pt x="6642" y="2264"/>
                    <a:pt x="5719" y="2264"/>
                  </a:cubicBezTo>
                  <a:cubicBezTo>
                    <a:pt x="4796" y="2264"/>
                    <a:pt x="4045" y="3014"/>
                    <a:pt x="4045" y="3938"/>
                  </a:cubicBezTo>
                  <a:cubicBezTo>
                    <a:pt x="4045" y="4616"/>
                    <a:pt x="4452" y="5200"/>
                    <a:pt x="5034" y="5462"/>
                  </a:cubicBezTo>
                  <a:cubicBezTo>
                    <a:pt x="5254" y="5405"/>
                    <a:pt x="5482" y="5366"/>
                    <a:pt x="5719" y="5366"/>
                  </a:cubicBezTo>
                  <a:cubicBezTo>
                    <a:pt x="5958" y="5366"/>
                    <a:pt x="6184" y="5405"/>
                    <a:pt x="6404" y="5462"/>
                  </a:cubicBezTo>
                  <a:close/>
                  <a:moveTo>
                    <a:pt x="4596" y="3938"/>
                  </a:moveTo>
                  <a:cubicBezTo>
                    <a:pt x="4596" y="3318"/>
                    <a:pt x="5100" y="2816"/>
                    <a:pt x="5720" y="2816"/>
                  </a:cubicBezTo>
                  <a:cubicBezTo>
                    <a:pt x="6339" y="2816"/>
                    <a:pt x="6843" y="3319"/>
                    <a:pt x="6843" y="3938"/>
                  </a:cubicBezTo>
                  <a:cubicBezTo>
                    <a:pt x="6843" y="4557"/>
                    <a:pt x="6339" y="5062"/>
                    <a:pt x="5720" y="5062"/>
                  </a:cubicBezTo>
                  <a:cubicBezTo>
                    <a:pt x="5100" y="5062"/>
                    <a:pt x="4596" y="4556"/>
                    <a:pt x="4596" y="3938"/>
                  </a:cubicBezTo>
                  <a:close/>
                  <a:moveTo>
                    <a:pt x="6230" y="7859"/>
                  </a:moveTo>
                  <a:lnTo>
                    <a:pt x="3518" y="7859"/>
                  </a:lnTo>
                  <a:cubicBezTo>
                    <a:pt x="3655" y="6766"/>
                    <a:pt x="4590" y="5917"/>
                    <a:pt x="5720" y="5917"/>
                  </a:cubicBezTo>
                  <a:cubicBezTo>
                    <a:pt x="6300" y="5917"/>
                    <a:pt x="6826" y="6143"/>
                    <a:pt x="7221" y="6508"/>
                  </a:cubicBezTo>
                  <a:cubicBezTo>
                    <a:pt x="7341" y="6424"/>
                    <a:pt x="7460" y="6336"/>
                    <a:pt x="7584" y="6271"/>
                  </a:cubicBezTo>
                  <a:lnTo>
                    <a:pt x="7700" y="6211"/>
                  </a:lnTo>
                  <a:cubicBezTo>
                    <a:pt x="7350" y="5851"/>
                    <a:pt x="6905" y="5591"/>
                    <a:pt x="6404" y="5461"/>
                  </a:cubicBezTo>
                  <a:cubicBezTo>
                    <a:pt x="6195" y="5556"/>
                    <a:pt x="5964" y="5612"/>
                    <a:pt x="5720" y="5612"/>
                  </a:cubicBezTo>
                  <a:cubicBezTo>
                    <a:pt x="5476" y="5612"/>
                    <a:pt x="5244" y="5556"/>
                    <a:pt x="5034" y="5462"/>
                  </a:cubicBezTo>
                  <a:cubicBezTo>
                    <a:pt x="3840" y="5768"/>
                    <a:pt x="2951" y="6846"/>
                    <a:pt x="2951" y="8135"/>
                  </a:cubicBezTo>
                  <a:cubicBezTo>
                    <a:pt x="2951" y="8287"/>
                    <a:pt x="3075" y="8411"/>
                    <a:pt x="3226" y="8411"/>
                  </a:cubicBezTo>
                  <a:lnTo>
                    <a:pt x="5871" y="8460"/>
                  </a:lnTo>
                  <a:cubicBezTo>
                    <a:pt x="5871" y="8460"/>
                    <a:pt x="6198" y="7930"/>
                    <a:pt x="6230" y="7859"/>
                  </a:cubicBezTo>
                  <a:close/>
                  <a:moveTo>
                    <a:pt x="6409" y="5466"/>
                  </a:moveTo>
                  <a:cubicBezTo>
                    <a:pt x="6224" y="5268"/>
                    <a:pt x="6001" y="5268"/>
                    <a:pt x="5763" y="5268"/>
                  </a:cubicBezTo>
                  <a:cubicBezTo>
                    <a:pt x="5526" y="5268"/>
                    <a:pt x="5210" y="5268"/>
                    <a:pt x="5038" y="5466"/>
                  </a:cubicBezTo>
                  <a:cubicBezTo>
                    <a:pt x="5249" y="5570"/>
                    <a:pt x="5480" y="5632"/>
                    <a:pt x="5724" y="5632"/>
                  </a:cubicBezTo>
                  <a:cubicBezTo>
                    <a:pt x="5969" y="5632"/>
                    <a:pt x="6199" y="5570"/>
                    <a:pt x="6409" y="5466"/>
                  </a:cubicBezTo>
                  <a:close/>
                  <a:moveTo>
                    <a:pt x="9621" y="8916"/>
                  </a:moveTo>
                  <a:cubicBezTo>
                    <a:pt x="9231" y="8727"/>
                    <a:pt x="8760" y="8889"/>
                    <a:pt x="8569" y="9280"/>
                  </a:cubicBezTo>
                  <a:cubicBezTo>
                    <a:pt x="8380" y="9671"/>
                    <a:pt x="8542" y="10142"/>
                    <a:pt x="8933" y="10332"/>
                  </a:cubicBezTo>
                  <a:cubicBezTo>
                    <a:pt x="9005" y="10367"/>
                    <a:pt x="9079" y="10378"/>
                    <a:pt x="9154" y="10390"/>
                  </a:cubicBezTo>
                  <a:cubicBezTo>
                    <a:pt x="9488" y="10442"/>
                    <a:pt x="9830" y="10288"/>
                    <a:pt x="9986" y="9969"/>
                  </a:cubicBezTo>
                  <a:cubicBezTo>
                    <a:pt x="10132" y="9666"/>
                    <a:pt x="10064" y="9319"/>
                    <a:pt x="9845" y="9087"/>
                  </a:cubicBezTo>
                  <a:cubicBezTo>
                    <a:pt x="9782" y="9020"/>
                    <a:pt x="9709" y="8959"/>
                    <a:pt x="9621" y="8916"/>
                  </a:cubicBezTo>
                  <a:close/>
                  <a:moveTo>
                    <a:pt x="11774" y="9929"/>
                  </a:moveTo>
                  <a:cubicBezTo>
                    <a:pt x="12032" y="9864"/>
                    <a:pt x="12245" y="9802"/>
                    <a:pt x="12413" y="9743"/>
                  </a:cubicBezTo>
                  <a:cubicBezTo>
                    <a:pt x="12417" y="9570"/>
                    <a:pt x="12412" y="9394"/>
                    <a:pt x="12386" y="9218"/>
                  </a:cubicBezTo>
                  <a:cubicBezTo>
                    <a:pt x="12385" y="9203"/>
                    <a:pt x="12383" y="9187"/>
                    <a:pt x="12381" y="9172"/>
                  </a:cubicBezTo>
                  <a:cubicBezTo>
                    <a:pt x="12207" y="9131"/>
                    <a:pt x="11991" y="9092"/>
                    <a:pt x="11727" y="9056"/>
                  </a:cubicBezTo>
                  <a:cubicBezTo>
                    <a:pt x="11692" y="8906"/>
                    <a:pt x="11644" y="8762"/>
                    <a:pt x="11586" y="8623"/>
                  </a:cubicBezTo>
                  <a:cubicBezTo>
                    <a:pt x="11776" y="8439"/>
                    <a:pt x="11929" y="8279"/>
                    <a:pt x="12044" y="8143"/>
                  </a:cubicBezTo>
                  <a:cubicBezTo>
                    <a:pt x="11953" y="7974"/>
                    <a:pt x="11848" y="7814"/>
                    <a:pt x="11732" y="7666"/>
                  </a:cubicBezTo>
                  <a:cubicBezTo>
                    <a:pt x="11560" y="7717"/>
                    <a:pt x="11352" y="7792"/>
                    <a:pt x="11106" y="7893"/>
                  </a:cubicBezTo>
                  <a:cubicBezTo>
                    <a:pt x="11004" y="7781"/>
                    <a:pt x="10889" y="7680"/>
                    <a:pt x="10768" y="7589"/>
                  </a:cubicBezTo>
                  <a:cubicBezTo>
                    <a:pt x="10840" y="7334"/>
                    <a:pt x="10892" y="7119"/>
                    <a:pt x="10925" y="6943"/>
                  </a:cubicBezTo>
                  <a:cubicBezTo>
                    <a:pt x="10764" y="6843"/>
                    <a:pt x="10592" y="6756"/>
                    <a:pt x="10417" y="6684"/>
                  </a:cubicBezTo>
                  <a:cubicBezTo>
                    <a:pt x="10398" y="6705"/>
                    <a:pt x="10375" y="6732"/>
                    <a:pt x="10355" y="6753"/>
                  </a:cubicBezTo>
                  <a:cubicBezTo>
                    <a:pt x="10246" y="6874"/>
                    <a:pt x="10126" y="7015"/>
                    <a:pt x="9988" y="7193"/>
                  </a:cubicBezTo>
                  <a:cubicBezTo>
                    <a:pt x="9941" y="7179"/>
                    <a:pt x="9892" y="7175"/>
                    <a:pt x="9845" y="7163"/>
                  </a:cubicBezTo>
                  <a:cubicBezTo>
                    <a:pt x="9745" y="7139"/>
                    <a:pt x="9646" y="7112"/>
                    <a:pt x="9544" y="7099"/>
                  </a:cubicBezTo>
                  <a:cubicBezTo>
                    <a:pt x="9478" y="6843"/>
                    <a:pt x="9417" y="6630"/>
                    <a:pt x="9357" y="6463"/>
                  </a:cubicBezTo>
                  <a:cubicBezTo>
                    <a:pt x="9184" y="6457"/>
                    <a:pt x="9009" y="6464"/>
                    <a:pt x="8833" y="6488"/>
                  </a:cubicBezTo>
                  <a:cubicBezTo>
                    <a:pt x="8815" y="6490"/>
                    <a:pt x="8801" y="6492"/>
                    <a:pt x="8785" y="6495"/>
                  </a:cubicBezTo>
                  <a:cubicBezTo>
                    <a:pt x="8746" y="6668"/>
                    <a:pt x="8705" y="6885"/>
                    <a:pt x="8670" y="7149"/>
                  </a:cubicBezTo>
                  <a:cubicBezTo>
                    <a:pt x="8531" y="7180"/>
                    <a:pt x="8397" y="7227"/>
                    <a:pt x="8269" y="7280"/>
                  </a:cubicBezTo>
                  <a:cubicBezTo>
                    <a:pt x="8258" y="7284"/>
                    <a:pt x="8248" y="7285"/>
                    <a:pt x="8238" y="7290"/>
                  </a:cubicBezTo>
                  <a:cubicBezTo>
                    <a:pt x="8053" y="7099"/>
                    <a:pt x="7894" y="6946"/>
                    <a:pt x="7758" y="6832"/>
                  </a:cubicBezTo>
                  <a:cubicBezTo>
                    <a:pt x="7657" y="6884"/>
                    <a:pt x="7568" y="6954"/>
                    <a:pt x="7474" y="7017"/>
                  </a:cubicBezTo>
                  <a:cubicBezTo>
                    <a:pt x="7410" y="7061"/>
                    <a:pt x="7341" y="7095"/>
                    <a:pt x="7281" y="7143"/>
                  </a:cubicBezTo>
                  <a:cubicBezTo>
                    <a:pt x="7332" y="7315"/>
                    <a:pt x="7407" y="7522"/>
                    <a:pt x="7508" y="7768"/>
                  </a:cubicBezTo>
                  <a:cubicBezTo>
                    <a:pt x="7402" y="7868"/>
                    <a:pt x="7305" y="7977"/>
                    <a:pt x="7218" y="8092"/>
                  </a:cubicBezTo>
                  <a:lnTo>
                    <a:pt x="7150" y="8092"/>
                  </a:lnTo>
                  <a:cubicBezTo>
                    <a:pt x="6921" y="8028"/>
                    <a:pt x="6721" y="7979"/>
                    <a:pt x="6559" y="7950"/>
                  </a:cubicBezTo>
                  <a:cubicBezTo>
                    <a:pt x="6531" y="7995"/>
                    <a:pt x="6513" y="8046"/>
                    <a:pt x="6487" y="8092"/>
                  </a:cubicBezTo>
                  <a:cubicBezTo>
                    <a:pt x="6420" y="8212"/>
                    <a:pt x="6352" y="8332"/>
                    <a:pt x="6301" y="8459"/>
                  </a:cubicBezTo>
                  <a:cubicBezTo>
                    <a:pt x="6366" y="8521"/>
                    <a:pt x="6441" y="8587"/>
                    <a:pt x="6526" y="8658"/>
                  </a:cubicBezTo>
                  <a:cubicBezTo>
                    <a:pt x="6610" y="8729"/>
                    <a:pt x="6705" y="8805"/>
                    <a:pt x="6810" y="8886"/>
                  </a:cubicBezTo>
                  <a:cubicBezTo>
                    <a:pt x="6768" y="9031"/>
                    <a:pt x="6734" y="9179"/>
                    <a:pt x="6718" y="9332"/>
                  </a:cubicBezTo>
                  <a:cubicBezTo>
                    <a:pt x="6460" y="9396"/>
                    <a:pt x="6247" y="9459"/>
                    <a:pt x="6079" y="9519"/>
                  </a:cubicBezTo>
                  <a:cubicBezTo>
                    <a:pt x="6073" y="9691"/>
                    <a:pt x="6082" y="9866"/>
                    <a:pt x="6104" y="10042"/>
                  </a:cubicBezTo>
                  <a:cubicBezTo>
                    <a:pt x="6106" y="10058"/>
                    <a:pt x="6109" y="10074"/>
                    <a:pt x="6111" y="10089"/>
                  </a:cubicBezTo>
                  <a:cubicBezTo>
                    <a:pt x="6284" y="10130"/>
                    <a:pt x="6502" y="10168"/>
                    <a:pt x="6766" y="10205"/>
                  </a:cubicBezTo>
                  <a:cubicBezTo>
                    <a:pt x="6783" y="10280"/>
                    <a:pt x="6814" y="10350"/>
                    <a:pt x="6837" y="10422"/>
                  </a:cubicBezTo>
                  <a:cubicBezTo>
                    <a:pt x="6860" y="10494"/>
                    <a:pt x="6877" y="10568"/>
                    <a:pt x="6906" y="10637"/>
                  </a:cubicBezTo>
                  <a:cubicBezTo>
                    <a:pt x="6795" y="10745"/>
                    <a:pt x="6700" y="10842"/>
                    <a:pt x="6614" y="10934"/>
                  </a:cubicBezTo>
                  <a:cubicBezTo>
                    <a:pt x="6552" y="10998"/>
                    <a:pt x="6494" y="11061"/>
                    <a:pt x="6446" y="11117"/>
                  </a:cubicBezTo>
                  <a:cubicBezTo>
                    <a:pt x="6537" y="11287"/>
                    <a:pt x="6641" y="11446"/>
                    <a:pt x="6759" y="11597"/>
                  </a:cubicBezTo>
                  <a:cubicBezTo>
                    <a:pt x="6929" y="11546"/>
                    <a:pt x="7139" y="11469"/>
                    <a:pt x="7385" y="11368"/>
                  </a:cubicBezTo>
                  <a:cubicBezTo>
                    <a:pt x="7487" y="11480"/>
                    <a:pt x="7602" y="11581"/>
                    <a:pt x="7723" y="11672"/>
                  </a:cubicBezTo>
                  <a:cubicBezTo>
                    <a:pt x="7650" y="11926"/>
                    <a:pt x="7597" y="12142"/>
                    <a:pt x="7566" y="12318"/>
                  </a:cubicBezTo>
                  <a:cubicBezTo>
                    <a:pt x="7726" y="12418"/>
                    <a:pt x="7897" y="12505"/>
                    <a:pt x="8074" y="12575"/>
                  </a:cubicBezTo>
                  <a:cubicBezTo>
                    <a:pt x="8197" y="12447"/>
                    <a:pt x="8338" y="12278"/>
                    <a:pt x="8501" y="12067"/>
                  </a:cubicBezTo>
                  <a:cubicBezTo>
                    <a:pt x="8646" y="12112"/>
                    <a:pt x="8794" y="12142"/>
                    <a:pt x="8947" y="12161"/>
                  </a:cubicBezTo>
                  <a:cubicBezTo>
                    <a:pt x="9012" y="12418"/>
                    <a:pt x="9074" y="12630"/>
                    <a:pt x="9133" y="12798"/>
                  </a:cubicBezTo>
                  <a:cubicBezTo>
                    <a:pt x="9305" y="12804"/>
                    <a:pt x="9481" y="12796"/>
                    <a:pt x="9658" y="12773"/>
                  </a:cubicBezTo>
                  <a:cubicBezTo>
                    <a:pt x="9673" y="12771"/>
                    <a:pt x="9689" y="12769"/>
                    <a:pt x="9705" y="12767"/>
                  </a:cubicBezTo>
                  <a:cubicBezTo>
                    <a:pt x="9745" y="12593"/>
                    <a:pt x="9784" y="12376"/>
                    <a:pt x="9819" y="12112"/>
                  </a:cubicBezTo>
                  <a:cubicBezTo>
                    <a:pt x="9969" y="12078"/>
                    <a:pt x="10113" y="12030"/>
                    <a:pt x="10251" y="11971"/>
                  </a:cubicBezTo>
                  <a:cubicBezTo>
                    <a:pt x="10436" y="12162"/>
                    <a:pt x="10596" y="12315"/>
                    <a:pt x="10732" y="12430"/>
                  </a:cubicBezTo>
                  <a:cubicBezTo>
                    <a:pt x="10902" y="12340"/>
                    <a:pt x="11061" y="12235"/>
                    <a:pt x="11209" y="12118"/>
                  </a:cubicBezTo>
                  <a:cubicBezTo>
                    <a:pt x="11160" y="11947"/>
                    <a:pt x="11084" y="11738"/>
                    <a:pt x="10982" y="11492"/>
                  </a:cubicBezTo>
                  <a:cubicBezTo>
                    <a:pt x="11093" y="11389"/>
                    <a:pt x="11194" y="11274"/>
                    <a:pt x="11285" y="11154"/>
                  </a:cubicBezTo>
                  <a:cubicBezTo>
                    <a:pt x="11540" y="11227"/>
                    <a:pt x="11756" y="11279"/>
                    <a:pt x="11932" y="11312"/>
                  </a:cubicBezTo>
                  <a:cubicBezTo>
                    <a:pt x="12032" y="11151"/>
                    <a:pt x="12120" y="10981"/>
                    <a:pt x="12190" y="10802"/>
                  </a:cubicBezTo>
                  <a:cubicBezTo>
                    <a:pt x="12060" y="10680"/>
                    <a:pt x="11891" y="10538"/>
                    <a:pt x="11680" y="10374"/>
                  </a:cubicBezTo>
                  <a:cubicBezTo>
                    <a:pt x="11726" y="10230"/>
                    <a:pt x="11757" y="10082"/>
                    <a:pt x="11774" y="9929"/>
                  </a:cubicBezTo>
                  <a:close/>
                  <a:moveTo>
                    <a:pt x="9484" y="11445"/>
                  </a:moveTo>
                  <a:cubicBezTo>
                    <a:pt x="8905" y="11521"/>
                    <a:pt x="8358" y="11312"/>
                    <a:pt x="7970" y="10933"/>
                  </a:cubicBezTo>
                  <a:cubicBezTo>
                    <a:pt x="7820" y="10786"/>
                    <a:pt x="7697" y="10615"/>
                    <a:pt x="7604" y="10422"/>
                  </a:cubicBezTo>
                  <a:cubicBezTo>
                    <a:pt x="7521" y="10251"/>
                    <a:pt x="7457" y="10068"/>
                    <a:pt x="7430" y="9868"/>
                  </a:cubicBezTo>
                  <a:cubicBezTo>
                    <a:pt x="7372" y="9428"/>
                    <a:pt x="7484" y="9007"/>
                    <a:pt x="7704" y="8658"/>
                  </a:cubicBezTo>
                  <a:cubicBezTo>
                    <a:pt x="7885" y="8371"/>
                    <a:pt x="8142" y="8139"/>
                    <a:pt x="8454" y="7988"/>
                  </a:cubicBezTo>
                  <a:cubicBezTo>
                    <a:pt x="8626" y="7906"/>
                    <a:pt x="8809" y="7841"/>
                    <a:pt x="9008" y="7815"/>
                  </a:cubicBezTo>
                  <a:cubicBezTo>
                    <a:pt x="9301" y="7776"/>
                    <a:pt x="9585" y="7817"/>
                    <a:pt x="9846" y="7908"/>
                  </a:cubicBezTo>
                  <a:cubicBezTo>
                    <a:pt x="10029" y="7973"/>
                    <a:pt x="10203" y="8059"/>
                    <a:pt x="10356" y="8175"/>
                  </a:cubicBezTo>
                  <a:cubicBezTo>
                    <a:pt x="10730" y="8460"/>
                    <a:pt x="10996" y="8889"/>
                    <a:pt x="11062" y="9392"/>
                  </a:cubicBezTo>
                  <a:cubicBezTo>
                    <a:pt x="11193" y="10394"/>
                    <a:pt x="10485" y="11314"/>
                    <a:pt x="9484" y="11445"/>
                  </a:cubicBezTo>
                  <a:close/>
                  <a:moveTo>
                    <a:pt x="4705" y="9599"/>
                  </a:moveTo>
                  <a:lnTo>
                    <a:pt x="1920" y="9599"/>
                  </a:lnTo>
                  <a:cubicBezTo>
                    <a:pt x="1302" y="9599"/>
                    <a:pt x="800" y="9098"/>
                    <a:pt x="800" y="8479"/>
                  </a:cubicBezTo>
                  <a:lnTo>
                    <a:pt x="800" y="1920"/>
                  </a:lnTo>
                  <a:cubicBezTo>
                    <a:pt x="800" y="1302"/>
                    <a:pt x="1302" y="800"/>
                    <a:pt x="1920" y="800"/>
                  </a:cubicBezTo>
                  <a:lnTo>
                    <a:pt x="8480" y="800"/>
                  </a:lnTo>
                  <a:cubicBezTo>
                    <a:pt x="9098" y="800"/>
                    <a:pt x="9600" y="1302"/>
                    <a:pt x="9600" y="1920"/>
                  </a:cubicBezTo>
                  <a:lnTo>
                    <a:pt x="9600" y="4872"/>
                  </a:lnTo>
                  <a:cubicBezTo>
                    <a:pt x="9600" y="4902"/>
                    <a:pt x="10182" y="4948"/>
                    <a:pt x="10400" y="5012"/>
                  </a:cubicBezTo>
                  <a:lnTo>
                    <a:pt x="10400" y="1600"/>
                  </a:lnTo>
                  <a:cubicBezTo>
                    <a:pt x="10400" y="716"/>
                    <a:pt x="9684" y="0"/>
                    <a:pt x="8800" y="0"/>
                  </a:cubicBezTo>
                  <a:lnTo>
                    <a:pt x="1600" y="0"/>
                  </a:lnTo>
                  <a:cubicBezTo>
                    <a:pt x="716" y="0"/>
                    <a:pt x="0" y="716"/>
                    <a:pt x="0" y="1600"/>
                  </a:cubicBezTo>
                  <a:lnTo>
                    <a:pt x="0" y="8799"/>
                  </a:lnTo>
                  <a:cubicBezTo>
                    <a:pt x="0" y="9683"/>
                    <a:pt x="716" y="10399"/>
                    <a:pt x="1600" y="10399"/>
                  </a:cubicBezTo>
                  <a:lnTo>
                    <a:pt x="4827" y="10399"/>
                  </a:lnTo>
                  <a:cubicBezTo>
                    <a:pt x="4771" y="10181"/>
                    <a:pt x="4727" y="9599"/>
                    <a:pt x="4705" y="9599"/>
                  </a:cubicBezTo>
                  <a:close/>
                  <a:moveTo>
                    <a:pt x="4119" y="4940"/>
                  </a:moveTo>
                  <a:cubicBezTo>
                    <a:pt x="4119" y="4940"/>
                    <a:pt x="1349" y="4791"/>
                    <a:pt x="1351" y="7983"/>
                  </a:cubicBezTo>
                  <a:lnTo>
                    <a:pt x="1901" y="7983"/>
                  </a:lnTo>
                  <a:cubicBezTo>
                    <a:pt x="1901" y="7983"/>
                    <a:pt x="1726" y="5700"/>
                    <a:pt x="4120" y="5492"/>
                  </a:cubicBezTo>
                  <a:lnTo>
                    <a:pt x="4119" y="4940"/>
                  </a:lnTo>
                  <a:close/>
                  <a:moveTo>
                    <a:pt x="4120" y="2395"/>
                  </a:moveTo>
                  <a:cubicBezTo>
                    <a:pt x="4120" y="2395"/>
                    <a:pt x="2651" y="2395"/>
                    <a:pt x="2651" y="3863"/>
                  </a:cubicBezTo>
                  <a:cubicBezTo>
                    <a:pt x="2651" y="3863"/>
                    <a:pt x="2651" y="5232"/>
                    <a:pt x="4120" y="5331"/>
                  </a:cubicBezTo>
                  <a:lnTo>
                    <a:pt x="4120" y="4831"/>
                  </a:lnTo>
                  <a:cubicBezTo>
                    <a:pt x="4120" y="4831"/>
                    <a:pt x="3265" y="4758"/>
                    <a:pt x="3190" y="3863"/>
                  </a:cubicBezTo>
                  <a:cubicBezTo>
                    <a:pt x="3190" y="3863"/>
                    <a:pt x="3151" y="2931"/>
                    <a:pt x="4120" y="2856"/>
                  </a:cubicBezTo>
                  <a:lnTo>
                    <a:pt x="4120" y="23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16" name="iconfont-11894-5689857"/>
            <p:cNvSpPr>
              <a:spLocks noChangeAspect="1"/>
            </p:cNvSpPr>
            <p:nvPr userDrawn="1"/>
          </p:nvSpPr>
          <p:spPr bwMode="auto">
            <a:xfrm>
              <a:off x="28188999" y="-2757510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18" name="iconfont-11894-5689857"/>
            <p:cNvSpPr>
              <a:spLocks noChangeAspect="1"/>
            </p:cNvSpPr>
            <p:nvPr userDrawn="1"/>
          </p:nvSpPr>
          <p:spPr bwMode="auto">
            <a:xfrm>
              <a:off x="13556559" y="-1287093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19" name="iconfont-11894-5689857"/>
            <p:cNvSpPr>
              <a:spLocks noChangeAspect="1"/>
            </p:cNvSpPr>
            <p:nvPr userDrawn="1"/>
          </p:nvSpPr>
          <p:spPr bwMode="auto">
            <a:xfrm>
              <a:off x="14775929" y="-1251424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3" name="iconfont-11894-5689857"/>
            <p:cNvSpPr>
              <a:spLocks noChangeAspect="1"/>
            </p:cNvSpPr>
            <p:nvPr userDrawn="1"/>
          </p:nvSpPr>
          <p:spPr bwMode="auto">
            <a:xfrm>
              <a:off x="15995895" y="-1287093"/>
              <a:ext cx="608494" cy="609685"/>
            </a:xfrm>
            <a:custGeom>
              <a:avLst/>
              <a:gdLst>
                <a:gd name="T0" fmla="*/ 3993 w 12776"/>
                <a:gd name="T1" fmla="*/ 3219 h 12800"/>
                <a:gd name="T2" fmla="*/ 1078 w 12776"/>
                <a:gd name="T3" fmla="*/ 3243 h 12800"/>
                <a:gd name="T4" fmla="*/ 0 w 12776"/>
                <a:gd name="T5" fmla="*/ 4361 h 12800"/>
                <a:gd name="T6" fmla="*/ 0 w 12776"/>
                <a:gd name="T7" fmla="*/ 11682 h 12800"/>
                <a:gd name="T8" fmla="*/ 1118 w 12776"/>
                <a:gd name="T9" fmla="*/ 12800 h 12800"/>
                <a:gd name="T10" fmla="*/ 7670 w 12776"/>
                <a:gd name="T11" fmla="*/ 12800 h 12800"/>
                <a:gd name="T12" fmla="*/ 8783 w 12776"/>
                <a:gd name="T13" fmla="*/ 12002 h 12800"/>
                <a:gd name="T14" fmla="*/ 8783 w 12776"/>
                <a:gd name="T15" fmla="*/ 9606 h 12800"/>
                <a:gd name="T16" fmla="*/ 12776 w 12776"/>
                <a:gd name="T17" fmla="*/ 9606 h 12800"/>
                <a:gd name="T18" fmla="*/ 12776 w 12776"/>
                <a:gd name="T19" fmla="*/ 25 h 12800"/>
                <a:gd name="T20" fmla="*/ 3993 w 12776"/>
                <a:gd name="T21" fmla="*/ 0 h 12800"/>
                <a:gd name="T22" fmla="*/ 3993 w 12776"/>
                <a:gd name="T23" fmla="*/ 3219 h 12800"/>
                <a:gd name="T24" fmla="*/ 7985 w 12776"/>
                <a:gd name="T25" fmla="*/ 11602 h 12800"/>
                <a:gd name="T26" fmla="*/ 7586 w 12776"/>
                <a:gd name="T27" fmla="*/ 12002 h 12800"/>
                <a:gd name="T28" fmla="*/ 1198 w 12776"/>
                <a:gd name="T29" fmla="*/ 12002 h 12800"/>
                <a:gd name="T30" fmla="*/ 799 w 12776"/>
                <a:gd name="T31" fmla="*/ 11602 h 12800"/>
                <a:gd name="T32" fmla="*/ 799 w 12776"/>
                <a:gd name="T33" fmla="*/ 4416 h 12800"/>
                <a:gd name="T34" fmla="*/ 1198 w 12776"/>
                <a:gd name="T35" fmla="*/ 4017 h 12800"/>
                <a:gd name="T36" fmla="*/ 7586 w 12776"/>
                <a:gd name="T37" fmla="*/ 4017 h 12800"/>
                <a:gd name="T38" fmla="*/ 7985 w 12776"/>
                <a:gd name="T39" fmla="*/ 4416 h 12800"/>
                <a:gd name="T40" fmla="*/ 7985 w 12776"/>
                <a:gd name="T41" fmla="*/ 11602 h 12800"/>
                <a:gd name="T42" fmla="*/ 11977 w 12776"/>
                <a:gd name="T43" fmla="*/ 743 h 12800"/>
                <a:gd name="T44" fmla="*/ 11977 w 12776"/>
                <a:gd name="T45" fmla="*/ 8808 h 12800"/>
                <a:gd name="T46" fmla="*/ 8783 w 12776"/>
                <a:gd name="T47" fmla="*/ 8808 h 12800"/>
                <a:gd name="T48" fmla="*/ 8783 w 12776"/>
                <a:gd name="T49" fmla="*/ 4017 h 12800"/>
                <a:gd name="T50" fmla="*/ 7590 w 12776"/>
                <a:gd name="T51" fmla="*/ 3243 h 12800"/>
                <a:gd name="T52" fmla="*/ 4791 w 12776"/>
                <a:gd name="T53" fmla="*/ 3219 h 12800"/>
                <a:gd name="T54" fmla="*/ 4791 w 12776"/>
                <a:gd name="T55" fmla="*/ 719 h 12800"/>
                <a:gd name="T56" fmla="*/ 11977 w 12776"/>
                <a:gd name="T57" fmla="*/ 7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776" h="12800">
                  <a:moveTo>
                    <a:pt x="3993" y="3219"/>
                  </a:moveTo>
                  <a:lnTo>
                    <a:pt x="1078" y="3243"/>
                  </a:lnTo>
                  <a:cubicBezTo>
                    <a:pt x="440" y="3243"/>
                    <a:pt x="0" y="3722"/>
                    <a:pt x="0" y="4361"/>
                  </a:cubicBezTo>
                  <a:lnTo>
                    <a:pt x="0" y="11682"/>
                  </a:lnTo>
                  <a:cubicBezTo>
                    <a:pt x="0" y="12321"/>
                    <a:pt x="479" y="12800"/>
                    <a:pt x="1118" y="12800"/>
                  </a:cubicBezTo>
                  <a:lnTo>
                    <a:pt x="7670" y="12800"/>
                  </a:lnTo>
                  <a:cubicBezTo>
                    <a:pt x="8309" y="12800"/>
                    <a:pt x="8783" y="12640"/>
                    <a:pt x="8783" y="12002"/>
                  </a:cubicBezTo>
                  <a:lnTo>
                    <a:pt x="8783" y="9606"/>
                  </a:lnTo>
                  <a:lnTo>
                    <a:pt x="12776" y="9606"/>
                  </a:lnTo>
                  <a:lnTo>
                    <a:pt x="12776" y="25"/>
                  </a:lnTo>
                  <a:lnTo>
                    <a:pt x="3993" y="0"/>
                  </a:lnTo>
                  <a:lnTo>
                    <a:pt x="3993" y="3219"/>
                  </a:lnTo>
                  <a:close/>
                  <a:moveTo>
                    <a:pt x="7985" y="11602"/>
                  </a:moveTo>
                  <a:cubicBezTo>
                    <a:pt x="7985" y="11823"/>
                    <a:pt x="7806" y="12002"/>
                    <a:pt x="7586" y="12002"/>
                  </a:cubicBezTo>
                  <a:lnTo>
                    <a:pt x="1198" y="12002"/>
                  </a:lnTo>
                  <a:cubicBezTo>
                    <a:pt x="978" y="12002"/>
                    <a:pt x="799" y="11823"/>
                    <a:pt x="799" y="11602"/>
                  </a:cubicBezTo>
                  <a:lnTo>
                    <a:pt x="799" y="4416"/>
                  </a:lnTo>
                  <a:cubicBezTo>
                    <a:pt x="799" y="4196"/>
                    <a:pt x="978" y="4017"/>
                    <a:pt x="1198" y="4017"/>
                  </a:cubicBezTo>
                  <a:lnTo>
                    <a:pt x="7586" y="4017"/>
                  </a:lnTo>
                  <a:cubicBezTo>
                    <a:pt x="7806" y="4017"/>
                    <a:pt x="7985" y="4196"/>
                    <a:pt x="7985" y="4416"/>
                  </a:cubicBezTo>
                  <a:lnTo>
                    <a:pt x="7985" y="11602"/>
                  </a:lnTo>
                  <a:close/>
                  <a:moveTo>
                    <a:pt x="11977" y="743"/>
                  </a:moveTo>
                  <a:lnTo>
                    <a:pt x="11977" y="8808"/>
                  </a:lnTo>
                  <a:lnTo>
                    <a:pt x="8783" y="8808"/>
                  </a:lnTo>
                  <a:lnTo>
                    <a:pt x="8783" y="4017"/>
                  </a:lnTo>
                  <a:cubicBezTo>
                    <a:pt x="8783" y="3378"/>
                    <a:pt x="8229" y="3243"/>
                    <a:pt x="7590" y="3243"/>
                  </a:cubicBezTo>
                  <a:lnTo>
                    <a:pt x="4791" y="3219"/>
                  </a:lnTo>
                  <a:lnTo>
                    <a:pt x="4791" y="719"/>
                  </a:lnTo>
                  <a:lnTo>
                    <a:pt x="11977" y="7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21" name="iconfont-11894-5689857"/>
            <p:cNvSpPr>
              <a:spLocks noChangeAspect="1"/>
            </p:cNvSpPr>
            <p:nvPr userDrawn="1"/>
          </p:nvSpPr>
          <p:spPr bwMode="auto">
            <a:xfrm>
              <a:off x="17214969" y="-1287093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5" name="iconfont-11894-5689857"/>
            <p:cNvSpPr>
              <a:spLocks noChangeAspect="1"/>
            </p:cNvSpPr>
            <p:nvPr userDrawn="1"/>
          </p:nvSpPr>
          <p:spPr bwMode="auto">
            <a:xfrm>
              <a:off x="18434041" y="-1287093"/>
              <a:ext cx="609685" cy="609685"/>
            </a:xfrm>
            <a:custGeom>
              <a:avLst/>
              <a:gdLst>
                <a:gd name="T0" fmla="*/ 12800 w 12800"/>
                <a:gd name="T1" fmla="*/ 11360 h 12800"/>
                <a:gd name="T2" fmla="*/ 11360 w 12800"/>
                <a:gd name="T3" fmla="*/ 12800 h 12800"/>
                <a:gd name="T4" fmla="*/ 1440 w 12800"/>
                <a:gd name="T5" fmla="*/ 12800 h 12800"/>
                <a:gd name="T6" fmla="*/ 0 w 12800"/>
                <a:gd name="T7" fmla="*/ 11360 h 12800"/>
                <a:gd name="T8" fmla="*/ 0 w 12800"/>
                <a:gd name="T9" fmla="*/ 1440 h 12800"/>
                <a:gd name="T10" fmla="*/ 1440 w 12800"/>
                <a:gd name="T11" fmla="*/ 0 h 12800"/>
                <a:gd name="T12" fmla="*/ 11360 w 12800"/>
                <a:gd name="T13" fmla="*/ 0 h 12800"/>
                <a:gd name="T14" fmla="*/ 12800 w 12800"/>
                <a:gd name="T15" fmla="*/ 1440 h 12800"/>
                <a:gd name="T16" fmla="*/ 12800 w 12800"/>
                <a:gd name="T17" fmla="*/ 11360 h 12800"/>
                <a:gd name="T18" fmla="*/ 1600 w 12800"/>
                <a:gd name="T19" fmla="*/ 800 h 12800"/>
                <a:gd name="T20" fmla="*/ 800 w 12800"/>
                <a:gd name="T21" fmla="*/ 1600 h 12800"/>
                <a:gd name="T22" fmla="*/ 800 w 12800"/>
                <a:gd name="T23" fmla="*/ 11200 h 12800"/>
                <a:gd name="T24" fmla="*/ 1680 w 12800"/>
                <a:gd name="T25" fmla="*/ 12000 h 12800"/>
                <a:gd name="T26" fmla="*/ 11200 w 12800"/>
                <a:gd name="T27" fmla="*/ 12000 h 12800"/>
                <a:gd name="T28" fmla="*/ 12000 w 12800"/>
                <a:gd name="T29" fmla="*/ 11280 h 12800"/>
                <a:gd name="T30" fmla="*/ 12000 w 12800"/>
                <a:gd name="T31" fmla="*/ 1600 h 12800"/>
                <a:gd name="T32" fmla="*/ 11200 w 12800"/>
                <a:gd name="T33" fmla="*/ 800 h 12800"/>
                <a:gd name="T34" fmla="*/ 1600 w 12800"/>
                <a:gd name="T35" fmla="*/ 800 h 12800"/>
                <a:gd name="T36" fmla="*/ 6400 w 12800"/>
                <a:gd name="T37" fmla="*/ 10560 h 12800"/>
                <a:gd name="T38" fmla="*/ 2240 w 12800"/>
                <a:gd name="T39" fmla="*/ 6400 h 12800"/>
                <a:gd name="T40" fmla="*/ 6400 w 12800"/>
                <a:gd name="T41" fmla="*/ 2240 h 12800"/>
                <a:gd name="T42" fmla="*/ 10560 w 12800"/>
                <a:gd name="T43" fmla="*/ 6400 h 12800"/>
                <a:gd name="T44" fmla="*/ 6400 w 12800"/>
                <a:gd name="T45" fmla="*/ 10560 h 12800"/>
                <a:gd name="T46" fmla="*/ 6400 w 12800"/>
                <a:gd name="T47" fmla="*/ 3040 h 12800"/>
                <a:gd name="T48" fmla="*/ 3040 w 12800"/>
                <a:gd name="T49" fmla="*/ 6400 h 12800"/>
                <a:gd name="T50" fmla="*/ 6400 w 12800"/>
                <a:gd name="T51" fmla="*/ 9760 h 12800"/>
                <a:gd name="T52" fmla="*/ 9760 w 12800"/>
                <a:gd name="T53" fmla="*/ 6400 h 12800"/>
                <a:gd name="T54" fmla="*/ 6400 w 12800"/>
                <a:gd name="T55" fmla="*/ 3040 h 12800"/>
                <a:gd name="T56" fmla="*/ 8289 w 12800"/>
                <a:gd name="T57" fmla="*/ 8798 h 12800"/>
                <a:gd name="T58" fmla="*/ 4499 w 12800"/>
                <a:gd name="T59" fmla="*/ 4250 h 12800"/>
                <a:gd name="T60" fmla="*/ 5052 w 12800"/>
                <a:gd name="T61" fmla="*/ 3789 h 12800"/>
                <a:gd name="T62" fmla="*/ 8842 w 12800"/>
                <a:gd name="T63" fmla="*/ 8337 h 12800"/>
                <a:gd name="T64" fmla="*/ 8289 w 12800"/>
                <a:gd name="T65" fmla="*/ 879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800">
                  <a:moveTo>
                    <a:pt x="12800" y="11360"/>
                  </a:moveTo>
                  <a:cubicBezTo>
                    <a:pt x="12800" y="12155"/>
                    <a:pt x="12155" y="12800"/>
                    <a:pt x="11360" y="12800"/>
                  </a:cubicBezTo>
                  <a:lnTo>
                    <a:pt x="1440" y="12800"/>
                  </a:lnTo>
                  <a:cubicBezTo>
                    <a:pt x="645" y="12800"/>
                    <a:pt x="0" y="12155"/>
                    <a:pt x="0" y="11360"/>
                  </a:cubicBezTo>
                  <a:lnTo>
                    <a:pt x="0" y="1440"/>
                  </a:lnTo>
                  <a:cubicBezTo>
                    <a:pt x="0" y="645"/>
                    <a:pt x="645" y="0"/>
                    <a:pt x="1440" y="0"/>
                  </a:cubicBezTo>
                  <a:lnTo>
                    <a:pt x="11360" y="0"/>
                  </a:lnTo>
                  <a:cubicBezTo>
                    <a:pt x="12155" y="0"/>
                    <a:pt x="12800" y="645"/>
                    <a:pt x="12800" y="1440"/>
                  </a:cubicBezTo>
                  <a:lnTo>
                    <a:pt x="12800" y="11360"/>
                  </a:lnTo>
                  <a:close/>
                  <a:moveTo>
                    <a:pt x="1600" y="800"/>
                  </a:moveTo>
                  <a:cubicBezTo>
                    <a:pt x="1120" y="800"/>
                    <a:pt x="800" y="1120"/>
                    <a:pt x="800" y="1600"/>
                  </a:cubicBezTo>
                  <a:lnTo>
                    <a:pt x="800" y="11200"/>
                  </a:lnTo>
                  <a:cubicBezTo>
                    <a:pt x="800" y="11680"/>
                    <a:pt x="1120" y="12000"/>
                    <a:pt x="1680" y="12000"/>
                  </a:cubicBezTo>
                  <a:lnTo>
                    <a:pt x="11200" y="12000"/>
                  </a:lnTo>
                  <a:cubicBezTo>
                    <a:pt x="11680" y="12000"/>
                    <a:pt x="12000" y="11760"/>
                    <a:pt x="12000" y="11280"/>
                  </a:cubicBezTo>
                  <a:lnTo>
                    <a:pt x="12000" y="1600"/>
                  </a:lnTo>
                  <a:cubicBezTo>
                    <a:pt x="12000" y="1120"/>
                    <a:pt x="11680" y="800"/>
                    <a:pt x="11200" y="800"/>
                  </a:cubicBezTo>
                  <a:lnTo>
                    <a:pt x="1600" y="800"/>
                  </a:lnTo>
                  <a:close/>
                  <a:moveTo>
                    <a:pt x="6400" y="10560"/>
                  </a:moveTo>
                  <a:cubicBezTo>
                    <a:pt x="4080" y="10560"/>
                    <a:pt x="2240" y="8720"/>
                    <a:pt x="2240" y="6400"/>
                  </a:cubicBezTo>
                  <a:cubicBezTo>
                    <a:pt x="2240" y="4080"/>
                    <a:pt x="4080" y="2240"/>
                    <a:pt x="6400" y="2240"/>
                  </a:cubicBezTo>
                  <a:cubicBezTo>
                    <a:pt x="8720" y="2240"/>
                    <a:pt x="10560" y="4080"/>
                    <a:pt x="10560" y="6400"/>
                  </a:cubicBezTo>
                  <a:cubicBezTo>
                    <a:pt x="10480" y="8720"/>
                    <a:pt x="8640" y="10560"/>
                    <a:pt x="6400" y="10560"/>
                  </a:cubicBezTo>
                  <a:close/>
                  <a:moveTo>
                    <a:pt x="6400" y="3040"/>
                  </a:moveTo>
                  <a:cubicBezTo>
                    <a:pt x="4560" y="3040"/>
                    <a:pt x="3040" y="4560"/>
                    <a:pt x="3040" y="6400"/>
                  </a:cubicBezTo>
                  <a:cubicBezTo>
                    <a:pt x="3040" y="8240"/>
                    <a:pt x="4560" y="9760"/>
                    <a:pt x="6400" y="9760"/>
                  </a:cubicBezTo>
                  <a:cubicBezTo>
                    <a:pt x="8240" y="9760"/>
                    <a:pt x="9760" y="8240"/>
                    <a:pt x="9760" y="6400"/>
                  </a:cubicBezTo>
                  <a:cubicBezTo>
                    <a:pt x="9760" y="4560"/>
                    <a:pt x="8240" y="3040"/>
                    <a:pt x="6400" y="3040"/>
                  </a:cubicBezTo>
                  <a:close/>
                  <a:moveTo>
                    <a:pt x="8289" y="8798"/>
                  </a:moveTo>
                  <a:lnTo>
                    <a:pt x="4499" y="4250"/>
                  </a:lnTo>
                  <a:lnTo>
                    <a:pt x="5052" y="3789"/>
                  </a:lnTo>
                  <a:lnTo>
                    <a:pt x="8842" y="8337"/>
                  </a:lnTo>
                  <a:lnTo>
                    <a:pt x="8289" y="87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7" name="iconfont-11894-5689857"/>
            <p:cNvSpPr>
              <a:spLocks noChangeAspect="1"/>
            </p:cNvSpPr>
            <p:nvPr userDrawn="1"/>
          </p:nvSpPr>
          <p:spPr bwMode="auto">
            <a:xfrm>
              <a:off x="26969631" y="-1285208"/>
              <a:ext cx="609685" cy="605914"/>
            </a:xfrm>
            <a:custGeom>
              <a:avLst/>
              <a:gdLst>
                <a:gd name="T0" fmla="*/ 8000 w 12800"/>
                <a:gd name="T1" fmla="*/ 9520 h 12720"/>
                <a:gd name="T2" fmla="*/ 4800 w 12800"/>
                <a:gd name="T3" fmla="*/ 9520 h 12720"/>
                <a:gd name="T4" fmla="*/ 4800 w 12800"/>
                <a:gd name="T5" fmla="*/ 5520 h 12720"/>
                <a:gd name="T6" fmla="*/ 1873 w 12800"/>
                <a:gd name="T7" fmla="*/ 5520 h 12720"/>
                <a:gd name="T8" fmla="*/ 6433 w 12800"/>
                <a:gd name="T9" fmla="*/ 0 h 12720"/>
                <a:gd name="T10" fmla="*/ 10993 w 12800"/>
                <a:gd name="T11" fmla="*/ 5520 h 12720"/>
                <a:gd name="T12" fmla="*/ 8000 w 12800"/>
                <a:gd name="T13" fmla="*/ 5520 h 12720"/>
                <a:gd name="T14" fmla="*/ 8000 w 12800"/>
                <a:gd name="T15" fmla="*/ 9520 h 12720"/>
                <a:gd name="T16" fmla="*/ 5600 w 12800"/>
                <a:gd name="T17" fmla="*/ 8720 h 12720"/>
                <a:gd name="T18" fmla="*/ 7200 w 12800"/>
                <a:gd name="T19" fmla="*/ 8720 h 12720"/>
                <a:gd name="T20" fmla="*/ 7200 w 12800"/>
                <a:gd name="T21" fmla="*/ 4720 h 12720"/>
                <a:gd name="T22" fmla="*/ 9393 w 12800"/>
                <a:gd name="T23" fmla="*/ 4720 h 12720"/>
                <a:gd name="T24" fmla="*/ 6433 w 12800"/>
                <a:gd name="T25" fmla="*/ 1200 h 12720"/>
                <a:gd name="T26" fmla="*/ 3473 w 12800"/>
                <a:gd name="T27" fmla="*/ 4720 h 12720"/>
                <a:gd name="T28" fmla="*/ 5600 w 12800"/>
                <a:gd name="T29" fmla="*/ 4720 h 12720"/>
                <a:gd name="T30" fmla="*/ 5600 w 12800"/>
                <a:gd name="T31" fmla="*/ 8720 h 12720"/>
                <a:gd name="T32" fmla="*/ 10922 w 12800"/>
                <a:gd name="T33" fmla="*/ 12720 h 12720"/>
                <a:gd name="T34" fmla="*/ 1878 w 12800"/>
                <a:gd name="T35" fmla="*/ 12720 h 12720"/>
                <a:gd name="T36" fmla="*/ 0 w 12800"/>
                <a:gd name="T37" fmla="*/ 10539 h 12720"/>
                <a:gd name="T38" fmla="*/ 0 w 12800"/>
                <a:gd name="T39" fmla="*/ 5210 h 12720"/>
                <a:gd name="T40" fmla="*/ 1600 w 12800"/>
                <a:gd name="T41" fmla="*/ 3271 h 12720"/>
                <a:gd name="T42" fmla="*/ 1600 w 12800"/>
                <a:gd name="T43" fmla="*/ 3998 h 12720"/>
                <a:gd name="T44" fmla="*/ 800 w 12800"/>
                <a:gd name="T45" fmla="*/ 5129 h 12720"/>
                <a:gd name="T46" fmla="*/ 800 w 12800"/>
                <a:gd name="T47" fmla="*/ 10458 h 12720"/>
                <a:gd name="T48" fmla="*/ 1878 w 12800"/>
                <a:gd name="T49" fmla="*/ 11920 h 12720"/>
                <a:gd name="T50" fmla="*/ 10922 w 12800"/>
                <a:gd name="T51" fmla="*/ 11920 h 12720"/>
                <a:gd name="T52" fmla="*/ 12000 w 12800"/>
                <a:gd name="T53" fmla="*/ 10539 h 12720"/>
                <a:gd name="T54" fmla="*/ 12000 w 12800"/>
                <a:gd name="T55" fmla="*/ 5210 h 12720"/>
                <a:gd name="T56" fmla="*/ 11200 w 12800"/>
                <a:gd name="T57" fmla="*/ 4079 h 12720"/>
                <a:gd name="T58" fmla="*/ 11200 w 12800"/>
                <a:gd name="T59" fmla="*/ 3352 h 12720"/>
                <a:gd name="T60" fmla="*/ 12800 w 12800"/>
                <a:gd name="T61" fmla="*/ 5290 h 12720"/>
                <a:gd name="T62" fmla="*/ 12800 w 12800"/>
                <a:gd name="T63" fmla="*/ 10620 h 12720"/>
                <a:gd name="T64" fmla="*/ 10922 w 12800"/>
                <a:gd name="T65" fmla="*/ 1272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720">
                  <a:moveTo>
                    <a:pt x="8000" y="9520"/>
                  </a:moveTo>
                  <a:lnTo>
                    <a:pt x="4800" y="9520"/>
                  </a:lnTo>
                  <a:lnTo>
                    <a:pt x="4800" y="5520"/>
                  </a:lnTo>
                  <a:lnTo>
                    <a:pt x="1873" y="5520"/>
                  </a:lnTo>
                  <a:lnTo>
                    <a:pt x="6433" y="0"/>
                  </a:lnTo>
                  <a:lnTo>
                    <a:pt x="10993" y="5520"/>
                  </a:lnTo>
                  <a:lnTo>
                    <a:pt x="8000" y="5520"/>
                  </a:lnTo>
                  <a:lnTo>
                    <a:pt x="8000" y="9520"/>
                  </a:lnTo>
                  <a:close/>
                  <a:moveTo>
                    <a:pt x="5600" y="8720"/>
                  </a:moveTo>
                  <a:lnTo>
                    <a:pt x="7200" y="8720"/>
                  </a:lnTo>
                  <a:lnTo>
                    <a:pt x="7200" y="4720"/>
                  </a:lnTo>
                  <a:lnTo>
                    <a:pt x="9393" y="4720"/>
                  </a:lnTo>
                  <a:lnTo>
                    <a:pt x="6433" y="1200"/>
                  </a:lnTo>
                  <a:lnTo>
                    <a:pt x="3473" y="4720"/>
                  </a:lnTo>
                  <a:lnTo>
                    <a:pt x="5600" y="4720"/>
                  </a:lnTo>
                  <a:lnTo>
                    <a:pt x="5600" y="8720"/>
                  </a:lnTo>
                  <a:close/>
                  <a:moveTo>
                    <a:pt x="10922" y="12720"/>
                  </a:moveTo>
                  <a:lnTo>
                    <a:pt x="1878" y="12720"/>
                  </a:lnTo>
                  <a:cubicBezTo>
                    <a:pt x="828" y="12720"/>
                    <a:pt x="0" y="11590"/>
                    <a:pt x="0" y="10539"/>
                  </a:cubicBezTo>
                  <a:lnTo>
                    <a:pt x="0" y="5210"/>
                  </a:lnTo>
                  <a:cubicBezTo>
                    <a:pt x="0" y="4160"/>
                    <a:pt x="800" y="3271"/>
                    <a:pt x="1600" y="3271"/>
                  </a:cubicBezTo>
                  <a:lnTo>
                    <a:pt x="1600" y="3998"/>
                  </a:lnTo>
                  <a:cubicBezTo>
                    <a:pt x="1600" y="3998"/>
                    <a:pt x="800" y="4483"/>
                    <a:pt x="800" y="5129"/>
                  </a:cubicBezTo>
                  <a:lnTo>
                    <a:pt x="800" y="10458"/>
                  </a:lnTo>
                  <a:cubicBezTo>
                    <a:pt x="800" y="11105"/>
                    <a:pt x="1231" y="11920"/>
                    <a:pt x="1878" y="11920"/>
                  </a:cubicBezTo>
                  <a:lnTo>
                    <a:pt x="10922" y="11920"/>
                  </a:lnTo>
                  <a:cubicBezTo>
                    <a:pt x="11569" y="11920"/>
                    <a:pt x="12000" y="11186"/>
                    <a:pt x="12000" y="10539"/>
                  </a:cubicBezTo>
                  <a:lnTo>
                    <a:pt x="12000" y="5210"/>
                  </a:lnTo>
                  <a:cubicBezTo>
                    <a:pt x="12000" y="4563"/>
                    <a:pt x="11200" y="4079"/>
                    <a:pt x="11200" y="4079"/>
                  </a:cubicBezTo>
                  <a:lnTo>
                    <a:pt x="11200" y="3352"/>
                  </a:lnTo>
                  <a:cubicBezTo>
                    <a:pt x="12000" y="3352"/>
                    <a:pt x="12800" y="4240"/>
                    <a:pt x="12800" y="5290"/>
                  </a:cubicBezTo>
                  <a:lnTo>
                    <a:pt x="12800" y="10620"/>
                  </a:lnTo>
                  <a:cubicBezTo>
                    <a:pt x="12800" y="11590"/>
                    <a:pt x="11972" y="12720"/>
                    <a:pt x="10922" y="127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6" name="iconfont-11894-5689857"/>
            <p:cNvSpPr>
              <a:spLocks noChangeAspect="1"/>
            </p:cNvSpPr>
            <p:nvPr userDrawn="1"/>
          </p:nvSpPr>
          <p:spPr bwMode="auto">
            <a:xfrm>
              <a:off x="28254992" y="-1287093"/>
              <a:ext cx="477702" cy="609685"/>
            </a:xfrm>
            <a:custGeom>
              <a:avLst/>
              <a:gdLst>
                <a:gd name="T0" fmla="*/ 7249 w 8777"/>
                <a:gd name="T1" fmla="*/ 11201 h 11201"/>
                <a:gd name="T2" fmla="*/ 1528 w 8777"/>
                <a:gd name="T3" fmla="*/ 11201 h 11201"/>
                <a:gd name="T4" fmla="*/ 0 w 8777"/>
                <a:gd name="T5" fmla="*/ 9713 h 11201"/>
                <a:gd name="T6" fmla="*/ 0 w 8777"/>
                <a:gd name="T7" fmla="*/ 2231 h 11201"/>
                <a:gd name="T8" fmla="*/ 1528 w 8777"/>
                <a:gd name="T9" fmla="*/ 744 h 11201"/>
                <a:gd name="T10" fmla="*/ 1528 w 8777"/>
                <a:gd name="T11" fmla="*/ 0 h 11201"/>
                <a:gd name="T12" fmla="*/ 2291 w 8777"/>
                <a:gd name="T13" fmla="*/ 0 h 11201"/>
                <a:gd name="T14" fmla="*/ 2291 w 8777"/>
                <a:gd name="T15" fmla="*/ 744 h 11201"/>
                <a:gd name="T16" fmla="*/ 3832 w 8777"/>
                <a:gd name="T17" fmla="*/ 744 h 11201"/>
                <a:gd name="T18" fmla="*/ 3832 w 8777"/>
                <a:gd name="T19" fmla="*/ 0 h 11201"/>
                <a:gd name="T20" fmla="*/ 4595 w 8777"/>
                <a:gd name="T21" fmla="*/ 0 h 11201"/>
                <a:gd name="T22" fmla="*/ 4595 w 8777"/>
                <a:gd name="T23" fmla="*/ 744 h 11201"/>
                <a:gd name="T24" fmla="*/ 6485 w 8777"/>
                <a:gd name="T25" fmla="*/ 744 h 11201"/>
                <a:gd name="T26" fmla="*/ 6485 w 8777"/>
                <a:gd name="T27" fmla="*/ 0 h 11201"/>
                <a:gd name="T28" fmla="*/ 7249 w 8777"/>
                <a:gd name="T29" fmla="*/ 0 h 11201"/>
                <a:gd name="T30" fmla="*/ 7249 w 8777"/>
                <a:gd name="T31" fmla="*/ 744 h 11201"/>
                <a:gd name="T32" fmla="*/ 8777 w 8777"/>
                <a:gd name="T33" fmla="*/ 2231 h 11201"/>
                <a:gd name="T34" fmla="*/ 8777 w 8777"/>
                <a:gd name="T35" fmla="*/ 9713 h 11201"/>
                <a:gd name="T36" fmla="*/ 7249 w 8777"/>
                <a:gd name="T37" fmla="*/ 11201 h 11201"/>
                <a:gd name="T38" fmla="*/ 8013 w 8777"/>
                <a:gd name="T39" fmla="*/ 2231 h 11201"/>
                <a:gd name="T40" fmla="*/ 7249 w 8777"/>
                <a:gd name="T41" fmla="*/ 1488 h 11201"/>
                <a:gd name="T42" fmla="*/ 1528 w 8777"/>
                <a:gd name="T43" fmla="*/ 1488 h 11201"/>
                <a:gd name="T44" fmla="*/ 764 w 8777"/>
                <a:gd name="T45" fmla="*/ 2231 h 11201"/>
                <a:gd name="T46" fmla="*/ 764 w 8777"/>
                <a:gd name="T47" fmla="*/ 9713 h 11201"/>
                <a:gd name="T48" fmla="*/ 1528 w 8777"/>
                <a:gd name="T49" fmla="*/ 10457 h 11201"/>
                <a:gd name="T50" fmla="*/ 7249 w 8777"/>
                <a:gd name="T51" fmla="*/ 10457 h 11201"/>
                <a:gd name="T52" fmla="*/ 8013 w 8777"/>
                <a:gd name="T53" fmla="*/ 9713 h 11201"/>
                <a:gd name="T54" fmla="*/ 8013 w 8777"/>
                <a:gd name="T55" fmla="*/ 2231 h 11201"/>
                <a:gd name="T56" fmla="*/ 6867 w 8777"/>
                <a:gd name="T57" fmla="*/ 8926 h 11201"/>
                <a:gd name="T58" fmla="*/ 1910 w 8777"/>
                <a:gd name="T59" fmla="*/ 8926 h 11201"/>
                <a:gd name="T60" fmla="*/ 1528 w 8777"/>
                <a:gd name="T61" fmla="*/ 8554 h 11201"/>
                <a:gd name="T62" fmla="*/ 1910 w 8777"/>
                <a:gd name="T63" fmla="*/ 8182 h 11201"/>
                <a:gd name="T64" fmla="*/ 6867 w 8777"/>
                <a:gd name="T65" fmla="*/ 8182 h 11201"/>
                <a:gd name="T66" fmla="*/ 7249 w 8777"/>
                <a:gd name="T67" fmla="*/ 8554 h 11201"/>
                <a:gd name="T68" fmla="*/ 6867 w 8777"/>
                <a:gd name="T69" fmla="*/ 8926 h 11201"/>
                <a:gd name="T70" fmla="*/ 6867 w 8777"/>
                <a:gd name="T71" fmla="*/ 6694 h 11201"/>
                <a:gd name="T72" fmla="*/ 1910 w 8777"/>
                <a:gd name="T73" fmla="*/ 6694 h 11201"/>
                <a:gd name="T74" fmla="*/ 1528 w 8777"/>
                <a:gd name="T75" fmla="*/ 6322 h 11201"/>
                <a:gd name="T76" fmla="*/ 1910 w 8777"/>
                <a:gd name="T77" fmla="*/ 5950 h 11201"/>
                <a:gd name="T78" fmla="*/ 6867 w 8777"/>
                <a:gd name="T79" fmla="*/ 5950 h 11201"/>
                <a:gd name="T80" fmla="*/ 7249 w 8777"/>
                <a:gd name="T81" fmla="*/ 6322 h 11201"/>
                <a:gd name="T82" fmla="*/ 6867 w 8777"/>
                <a:gd name="T83" fmla="*/ 6694 h 11201"/>
                <a:gd name="T84" fmla="*/ 6867 w 8777"/>
                <a:gd name="T85" fmla="*/ 4463 h 11201"/>
                <a:gd name="T86" fmla="*/ 1910 w 8777"/>
                <a:gd name="T87" fmla="*/ 4463 h 11201"/>
                <a:gd name="T88" fmla="*/ 1528 w 8777"/>
                <a:gd name="T89" fmla="*/ 4091 h 11201"/>
                <a:gd name="T90" fmla="*/ 1910 w 8777"/>
                <a:gd name="T91" fmla="*/ 3719 h 11201"/>
                <a:gd name="T92" fmla="*/ 6867 w 8777"/>
                <a:gd name="T93" fmla="*/ 3719 h 11201"/>
                <a:gd name="T94" fmla="*/ 7249 w 8777"/>
                <a:gd name="T95" fmla="*/ 4091 h 11201"/>
                <a:gd name="T96" fmla="*/ 6867 w 8777"/>
                <a:gd name="T97" fmla="*/ 4463 h 1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777" h="11201">
                  <a:moveTo>
                    <a:pt x="7249" y="11201"/>
                  </a:moveTo>
                  <a:lnTo>
                    <a:pt x="1528" y="11201"/>
                  </a:lnTo>
                  <a:cubicBezTo>
                    <a:pt x="684" y="11201"/>
                    <a:pt x="0" y="10535"/>
                    <a:pt x="0" y="9713"/>
                  </a:cubicBezTo>
                  <a:lnTo>
                    <a:pt x="0" y="2231"/>
                  </a:lnTo>
                  <a:cubicBezTo>
                    <a:pt x="0" y="1410"/>
                    <a:pt x="684" y="744"/>
                    <a:pt x="1528" y="744"/>
                  </a:cubicBezTo>
                  <a:lnTo>
                    <a:pt x="1528" y="0"/>
                  </a:lnTo>
                  <a:lnTo>
                    <a:pt x="2291" y="0"/>
                  </a:lnTo>
                  <a:lnTo>
                    <a:pt x="2291" y="744"/>
                  </a:lnTo>
                  <a:lnTo>
                    <a:pt x="3832" y="744"/>
                  </a:lnTo>
                  <a:lnTo>
                    <a:pt x="3832" y="0"/>
                  </a:lnTo>
                  <a:lnTo>
                    <a:pt x="4595" y="0"/>
                  </a:lnTo>
                  <a:lnTo>
                    <a:pt x="4595" y="744"/>
                  </a:lnTo>
                  <a:lnTo>
                    <a:pt x="6485" y="744"/>
                  </a:lnTo>
                  <a:lnTo>
                    <a:pt x="6485" y="0"/>
                  </a:lnTo>
                  <a:lnTo>
                    <a:pt x="7249" y="0"/>
                  </a:lnTo>
                  <a:lnTo>
                    <a:pt x="7249" y="744"/>
                  </a:lnTo>
                  <a:cubicBezTo>
                    <a:pt x="8093" y="744"/>
                    <a:pt x="8777" y="1410"/>
                    <a:pt x="8777" y="2231"/>
                  </a:cubicBezTo>
                  <a:lnTo>
                    <a:pt x="8777" y="9713"/>
                  </a:lnTo>
                  <a:cubicBezTo>
                    <a:pt x="8777" y="10535"/>
                    <a:pt x="8093" y="11201"/>
                    <a:pt x="7249" y="11201"/>
                  </a:cubicBezTo>
                  <a:close/>
                  <a:moveTo>
                    <a:pt x="8013" y="2231"/>
                  </a:moveTo>
                  <a:cubicBezTo>
                    <a:pt x="8013" y="1821"/>
                    <a:pt x="7671" y="1488"/>
                    <a:pt x="7249" y="1488"/>
                  </a:cubicBezTo>
                  <a:lnTo>
                    <a:pt x="1528" y="1488"/>
                  </a:lnTo>
                  <a:cubicBezTo>
                    <a:pt x="1106" y="1488"/>
                    <a:pt x="764" y="1821"/>
                    <a:pt x="764" y="2231"/>
                  </a:cubicBezTo>
                  <a:lnTo>
                    <a:pt x="764" y="9713"/>
                  </a:lnTo>
                  <a:cubicBezTo>
                    <a:pt x="764" y="10124"/>
                    <a:pt x="1106" y="10457"/>
                    <a:pt x="1528" y="10457"/>
                  </a:cubicBezTo>
                  <a:lnTo>
                    <a:pt x="7249" y="10457"/>
                  </a:lnTo>
                  <a:cubicBezTo>
                    <a:pt x="7671" y="10457"/>
                    <a:pt x="8013" y="10124"/>
                    <a:pt x="8013" y="9713"/>
                  </a:cubicBezTo>
                  <a:lnTo>
                    <a:pt x="8013" y="2231"/>
                  </a:lnTo>
                  <a:close/>
                  <a:moveTo>
                    <a:pt x="6867" y="8926"/>
                  </a:moveTo>
                  <a:lnTo>
                    <a:pt x="1910" y="8926"/>
                  </a:lnTo>
                  <a:cubicBezTo>
                    <a:pt x="1699" y="8926"/>
                    <a:pt x="1528" y="8759"/>
                    <a:pt x="1528" y="8554"/>
                  </a:cubicBezTo>
                  <a:cubicBezTo>
                    <a:pt x="1528" y="8348"/>
                    <a:pt x="1699" y="8182"/>
                    <a:pt x="1910" y="8182"/>
                  </a:cubicBezTo>
                  <a:lnTo>
                    <a:pt x="6867" y="8182"/>
                  </a:lnTo>
                  <a:cubicBezTo>
                    <a:pt x="7078" y="8182"/>
                    <a:pt x="7249" y="8348"/>
                    <a:pt x="7249" y="8554"/>
                  </a:cubicBezTo>
                  <a:cubicBezTo>
                    <a:pt x="7249" y="8759"/>
                    <a:pt x="7078" y="8926"/>
                    <a:pt x="6867" y="8926"/>
                  </a:cubicBezTo>
                  <a:close/>
                  <a:moveTo>
                    <a:pt x="6867" y="6694"/>
                  </a:moveTo>
                  <a:lnTo>
                    <a:pt x="1910" y="6694"/>
                  </a:lnTo>
                  <a:cubicBezTo>
                    <a:pt x="1699" y="6694"/>
                    <a:pt x="1528" y="6528"/>
                    <a:pt x="1528" y="6322"/>
                  </a:cubicBezTo>
                  <a:cubicBezTo>
                    <a:pt x="1528" y="6117"/>
                    <a:pt x="1699" y="5950"/>
                    <a:pt x="1910" y="5950"/>
                  </a:cubicBezTo>
                  <a:lnTo>
                    <a:pt x="6867" y="5950"/>
                  </a:lnTo>
                  <a:cubicBezTo>
                    <a:pt x="7078" y="5950"/>
                    <a:pt x="7249" y="6117"/>
                    <a:pt x="7249" y="6322"/>
                  </a:cubicBezTo>
                  <a:cubicBezTo>
                    <a:pt x="7249" y="6528"/>
                    <a:pt x="7078" y="6694"/>
                    <a:pt x="6867" y="6694"/>
                  </a:cubicBezTo>
                  <a:close/>
                  <a:moveTo>
                    <a:pt x="6867" y="4463"/>
                  </a:moveTo>
                  <a:lnTo>
                    <a:pt x="1910" y="4463"/>
                  </a:lnTo>
                  <a:cubicBezTo>
                    <a:pt x="1699" y="4463"/>
                    <a:pt x="1528" y="4296"/>
                    <a:pt x="1528" y="4091"/>
                  </a:cubicBezTo>
                  <a:cubicBezTo>
                    <a:pt x="1528" y="3885"/>
                    <a:pt x="1699" y="3719"/>
                    <a:pt x="1910" y="3719"/>
                  </a:cubicBezTo>
                  <a:lnTo>
                    <a:pt x="6867" y="3719"/>
                  </a:lnTo>
                  <a:cubicBezTo>
                    <a:pt x="7078" y="3719"/>
                    <a:pt x="7249" y="3886"/>
                    <a:pt x="7249" y="4091"/>
                  </a:cubicBezTo>
                  <a:cubicBezTo>
                    <a:pt x="7249" y="4296"/>
                    <a:pt x="7078" y="4463"/>
                    <a:pt x="6867" y="44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32" name="iconfont-11894-5689857"/>
            <p:cNvSpPr>
              <a:spLocks noChangeAspect="1"/>
            </p:cNvSpPr>
            <p:nvPr userDrawn="1"/>
          </p:nvSpPr>
          <p:spPr bwMode="auto">
            <a:xfrm>
              <a:off x="13556559" y="18332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33" name="iconfont-11894-5689857"/>
            <p:cNvSpPr>
              <a:spLocks noChangeAspect="1"/>
            </p:cNvSpPr>
            <p:nvPr userDrawn="1"/>
          </p:nvSpPr>
          <p:spPr bwMode="auto">
            <a:xfrm>
              <a:off x="14775929" y="218993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2" name="iconfont-11894-5689857"/>
            <p:cNvSpPr>
              <a:spLocks noChangeAspect="1"/>
            </p:cNvSpPr>
            <p:nvPr userDrawn="1"/>
          </p:nvSpPr>
          <p:spPr bwMode="auto">
            <a:xfrm>
              <a:off x="16021966" y="183324"/>
              <a:ext cx="556352" cy="609685"/>
            </a:xfrm>
            <a:custGeom>
              <a:avLst/>
              <a:gdLst>
                <a:gd name="T0" fmla="*/ 5364 w 10171"/>
                <a:gd name="T1" fmla="*/ 9821 h 11145"/>
                <a:gd name="T2" fmla="*/ 4876 w 10171"/>
                <a:gd name="T3" fmla="*/ 9821 h 11145"/>
                <a:gd name="T4" fmla="*/ 4528 w 10171"/>
                <a:gd name="T5" fmla="*/ 9890 h 11145"/>
                <a:gd name="T6" fmla="*/ 2020 w 10171"/>
                <a:gd name="T7" fmla="*/ 10100 h 11145"/>
                <a:gd name="T8" fmla="*/ 2090 w 10171"/>
                <a:gd name="T9" fmla="*/ 9124 h 11145"/>
                <a:gd name="T10" fmla="*/ 2299 w 10171"/>
                <a:gd name="T11" fmla="*/ 8497 h 11145"/>
                <a:gd name="T12" fmla="*/ 1602 w 10171"/>
                <a:gd name="T13" fmla="*/ 7801 h 11145"/>
                <a:gd name="T14" fmla="*/ 1254 w 10171"/>
                <a:gd name="T15" fmla="*/ 7941 h 11145"/>
                <a:gd name="T16" fmla="*/ 975 w 10171"/>
                <a:gd name="T17" fmla="*/ 8149 h 11145"/>
                <a:gd name="T18" fmla="*/ 975 w 10171"/>
                <a:gd name="T19" fmla="*/ 6408 h 11145"/>
                <a:gd name="T20" fmla="*/ 1811 w 10171"/>
                <a:gd name="T21" fmla="*/ 4945 h 11145"/>
                <a:gd name="T22" fmla="*/ 2020 w 10171"/>
                <a:gd name="T23" fmla="*/ 4180 h 11145"/>
                <a:gd name="T24" fmla="*/ 2089 w 10171"/>
                <a:gd name="T25" fmla="*/ 3901 h 11145"/>
                <a:gd name="T26" fmla="*/ 5085 w 10171"/>
                <a:gd name="T27" fmla="*/ 836 h 11145"/>
                <a:gd name="T28" fmla="*/ 8151 w 10171"/>
                <a:gd name="T29" fmla="*/ 3900 h 11145"/>
                <a:gd name="T30" fmla="*/ 8220 w 10171"/>
                <a:gd name="T31" fmla="*/ 4179 h 11145"/>
                <a:gd name="T32" fmla="*/ 8429 w 10171"/>
                <a:gd name="T33" fmla="*/ 4945 h 11145"/>
                <a:gd name="T34" fmla="*/ 9265 w 10171"/>
                <a:gd name="T35" fmla="*/ 6407 h 11145"/>
                <a:gd name="T36" fmla="*/ 9195 w 10171"/>
                <a:gd name="T37" fmla="*/ 8148 h 11145"/>
                <a:gd name="T38" fmla="*/ 8568 w 10171"/>
                <a:gd name="T39" fmla="*/ 7800 h 11145"/>
                <a:gd name="T40" fmla="*/ 8151 w 10171"/>
                <a:gd name="T41" fmla="*/ 8009 h 11145"/>
                <a:gd name="T42" fmla="*/ 7733 w 10171"/>
                <a:gd name="T43" fmla="*/ 8845 h 11145"/>
                <a:gd name="T44" fmla="*/ 8429 w 10171"/>
                <a:gd name="T45" fmla="*/ 9613 h 11145"/>
                <a:gd name="T46" fmla="*/ 6896 w 10171"/>
                <a:gd name="T47" fmla="*/ 10309 h 11145"/>
                <a:gd name="T48" fmla="*/ 5364 w 10171"/>
                <a:gd name="T49" fmla="*/ 9821 h 11145"/>
                <a:gd name="T50" fmla="*/ 6966 w 10171"/>
                <a:gd name="T51" fmla="*/ 11145 h 11145"/>
                <a:gd name="T52" fmla="*/ 9334 w 10171"/>
                <a:gd name="T53" fmla="*/ 9613 h 11145"/>
                <a:gd name="T54" fmla="*/ 9404 w 10171"/>
                <a:gd name="T55" fmla="*/ 8846 h 11145"/>
                <a:gd name="T56" fmla="*/ 9893 w 10171"/>
                <a:gd name="T57" fmla="*/ 6130 h 11145"/>
                <a:gd name="T58" fmla="*/ 9126 w 10171"/>
                <a:gd name="T59" fmla="*/ 4807 h 11145"/>
                <a:gd name="T60" fmla="*/ 7803 w 10171"/>
                <a:gd name="T61" fmla="*/ 1114 h 11145"/>
                <a:gd name="T62" fmla="*/ 2369 w 10171"/>
                <a:gd name="T63" fmla="*/ 1114 h 11145"/>
                <a:gd name="T64" fmla="*/ 1045 w 10171"/>
                <a:gd name="T65" fmla="*/ 4806 h 11145"/>
                <a:gd name="T66" fmla="*/ 279 w 10171"/>
                <a:gd name="T67" fmla="*/ 6130 h 11145"/>
                <a:gd name="T68" fmla="*/ 766 w 10171"/>
                <a:gd name="T69" fmla="*/ 8846 h 11145"/>
                <a:gd name="T70" fmla="*/ 836 w 10171"/>
                <a:gd name="T71" fmla="*/ 9613 h 11145"/>
                <a:gd name="T72" fmla="*/ 3135 w 10171"/>
                <a:gd name="T73" fmla="*/ 11145 h 11145"/>
                <a:gd name="T74" fmla="*/ 5225 w 10171"/>
                <a:gd name="T75" fmla="*/ 10657 h 11145"/>
                <a:gd name="T76" fmla="*/ 6966 w 10171"/>
                <a:gd name="T77" fmla="*/ 11145 h 1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171" h="11145">
                  <a:moveTo>
                    <a:pt x="5364" y="9821"/>
                  </a:moveTo>
                  <a:lnTo>
                    <a:pt x="5364" y="9821"/>
                  </a:lnTo>
                  <a:lnTo>
                    <a:pt x="5085" y="9821"/>
                  </a:lnTo>
                  <a:lnTo>
                    <a:pt x="4876" y="9821"/>
                  </a:lnTo>
                  <a:lnTo>
                    <a:pt x="4807" y="9821"/>
                  </a:lnTo>
                  <a:cubicBezTo>
                    <a:pt x="4737" y="9821"/>
                    <a:pt x="4598" y="9821"/>
                    <a:pt x="4528" y="9890"/>
                  </a:cubicBezTo>
                  <a:cubicBezTo>
                    <a:pt x="4249" y="10169"/>
                    <a:pt x="3762" y="10309"/>
                    <a:pt x="3135" y="10309"/>
                  </a:cubicBezTo>
                  <a:cubicBezTo>
                    <a:pt x="2717" y="10309"/>
                    <a:pt x="2369" y="10239"/>
                    <a:pt x="2020" y="10100"/>
                  </a:cubicBezTo>
                  <a:cubicBezTo>
                    <a:pt x="1742" y="9960"/>
                    <a:pt x="1602" y="9821"/>
                    <a:pt x="1602" y="9612"/>
                  </a:cubicBezTo>
                  <a:cubicBezTo>
                    <a:pt x="1602" y="9403"/>
                    <a:pt x="1742" y="9264"/>
                    <a:pt x="2090" y="9124"/>
                  </a:cubicBezTo>
                  <a:cubicBezTo>
                    <a:pt x="2299" y="9055"/>
                    <a:pt x="2369" y="8985"/>
                    <a:pt x="2369" y="8845"/>
                  </a:cubicBezTo>
                  <a:cubicBezTo>
                    <a:pt x="2369" y="8706"/>
                    <a:pt x="2369" y="8567"/>
                    <a:pt x="2299" y="8497"/>
                  </a:cubicBezTo>
                  <a:cubicBezTo>
                    <a:pt x="2160" y="8359"/>
                    <a:pt x="2090" y="8149"/>
                    <a:pt x="1951" y="8010"/>
                  </a:cubicBezTo>
                  <a:cubicBezTo>
                    <a:pt x="1881" y="7871"/>
                    <a:pt x="1742" y="7801"/>
                    <a:pt x="1602" y="7801"/>
                  </a:cubicBezTo>
                  <a:lnTo>
                    <a:pt x="1602" y="7801"/>
                  </a:lnTo>
                  <a:cubicBezTo>
                    <a:pt x="1463" y="7801"/>
                    <a:pt x="1393" y="7871"/>
                    <a:pt x="1254" y="7941"/>
                  </a:cubicBezTo>
                  <a:cubicBezTo>
                    <a:pt x="1115" y="8080"/>
                    <a:pt x="1045" y="8149"/>
                    <a:pt x="975" y="8149"/>
                  </a:cubicBezTo>
                  <a:lnTo>
                    <a:pt x="975" y="8149"/>
                  </a:lnTo>
                  <a:cubicBezTo>
                    <a:pt x="906" y="8149"/>
                    <a:pt x="837" y="7941"/>
                    <a:pt x="837" y="7593"/>
                  </a:cubicBezTo>
                  <a:cubicBezTo>
                    <a:pt x="837" y="7245"/>
                    <a:pt x="906" y="6826"/>
                    <a:pt x="975" y="6408"/>
                  </a:cubicBezTo>
                  <a:cubicBezTo>
                    <a:pt x="1114" y="5990"/>
                    <a:pt x="1323" y="5642"/>
                    <a:pt x="1671" y="5294"/>
                  </a:cubicBezTo>
                  <a:cubicBezTo>
                    <a:pt x="1741" y="5225"/>
                    <a:pt x="1811" y="5085"/>
                    <a:pt x="1811" y="4945"/>
                  </a:cubicBezTo>
                  <a:lnTo>
                    <a:pt x="1811" y="4807"/>
                  </a:lnTo>
                  <a:cubicBezTo>
                    <a:pt x="1811" y="4597"/>
                    <a:pt x="1880" y="4389"/>
                    <a:pt x="2020" y="4180"/>
                  </a:cubicBezTo>
                  <a:cubicBezTo>
                    <a:pt x="2089" y="4110"/>
                    <a:pt x="2089" y="4040"/>
                    <a:pt x="2089" y="3971"/>
                  </a:cubicBezTo>
                  <a:lnTo>
                    <a:pt x="2089" y="3901"/>
                  </a:lnTo>
                  <a:cubicBezTo>
                    <a:pt x="2090" y="3065"/>
                    <a:pt x="2368" y="2368"/>
                    <a:pt x="2995" y="1741"/>
                  </a:cubicBezTo>
                  <a:cubicBezTo>
                    <a:pt x="3553" y="1114"/>
                    <a:pt x="4249" y="836"/>
                    <a:pt x="5085" y="836"/>
                  </a:cubicBezTo>
                  <a:cubicBezTo>
                    <a:pt x="5921" y="836"/>
                    <a:pt x="6618" y="1114"/>
                    <a:pt x="7245" y="1741"/>
                  </a:cubicBezTo>
                  <a:cubicBezTo>
                    <a:pt x="7802" y="2368"/>
                    <a:pt x="8151" y="3065"/>
                    <a:pt x="8151" y="3900"/>
                  </a:cubicBezTo>
                  <a:lnTo>
                    <a:pt x="8151" y="3970"/>
                  </a:lnTo>
                  <a:cubicBezTo>
                    <a:pt x="8151" y="4039"/>
                    <a:pt x="8151" y="4109"/>
                    <a:pt x="8220" y="4179"/>
                  </a:cubicBezTo>
                  <a:cubicBezTo>
                    <a:pt x="8359" y="4388"/>
                    <a:pt x="8429" y="4596"/>
                    <a:pt x="8429" y="4806"/>
                  </a:cubicBezTo>
                  <a:lnTo>
                    <a:pt x="8429" y="4945"/>
                  </a:lnTo>
                  <a:cubicBezTo>
                    <a:pt x="8429" y="5084"/>
                    <a:pt x="8429" y="5224"/>
                    <a:pt x="8568" y="5293"/>
                  </a:cubicBezTo>
                  <a:cubicBezTo>
                    <a:pt x="8916" y="5641"/>
                    <a:pt x="9125" y="5989"/>
                    <a:pt x="9265" y="6407"/>
                  </a:cubicBezTo>
                  <a:cubicBezTo>
                    <a:pt x="9404" y="6825"/>
                    <a:pt x="9474" y="7244"/>
                    <a:pt x="9404" y="7592"/>
                  </a:cubicBezTo>
                  <a:cubicBezTo>
                    <a:pt x="9404" y="7940"/>
                    <a:pt x="9334" y="8079"/>
                    <a:pt x="9195" y="8148"/>
                  </a:cubicBezTo>
                  <a:cubicBezTo>
                    <a:pt x="9126" y="8148"/>
                    <a:pt x="9056" y="8079"/>
                    <a:pt x="8916" y="7940"/>
                  </a:cubicBezTo>
                  <a:cubicBezTo>
                    <a:pt x="8847" y="7871"/>
                    <a:pt x="8707" y="7800"/>
                    <a:pt x="8568" y="7800"/>
                  </a:cubicBezTo>
                  <a:lnTo>
                    <a:pt x="8499" y="7800"/>
                  </a:lnTo>
                  <a:cubicBezTo>
                    <a:pt x="8359" y="7800"/>
                    <a:pt x="8220" y="7870"/>
                    <a:pt x="8151" y="8009"/>
                  </a:cubicBezTo>
                  <a:cubicBezTo>
                    <a:pt x="8081" y="8218"/>
                    <a:pt x="7941" y="8358"/>
                    <a:pt x="7802" y="8497"/>
                  </a:cubicBezTo>
                  <a:cubicBezTo>
                    <a:pt x="7733" y="8567"/>
                    <a:pt x="7663" y="8706"/>
                    <a:pt x="7733" y="8845"/>
                  </a:cubicBezTo>
                  <a:cubicBezTo>
                    <a:pt x="7733" y="8985"/>
                    <a:pt x="7872" y="9054"/>
                    <a:pt x="7941" y="9124"/>
                  </a:cubicBezTo>
                  <a:cubicBezTo>
                    <a:pt x="8289" y="9264"/>
                    <a:pt x="8429" y="9404"/>
                    <a:pt x="8429" y="9613"/>
                  </a:cubicBezTo>
                  <a:cubicBezTo>
                    <a:pt x="8429" y="9821"/>
                    <a:pt x="8289" y="9961"/>
                    <a:pt x="8011" y="10100"/>
                  </a:cubicBezTo>
                  <a:cubicBezTo>
                    <a:pt x="7732" y="10239"/>
                    <a:pt x="7314" y="10309"/>
                    <a:pt x="6896" y="10309"/>
                  </a:cubicBezTo>
                  <a:cubicBezTo>
                    <a:pt x="6269" y="10309"/>
                    <a:pt x="5851" y="10169"/>
                    <a:pt x="5503" y="9891"/>
                  </a:cubicBezTo>
                  <a:cubicBezTo>
                    <a:pt x="5573" y="9891"/>
                    <a:pt x="5433" y="9821"/>
                    <a:pt x="5364" y="9821"/>
                  </a:cubicBezTo>
                  <a:lnTo>
                    <a:pt x="5364" y="9821"/>
                  </a:lnTo>
                  <a:close/>
                  <a:moveTo>
                    <a:pt x="6966" y="11145"/>
                  </a:moveTo>
                  <a:cubicBezTo>
                    <a:pt x="7663" y="11145"/>
                    <a:pt x="8220" y="11006"/>
                    <a:pt x="8638" y="10728"/>
                  </a:cubicBezTo>
                  <a:cubicBezTo>
                    <a:pt x="9056" y="10448"/>
                    <a:pt x="9334" y="10100"/>
                    <a:pt x="9334" y="9613"/>
                  </a:cubicBezTo>
                  <a:cubicBezTo>
                    <a:pt x="9334" y="9334"/>
                    <a:pt x="9265" y="9125"/>
                    <a:pt x="9126" y="8916"/>
                  </a:cubicBezTo>
                  <a:cubicBezTo>
                    <a:pt x="9196" y="8916"/>
                    <a:pt x="9334" y="8916"/>
                    <a:pt x="9404" y="8846"/>
                  </a:cubicBezTo>
                  <a:cubicBezTo>
                    <a:pt x="9822" y="8708"/>
                    <a:pt x="10031" y="8359"/>
                    <a:pt x="10101" y="7801"/>
                  </a:cubicBezTo>
                  <a:cubicBezTo>
                    <a:pt x="10171" y="7314"/>
                    <a:pt x="10101" y="6757"/>
                    <a:pt x="9893" y="6130"/>
                  </a:cubicBezTo>
                  <a:cubicBezTo>
                    <a:pt x="9753" y="5642"/>
                    <a:pt x="9475" y="5225"/>
                    <a:pt x="9126" y="4807"/>
                  </a:cubicBezTo>
                  <a:lnTo>
                    <a:pt x="9126" y="4807"/>
                  </a:lnTo>
                  <a:cubicBezTo>
                    <a:pt x="9126" y="4458"/>
                    <a:pt x="9057" y="4180"/>
                    <a:pt x="8917" y="3831"/>
                  </a:cubicBezTo>
                  <a:cubicBezTo>
                    <a:pt x="8917" y="2787"/>
                    <a:pt x="8569" y="1881"/>
                    <a:pt x="7803" y="1114"/>
                  </a:cubicBezTo>
                  <a:cubicBezTo>
                    <a:pt x="7036" y="348"/>
                    <a:pt x="6130" y="0"/>
                    <a:pt x="5085" y="0"/>
                  </a:cubicBezTo>
                  <a:cubicBezTo>
                    <a:pt x="4040" y="0"/>
                    <a:pt x="3135" y="348"/>
                    <a:pt x="2369" y="1114"/>
                  </a:cubicBezTo>
                  <a:cubicBezTo>
                    <a:pt x="1671" y="1880"/>
                    <a:pt x="1254" y="2786"/>
                    <a:pt x="1254" y="3831"/>
                  </a:cubicBezTo>
                  <a:cubicBezTo>
                    <a:pt x="1115" y="4110"/>
                    <a:pt x="1045" y="4458"/>
                    <a:pt x="1045" y="4806"/>
                  </a:cubicBezTo>
                  <a:lnTo>
                    <a:pt x="1045" y="4876"/>
                  </a:lnTo>
                  <a:cubicBezTo>
                    <a:pt x="627" y="5224"/>
                    <a:pt x="418" y="5712"/>
                    <a:pt x="279" y="6130"/>
                  </a:cubicBezTo>
                  <a:cubicBezTo>
                    <a:pt x="70" y="6756"/>
                    <a:pt x="0" y="7314"/>
                    <a:pt x="70" y="7801"/>
                  </a:cubicBezTo>
                  <a:cubicBezTo>
                    <a:pt x="139" y="8359"/>
                    <a:pt x="418" y="8707"/>
                    <a:pt x="766" y="8846"/>
                  </a:cubicBezTo>
                  <a:cubicBezTo>
                    <a:pt x="836" y="8846"/>
                    <a:pt x="975" y="8916"/>
                    <a:pt x="1045" y="8916"/>
                  </a:cubicBezTo>
                  <a:cubicBezTo>
                    <a:pt x="906" y="9124"/>
                    <a:pt x="836" y="9334"/>
                    <a:pt x="836" y="9613"/>
                  </a:cubicBezTo>
                  <a:cubicBezTo>
                    <a:pt x="836" y="10030"/>
                    <a:pt x="1045" y="10448"/>
                    <a:pt x="1533" y="10727"/>
                  </a:cubicBezTo>
                  <a:cubicBezTo>
                    <a:pt x="1951" y="11006"/>
                    <a:pt x="2508" y="11145"/>
                    <a:pt x="3135" y="11145"/>
                  </a:cubicBezTo>
                  <a:cubicBezTo>
                    <a:pt x="3831" y="11145"/>
                    <a:pt x="4458" y="11006"/>
                    <a:pt x="4876" y="10657"/>
                  </a:cubicBezTo>
                  <a:lnTo>
                    <a:pt x="5225" y="10657"/>
                  </a:lnTo>
                  <a:cubicBezTo>
                    <a:pt x="5713" y="11006"/>
                    <a:pt x="6269" y="11145"/>
                    <a:pt x="6966" y="11145"/>
                  </a:cubicBezTo>
                  <a:lnTo>
                    <a:pt x="6966" y="1114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35" name="iconfont-11894-5689857"/>
            <p:cNvSpPr>
              <a:spLocks noChangeAspect="1"/>
            </p:cNvSpPr>
            <p:nvPr userDrawn="1"/>
          </p:nvSpPr>
          <p:spPr bwMode="auto">
            <a:xfrm>
              <a:off x="17214969" y="18332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31" name="iconfont-11894-5689857"/>
            <p:cNvSpPr>
              <a:spLocks noChangeAspect="1"/>
            </p:cNvSpPr>
            <p:nvPr userDrawn="1"/>
          </p:nvSpPr>
          <p:spPr bwMode="auto">
            <a:xfrm>
              <a:off x="18434380" y="183324"/>
              <a:ext cx="609005" cy="609685"/>
            </a:xfrm>
            <a:custGeom>
              <a:avLst/>
              <a:gdLst>
                <a:gd name="T0" fmla="*/ 9151 w 11196"/>
                <a:gd name="T1" fmla="*/ 0 h 11207"/>
                <a:gd name="T2" fmla="*/ 2033 w 11196"/>
                <a:gd name="T3" fmla="*/ 0 h 11207"/>
                <a:gd name="T4" fmla="*/ 0 w 11196"/>
                <a:gd name="T5" fmla="*/ 3498 h 11207"/>
                <a:gd name="T6" fmla="*/ 0 w 11196"/>
                <a:gd name="T7" fmla="*/ 4897 h 11207"/>
                <a:gd name="T8" fmla="*/ 407 w 11196"/>
                <a:gd name="T9" fmla="*/ 5868 h 11207"/>
                <a:gd name="T10" fmla="*/ 407 w 11196"/>
                <a:gd name="T11" fmla="*/ 9881 h 11207"/>
                <a:gd name="T12" fmla="*/ 1804 w 11196"/>
                <a:gd name="T13" fmla="*/ 11207 h 11207"/>
                <a:gd name="T14" fmla="*/ 9380 w 11196"/>
                <a:gd name="T15" fmla="*/ 11207 h 11207"/>
                <a:gd name="T16" fmla="*/ 10657 w 11196"/>
                <a:gd name="T17" fmla="*/ 9881 h 11207"/>
                <a:gd name="T18" fmla="*/ 10657 w 11196"/>
                <a:gd name="T19" fmla="*/ 5868 h 11207"/>
                <a:gd name="T20" fmla="*/ 11196 w 11196"/>
                <a:gd name="T21" fmla="*/ 4897 h 11207"/>
                <a:gd name="T22" fmla="*/ 11196 w 11196"/>
                <a:gd name="T23" fmla="*/ 3498 h 11207"/>
                <a:gd name="T24" fmla="*/ 9151 w 11196"/>
                <a:gd name="T25" fmla="*/ 0 h 11207"/>
                <a:gd name="T26" fmla="*/ 2295 w 11196"/>
                <a:gd name="T27" fmla="*/ 533 h 11207"/>
                <a:gd name="T28" fmla="*/ 8768 w 11196"/>
                <a:gd name="T29" fmla="*/ 533 h 11207"/>
                <a:gd name="T30" fmla="*/ 10387 w 11196"/>
                <a:gd name="T31" fmla="*/ 3467 h 11207"/>
                <a:gd name="T32" fmla="*/ 676 w 11196"/>
                <a:gd name="T33" fmla="*/ 3467 h 11207"/>
                <a:gd name="T34" fmla="*/ 2295 w 11196"/>
                <a:gd name="T35" fmla="*/ 533 h 11207"/>
                <a:gd name="T36" fmla="*/ 9308 w 11196"/>
                <a:gd name="T37" fmla="*/ 10681 h 11207"/>
                <a:gd name="T38" fmla="*/ 1755 w 11196"/>
                <a:gd name="T39" fmla="*/ 10681 h 11207"/>
                <a:gd name="T40" fmla="*/ 946 w 11196"/>
                <a:gd name="T41" fmla="*/ 9881 h 11207"/>
                <a:gd name="T42" fmla="*/ 946 w 11196"/>
                <a:gd name="T43" fmla="*/ 9881 h 11207"/>
                <a:gd name="T44" fmla="*/ 946 w 11196"/>
                <a:gd name="T45" fmla="*/ 9068 h 11207"/>
                <a:gd name="T46" fmla="*/ 10143 w 11196"/>
                <a:gd name="T47" fmla="*/ 9068 h 11207"/>
                <a:gd name="T48" fmla="*/ 10146 w 11196"/>
                <a:gd name="T49" fmla="*/ 9807 h 11207"/>
                <a:gd name="T50" fmla="*/ 9308 w 11196"/>
                <a:gd name="T51" fmla="*/ 10681 h 11207"/>
                <a:gd name="T52" fmla="*/ 10143 w 11196"/>
                <a:gd name="T53" fmla="*/ 8535 h 11207"/>
                <a:gd name="T54" fmla="*/ 946 w 11196"/>
                <a:gd name="T55" fmla="*/ 8535 h 11207"/>
                <a:gd name="T56" fmla="*/ 946 w 11196"/>
                <a:gd name="T57" fmla="*/ 8535 h 11207"/>
                <a:gd name="T58" fmla="*/ 946 w 11196"/>
                <a:gd name="T59" fmla="*/ 8535 h 11207"/>
                <a:gd name="T60" fmla="*/ 946 w 11196"/>
                <a:gd name="T61" fmla="*/ 6134 h 11207"/>
                <a:gd name="T62" fmla="*/ 1755 w 11196"/>
                <a:gd name="T63" fmla="*/ 6401 h 11207"/>
                <a:gd name="T64" fmla="*/ 2961 w 11196"/>
                <a:gd name="T65" fmla="*/ 5449 h 11207"/>
                <a:gd name="T66" fmla="*/ 4183 w 11196"/>
                <a:gd name="T67" fmla="*/ 6401 h 11207"/>
                <a:gd name="T68" fmla="*/ 5592 w 11196"/>
                <a:gd name="T69" fmla="*/ 5521 h 11207"/>
                <a:gd name="T70" fmla="*/ 6880 w 11196"/>
                <a:gd name="T71" fmla="*/ 6401 h 11207"/>
                <a:gd name="T72" fmla="*/ 8210 w 11196"/>
                <a:gd name="T73" fmla="*/ 5396 h 11207"/>
                <a:gd name="T74" fmla="*/ 9578 w 11196"/>
                <a:gd name="T75" fmla="*/ 6401 h 11207"/>
                <a:gd name="T76" fmla="*/ 10146 w 11196"/>
                <a:gd name="T77" fmla="*/ 6296 h 11207"/>
                <a:gd name="T78" fmla="*/ 10143 w 11196"/>
                <a:gd name="T79" fmla="*/ 8535 h 11207"/>
                <a:gd name="T80" fmla="*/ 9378 w 11196"/>
                <a:gd name="T81" fmla="*/ 5555 h 11207"/>
                <a:gd name="T82" fmla="*/ 8160 w 11196"/>
                <a:gd name="T83" fmla="*/ 4759 h 11207"/>
                <a:gd name="T84" fmla="*/ 7890 w 11196"/>
                <a:gd name="T85" fmla="*/ 4759 h 11207"/>
                <a:gd name="T86" fmla="*/ 6812 w 11196"/>
                <a:gd name="T87" fmla="*/ 5555 h 11207"/>
                <a:gd name="T88" fmla="*/ 5733 w 11196"/>
                <a:gd name="T89" fmla="*/ 4759 h 11207"/>
                <a:gd name="T90" fmla="*/ 5463 w 11196"/>
                <a:gd name="T91" fmla="*/ 4759 h 11207"/>
                <a:gd name="T92" fmla="*/ 4225 w 11196"/>
                <a:gd name="T93" fmla="*/ 5555 h 11207"/>
                <a:gd name="T94" fmla="*/ 3035 w 11196"/>
                <a:gd name="T95" fmla="*/ 4759 h 11207"/>
                <a:gd name="T96" fmla="*/ 2766 w 11196"/>
                <a:gd name="T97" fmla="*/ 4759 h 11207"/>
                <a:gd name="T98" fmla="*/ 1679 w 11196"/>
                <a:gd name="T99" fmla="*/ 5566 h 11207"/>
                <a:gd name="T100" fmla="*/ 608 w 11196"/>
                <a:gd name="T101" fmla="*/ 4759 h 11207"/>
                <a:gd name="T102" fmla="*/ 608 w 11196"/>
                <a:gd name="T103" fmla="*/ 3984 h 11207"/>
                <a:gd name="T104" fmla="*/ 10588 w 11196"/>
                <a:gd name="T105" fmla="*/ 3984 h 11207"/>
                <a:gd name="T106" fmla="*/ 10588 w 11196"/>
                <a:gd name="T107" fmla="*/ 4759 h 11207"/>
                <a:gd name="T108" fmla="*/ 10588 w 11196"/>
                <a:gd name="T109" fmla="*/ 4759 h 11207"/>
                <a:gd name="T110" fmla="*/ 9378 w 11196"/>
                <a:gd name="T111" fmla="*/ 5555 h 1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96" h="11207">
                  <a:moveTo>
                    <a:pt x="9151" y="0"/>
                  </a:moveTo>
                  <a:lnTo>
                    <a:pt x="2033" y="0"/>
                  </a:lnTo>
                  <a:lnTo>
                    <a:pt x="0" y="3498"/>
                  </a:lnTo>
                  <a:lnTo>
                    <a:pt x="0" y="4897"/>
                  </a:lnTo>
                  <a:cubicBezTo>
                    <a:pt x="41" y="5249"/>
                    <a:pt x="190" y="5598"/>
                    <a:pt x="407" y="5868"/>
                  </a:cubicBezTo>
                  <a:lnTo>
                    <a:pt x="407" y="9881"/>
                  </a:lnTo>
                  <a:cubicBezTo>
                    <a:pt x="407" y="10654"/>
                    <a:pt x="1007" y="11207"/>
                    <a:pt x="1804" y="11207"/>
                  </a:cubicBezTo>
                  <a:lnTo>
                    <a:pt x="9380" y="11207"/>
                  </a:lnTo>
                  <a:cubicBezTo>
                    <a:pt x="10178" y="11207"/>
                    <a:pt x="10657" y="10654"/>
                    <a:pt x="10657" y="9881"/>
                  </a:cubicBezTo>
                  <a:lnTo>
                    <a:pt x="10657" y="5868"/>
                  </a:lnTo>
                  <a:cubicBezTo>
                    <a:pt x="10902" y="5579"/>
                    <a:pt x="11051" y="5362"/>
                    <a:pt x="11196" y="4897"/>
                  </a:cubicBezTo>
                  <a:lnTo>
                    <a:pt x="11196" y="3498"/>
                  </a:lnTo>
                  <a:lnTo>
                    <a:pt x="9151" y="0"/>
                  </a:lnTo>
                  <a:close/>
                  <a:moveTo>
                    <a:pt x="2295" y="533"/>
                  </a:moveTo>
                  <a:lnTo>
                    <a:pt x="8768" y="533"/>
                  </a:lnTo>
                  <a:lnTo>
                    <a:pt x="10387" y="3467"/>
                  </a:lnTo>
                  <a:lnTo>
                    <a:pt x="676" y="3467"/>
                  </a:lnTo>
                  <a:lnTo>
                    <a:pt x="2295" y="533"/>
                  </a:lnTo>
                  <a:close/>
                  <a:moveTo>
                    <a:pt x="9308" y="10681"/>
                  </a:moveTo>
                  <a:lnTo>
                    <a:pt x="1755" y="10681"/>
                  </a:lnTo>
                  <a:cubicBezTo>
                    <a:pt x="1357" y="10681"/>
                    <a:pt x="946" y="10268"/>
                    <a:pt x="946" y="9881"/>
                  </a:cubicBezTo>
                  <a:lnTo>
                    <a:pt x="946" y="9881"/>
                  </a:lnTo>
                  <a:lnTo>
                    <a:pt x="946" y="9068"/>
                  </a:lnTo>
                  <a:lnTo>
                    <a:pt x="10143" y="9068"/>
                  </a:lnTo>
                  <a:lnTo>
                    <a:pt x="10146" y="9807"/>
                  </a:lnTo>
                  <a:cubicBezTo>
                    <a:pt x="10146" y="10194"/>
                    <a:pt x="9706" y="10681"/>
                    <a:pt x="9308" y="10681"/>
                  </a:cubicBezTo>
                  <a:close/>
                  <a:moveTo>
                    <a:pt x="10143" y="8535"/>
                  </a:moveTo>
                  <a:lnTo>
                    <a:pt x="946" y="8535"/>
                  </a:lnTo>
                  <a:lnTo>
                    <a:pt x="946" y="8535"/>
                  </a:lnTo>
                  <a:lnTo>
                    <a:pt x="946" y="8535"/>
                  </a:lnTo>
                  <a:lnTo>
                    <a:pt x="946" y="6134"/>
                  </a:lnTo>
                  <a:cubicBezTo>
                    <a:pt x="1169" y="6319"/>
                    <a:pt x="1571" y="6401"/>
                    <a:pt x="1755" y="6401"/>
                  </a:cubicBezTo>
                  <a:cubicBezTo>
                    <a:pt x="2131" y="6401"/>
                    <a:pt x="2708" y="5961"/>
                    <a:pt x="2961" y="5449"/>
                  </a:cubicBezTo>
                  <a:cubicBezTo>
                    <a:pt x="3243" y="5947"/>
                    <a:pt x="3679" y="6401"/>
                    <a:pt x="4183" y="6401"/>
                  </a:cubicBezTo>
                  <a:cubicBezTo>
                    <a:pt x="4716" y="6401"/>
                    <a:pt x="5396" y="5979"/>
                    <a:pt x="5592" y="5521"/>
                  </a:cubicBezTo>
                  <a:cubicBezTo>
                    <a:pt x="5788" y="5968"/>
                    <a:pt x="6358" y="6401"/>
                    <a:pt x="6880" y="6401"/>
                  </a:cubicBezTo>
                  <a:cubicBezTo>
                    <a:pt x="7398" y="6401"/>
                    <a:pt x="7939" y="5916"/>
                    <a:pt x="8210" y="5396"/>
                  </a:cubicBezTo>
                  <a:cubicBezTo>
                    <a:pt x="8528" y="5921"/>
                    <a:pt x="8915" y="6401"/>
                    <a:pt x="9578" y="6401"/>
                  </a:cubicBezTo>
                  <a:cubicBezTo>
                    <a:pt x="9680" y="6401"/>
                    <a:pt x="10057" y="6313"/>
                    <a:pt x="10146" y="6296"/>
                  </a:cubicBezTo>
                  <a:lnTo>
                    <a:pt x="10143" y="8535"/>
                  </a:lnTo>
                  <a:close/>
                  <a:moveTo>
                    <a:pt x="9378" y="5555"/>
                  </a:moveTo>
                  <a:cubicBezTo>
                    <a:pt x="8816" y="5555"/>
                    <a:pt x="8160" y="5118"/>
                    <a:pt x="8160" y="4759"/>
                  </a:cubicBezTo>
                  <a:lnTo>
                    <a:pt x="7890" y="4759"/>
                  </a:lnTo>
                  <a:cubicBezTo>
                    <a:pt x="7890" y="5112"/>
                    <a:pt x="7352" y="5555"/>
                    <a:pt x="6812" y="5555"/>
                  </a:cubicBezTo>
                  <a:cubicBezTo>
                    <a:pt x="6295" y="5555"/>
                    <a:pt x="5733" y="5101"/>
                    <a:pt x="5733" y="4759"/>
                  </a:cubicBezTo>
                  <a:lnTo>
                    <a:pt x="5463" y="4759"/>
                  </a:lnTo>
                  <a:cubicBezTo>
                    <a:pt x="5463" y="5112"/>
                    <a:pt x="4742" y="5555"/>
                    <a:pt x="4225" y="5555"/>
                  </a:cubicBezTo>
                  <a:cubicBezTo>
                    <a:pt x="3685" y="5555"/>
                    <a:pt x="3035" y="5210"/>
                    <a:pt x="3035" y="4759"/>
                  </a:cubicBezTo>
                  <a:lnTo>
                    <a:pt x="2766" y="4759"/>
                  </a:lnTo>
                  <a:cubicBezTo>
                    <a:pt x="2766" y="5111"/>
                    <a:pt x="2198" y="5566"/>
                    <a:pt x="1679" y="5566"/>
                  </a:cubicBezTo>
                  <a:cubicBezTo>
                    <a:pt x="1153" y="5566"/>
                    <a:pt x="608" y="5242"/>
                    <a:pt x="608" y="4759"/>
                  </a:cubicBezTo>
                  <a:lnTo>
                    <a:pt x="608" y="3984"/>
                  </a:lnTo>
                  <a:lnTo>
                    <a:pt x="10588" y="3984"/>
                  </a:lnTo>
                  <a:lnTo>
                    <a:pt x="10588" y="4759"/>
                  </a:lnTo>
                  <a:lnTo>
                    <a:pt x="10588" y="4759"/>
                  </a:lnTo>
                  <a:cubicBezTo>
                    <a:pt x="10583" y="5242"/>
                    <a:pt x="9866" y="5555"/>
                    <a:pt x="9378" y="55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43" name="iconfont-11894-5689857"/>
            <p:cNvSpPr>
              <a:spLocks noChangeAspect="1"/>
            </p:cNvSpPr>
            <p:nvPr userDrawn="1"/>
          </p:nvSpPr>
          <p:spPr bwMode="auto">
            <a:xfrm>
              <a:off x="26969630" y="189426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4" name="iconfont-11894-5689857"/>
            <p:cNvSpPr>
              <a:spLocks noChangeAspect="1"/>
            </p:cNvSpPr>
            <p:nvPr userDrawn="1"/>
          </p:nvSpPr>
          <p:spPr bwMode="auto">
            <a:xfrm>
              <a:off x="28188999" y="18332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46" name="iconfont-11894-5689857"/>
            <p:cNvSpPr>
              <a:spLocks noChangeAspect="1"/>
            </p:cNvSpPr>
            <p:nvPr userDrawn="1"/>
          </p:nvSpPr>
          <p:spPr bwMode="auto">
            <a:xfrm>
              <a:off x="13556559" y="1653740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47" name="iconfont-11894-5689857"/>
            <p:cNvSpPr>
              <a:spLocks noChangeAspect="1"/>
            </p:cNvSpPr>
            <p:nvPr userDrawn="1"/>
          </p:nvSpPr>
          <p:spPr bwMode="auto">
            <a:xfrm>
              <a:off x="14775929" y="1689409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48" name="iconfont-11894-5689857"/>
            <p:cNvSpPr>
              <a:spLocks noChangeAspect="1"/>
            </p:cNvSpPr>
            <p:nvPr userDrawn="1"/>
          </p:nvSpPr>
          <p:spPr bwMode="auto">
            <a:xfrm>
              <a:off x="15995299" y="1676411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" name="iconfont-11894-5689857"/>
            <p:cNvSpPr>
              <a:spLocks noChangeAspect="1"/>
            </p:cNvSpPr>
            <p:nvPr userDrawn="1"/>
          </p:nvSpPr>
          <p:spPr bwMode="auto">
            <a:xfrm>
              <a:off x="17214969" y="1653740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4" name="iconfont-11894-5689857"/>
            <p:cNvSpPr>
              <a:spLocks noChangeAspect="1"/>
            </p:cNvSpPr>
            <p:nvPr userDrawn="1"/>
          </p:nvSpPr>
          <p:spPr bwMode="auto">
            <a:xfrm>
              <a:off x="18434041" y="1653740"/>
              <a:ext cx="609685" cy="609685"/>
            </a:xfrm>
            <a:custGeom>
              <a:avLst/>
              <a:gdLst>
                <a:gd name="T0" fmla="*/ 8800 w 12800"/>
                <a:gd name="T1" fmla="*/ 12800 h 12800"/>
                <a:gd name="T2" fmla="*/ 1920 w 12800"/>
                <a:gd name="T3" fmla="*/ 12800 h 12800"/>
                <a:gd name="T4" fmla="*/ 0 w 12800"/>
                <a:gd name="T5" fmla="*/ 10880 h 12800"/>
                <a:gd name="T6" fmla="*/ 0 w 12800"/>
                <a:gd name="T7" fmla="*/ 1920 h 12800"/>
                <a:gd name="T8" fmla="*/ 1920 w 12800"/>
                <a:gd name="T9" fmla="*/ 0 h 12800"/>
                <a:gd name="T10" fmla="*/ 10880 w 12800"/>
                <a:gd name="T11" fmla="*/ 0 h 12800"/>
                <a:gd name="T12" fmla="*/ 12800 w 12800"/>
                <a:gd name="T13" fmla="*/ 1920 h 12800"/>
                <a:gd name="T14" fmla="*/ 12800 w 12800"/>
                <a:gd name="T15" fmla="*/ 8800 h 12800"/>
                <a:gd name="T16" fmla="*/ 12000 w 12800"/>
                <a:gd name="T17" fmla="*/ 8800 h 12800"/>
                <a:gd name="T18" fmla="*/ 12000 w 12800"/>
                <a:gd name="T19" fmla="*/ 1920 h 12800"/>
                <a:gd name="T20" fmla="*/ 10880 w 12800"/>
                <a:gd name="T21" fmla="*/ 800 h 12800"/>
                <a:gd name="T22" fmla="*/ 1920 w 12800"/>
                <a:gd name="T23" fmla="*/ 800 h 12800"/>
                <a:gd name="T24" fmla="*/ 800 w 12800"/>
                <a:gd name="T25" fmla="*/ 1920 h 12800"/>
                <a:gd name="T26" fmla="*/ 800 w 12800"/>
                <a:gd name="T27" fmla="*/ 10960 h 12800"/>
                <a:gd name="T28" fmla="*/ 1920 w 12800"/>
                <a:gd name="T29" fmla="*/ 12000 h 12800"/>
                <a:gd name="T30" fmla="*/ 8800 w 12800"/>
                <a:gd name="T31" fmla="*/ 12000 h 12800"/>
                <a:gd name="T32" fmla="*/ 8800 w 12800"/>
                <a:gd name="T33" fmla="*/ 12800 h 12800"/>
                <a:gd name="T34" fmla="*/ 12162 w 12800"/>
                <a:gd name="T35" fmla="*/ 12675 h 12800"/>
                <a:gd name="T36" fmla="*/ 9164 w 12800"/>
                <a:gd name="T37" fmla="*/ 9677 h 12800"/>
                <a:gd name="T38" fmla="*/ 9673 w 12800"/>
                <a:gd name="T39" fmla="*/ 9167 h 12800"/>
                <a:gd name="T40" fmla="*/ 12671 w 12800"/>
                <a:gd name="T41" fmla="*/ 12166 h 12800"/>
                <a:gd name="T42" fmla="*/ 12162 w 12800"/>
                <a:gd name="T43" fmla="*/ 12675 h 12800"/>
                <a:gd name="T44" fmla="*/ 8560 w 12800"/>
                <a:gd name="T45" fmla="*/ 10560 h 12800"/>
                <a:gd name="T46" fmla="*/ 6560 w 12800"/>
                <a:gd name="T47" fmla="*/ 8560 h 12800"/>
                <a:gd name="T48" fmla="*/ 8560 w 12800"/>
                <a:gd name="T49" fmla="*/ 6560 h 12800"/>
                <a:gd name="T50" fmla="*/ 10560 w 12800"/>
                <a:gd name="T51" fmla="*/ 8560 h 12800"/>
                <a:gd name="T52" fmla="*/ 8560 w 12800"/>
                <a:gd name="T53" fmla="*/ 10560 h 12800"/>
                <a:gd name="T54" fmla="*/ 8560 w 12800"/>
                <a:gd name="T55" fmla="*/ 7360 h 12800"/>
                <a:gd name="T56" fmla="*/ 7360 w 12800"/>
                <a:gd name="T57" fmla="*/ 8560 h 12800"/>
                <a:gd name="T58" fmla="*/ 8560 w 12800"/>
                <a:gd name="T59" fmla="*/ 9760 h 12800"/>
                <a:gd name="T60" fmla="*/ 9760 w 12800"/>
                <a:gd name="T61" fmla="*/ 8560 h 12800"/>
                <a:gd name="T62" fmla="*/ 8560 w 12800"/>
                <a:gd name="T63" fmla="*/ 7360 h 12800"/>
                <a:gd name="T64" fmla="*/ 2400 w 12800"/>
                <a:gd name="T65" fmla="*/ 2400 h 12800"/>
                <a:gd name="T66" fmla="*/ 5600 w 12800"/>
                <a:gd name="T67" fmla="*/ 2400 h 12800"/>
                <a:gd name="T68" fmla="*/ 5600 w 12800"/>
                <a:gd name="T69" fmla="*/ 5600 h 12800"/>
                <a:gd name="T70" fmla="*/ 2400 w 12800"/>
                <a:gd name="T71" fmla="*/ 5600 h 12800"/>
                <a:gd name="T72" fmla="*/ 2400 w 12800"/>
                <a:gd name="T73" fmla="*/ 2400 h 12800"/>
                <a:gd name="T74" fmla="*/ 7200 w 12800"/>
                <a:gd name="T75" fmla="*/ 2400 h 12800"/>
                <a:gd name="T76" fmla="*/ 10400 w 12800"/>
                <a:gd name="T77" fmla="*/ 2400 h 12800"/>
                <a:gd name="T78" fmla="*/ 10400 w 12800"/>
                <a:gd name="T79" fmla="*/ 5600 h 12800"/>
                <a:gd name="T80" fmla="*/ 7200 w 12800"/>
                <a:gd name="T81" fmla="*/ 5600 h 12800"/>
                <a:gd name="T82" fmla="*/ 7200 w 12800"/>
                <a:gd name="T83" fmla="*/ 2400 h 12800"/>
                <a:gd name="T84" fmla="*/ 2400 w 12800"/>
                <a:gd name="T85" fmla="*/ 6400 h 12800"/>
                <a:gd name="T86" fmla="*/ 5600 w 12800"/>
                <a:gd name="T87" fmla="*/ 6400 h 12800"/>
                <a:gd name="T88" fmla="*/ 5600 w 12800"/>
                <a:gd name="T89" fmla="*/ 9600 h 12800"/>
                <a:gd name="T90" fmla="*/ 2400 w 12800"/>
                <a:gd name="T91" fmla="*/ 9600 h 12800"/>
                <a:gd name="T92" fmla="*/ 2400 w 12800"/>
                <a:gd name="T93" fmla="*/ 64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00" h="12800">
                  <a:moveTo>
                    <a:pt x="8800" y="12800"/>
                  </a:moveTo>
                  <a:lnTo>
                    <a:pt x="1920" y="12800"/>
                  </a:lnTo>
                  <a:cubicBezTo>
                    <a:pt x="880" y="12800"/>
                    <a:pt x="0" y="11920"/>
                    <a:pt x="0" y="10880"/>
                  </a:cubicBezTo>
                  <a:lnTo>
                    <a:pt x="0" y="1920"/>
                  </a:lnTo>
                  <a:cubicBezTo>
                    <a:pt x="0" y="880"/>
                    <a:pt x="880" y="0"/>
                    <a:pt x="1920" y="0"/>
                  </a:cubicBezTo>
                  <a:lnTo>
                    <a:pt x="10880" y="0"/>
                  </a:lnTo>
                  <a:cubicBezTo>
                    <a:pt x="11920" y="0"/>
                    <a:pt x="12800" y="880"/>
                    <a:pt x="12800" y="1920"/>
                  </a:cubicBezTo>
                  <a:lnTo>
                    <a:pt x="12800" y="8800"/>
                  </a:lnTo>
                  <a:lnTo>
                    <a:pt x="12000" y="8800"/>
                  </a:lnTo>
                  <a:lnTo>
                    <a:pt x="12000" y="1920"/>
                  </a:lnTo>
                  <a:cubicBezTo>
                    <a:pt x="12000" y="1280"/>
                    <a:pt x="11520" y="800"/>
                    <a:pt x="10880" y="800"/>
                  </a:cubicBezTo>
                  <a:lnTo>
                    <a:pt x="1920" y="800"/>
                  </a:lnTo>
                  <a:cubicBezTo>
                    <a:pt x="1280" y="800"/>
                    <a:pt x="800" y="1280"/>
                    <a:pt x="800" y="1920"/>
                  </a:cubicBezTo>
                  <a:lnTo>
                    <a:pt x="800" y="10960"/>
                  </a:lnTo>
                  <a:cubicBezTo>
                    <a:pt x="800" y="11600"/>
                    <a:pt x="1280" y="12000"/>
                    <a:pt x="1920" y="12000"/>
                  </a:cubicBezTo>
                  <a:lnTo>
                    <a:pt x="8800" y="12000"/>
                  </a:lnTo>
                  <a:lnTo>
                    <a:pt x="8800" y="12800"/>
                  </a:lnTo>
                  <a:close/>
                  <a:moveTo>
                    <a:pt x="12162" y="12675"/>
                  </a:moveTo>
                  <a:lnTo>
                    <a:pt x="9164" y="9677"/>
                  </a:lnTo>
                  <a:lnTo>
                    <a:pt x="9673" y="9167"/>
                  </a:lnTo>
                  <a:lnTo>
                    <a:pt x="12671" y="12166"/>
                  </a:lnTo>
                  <a:lnTo>
                    <a:pt x="12162" y="12675"/>
                  </a:lnTo>
                  <a:close/>
                  <a:moveTo>
                    <a:pt x="8560" y="10560"/>
                  </a:moveTo>
                  <a:cubicBezTo>
                    <a:pt x="7440" y="10560"/>
                    <a:pt x="6560" y="9680"/>
                    <a:pt x="6560" y="8560"/>
                  </a:cubicBezTo>
                  <a:cubicBezTo>
                    <a:pt x="6560" y="7440"/>
                    <a:pt x="7440" y="6560"/>
                    <a:pt x="8560" y="6560"/>
                  </a:cubicBezTo>
                  <a:cubicBezTo>
                    <a:pt x="9680" y="6560"/>
                    <a:pt x="10560" y="7440"/>
                    <a:pt x="10560" y="8560"/>
                  </a:cubicBezTo>
                  <a:cubicBezTo>
                    <a:pt x="10560" y="9680"/>
                    <a:pt x="9680" y="10560"/>
                    <a:pt x="8560" y="10560"/>
                  </a:cubicBezTo>
                  <a:close/>
                  <a:moveTo>
                    <a:pt x="8560" y="7360"/>
                  </a:moveTo>
                  <a:cubicBezTo>
                    <a:pt x="7920" y="7360"/>
                    <a:pt x="7360" y="7920"/>
                    <a:pt x="7360" y="8560"/>
                  </a:cubicBezTo>
                  <a:cubicBezTo>
                    <a:pt x="7360" y="9200"/>
                    <a:pt x="7920" y="9760"/>
                    <a:pt x="8560" y="9760"/>
                  </a:cubicBezTo>
                  <a:cubicBezTo>
                    <a:pt x="9200" y="9760"/>
                    <a:pt x="9760" y="9200"/>
                    <a:pt x="9760" y="8560"/>
                  </a:cubicBezTo>
                  <a:cubicBezTo>
                    <a:pt x="9760" y="7920"/>
                    <a:pt x="9280" y="7360"/>
                    <a:pt x="8560" y="7360"/>
                  </a:cubicBezTo>
                  <a:close/>
                  <a:moveTo>
                    <a:pt x="2400" y="2400"/>
                  </a:moveTo>
                  <a:lnTo>
                    <a:pt x="5600" y="2400"/>
                  </a:lnTo>
                  <a:lnTo>
                    <a:pt x="5600" y="5600"/>
                  </a:lnTo>
                  <a:lnTo>
                    <a:pt x="2400" y="5600"/>
                  </a:lnTo>
                  <a:lnTo>
                    <a:pt x="2400" y="2400"/>
                  </a:lnTo>
                  <a:close/>
                  <a:moveTo>
                    <a:pt x="7200" y="2400"/>
                  </a:moveTo>
                  <a:lnTo>
                    <a:pt x="10400" y="2400"/>
                  </a:lnTo>
                  <a:lnTo>
                    <a:pt x="10400" y="5600"/>
                  </a:lnTo>
                  <a:lnTo>
                    <a:pt x="7200" y="5600"/>
                  </a:lnTo>
                  <a:lnTo>
                    <a:pt x="7200" y="2400"/>
                  </a:lnTo>
                  <a:close/>
                  <a:moveTo>
                    <a:pt x="2400" y="6400"/>
                  </a:moveTo>
                  <a:lnTo>
                    <a:pt x="5600" y="6400"/>
                  </a:lnTo>
                  <a:lnTo>
                    <a:pt x="5600" y="9600"/>
                  </a:lnTo>
                  <a:lnTo>
                    <a:pt x="2400" y="9600"/>
                  </a:lnTo>
                  <a:lnTo>
                    <a:pt x="2400" y="6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6" name="iconfont-11894-5689857"/>
            <p:cNvSpPr>
              <a:spLocks noChangeAspect="1"/>
            </p:cNvSpPr>
            <p:nvPr userDrawn="1"/>
          </p:nvSpPr>
          <p:spPr bwMode="auto">
            <a:xfrm>
              <a:off x="26969631" y="1653740"/>
              <a:ext cx="609685" cy="609685"/>
            </a:xfrm>
            <a:custGeom>
              <a:avLst/>
              <a:gdLst>
                <a:gd name="T0" fmla="*/ 12160 w 12960"/>
                <a:gd name="T1" fmla="*/ 0 h 12960"/>
                <a:gd name="T2" fmla="*/ 6800 w 12960"/>
                <a:gd name="T3" fmla="*/ 0 h 12960"/>
                <a:gd name="T4" fmla="*/ 5920 w 12960"/>
                <a:gd name="T5" fmla="*/ 640 h 12960"/>
                <a:gd name="T6" fmla="*/ 640 w 12960"/>
                <a:gd name="T7" fmla="*/ 5920 h 12960"/>
                <a:gd name="T8" fmla="*/ 640 w 12960"/>
                <a:gd name="T9" fmla="*/ 8240 h 12960"/>
                <a:gd name="T10" fmla="*/ 4720 w 12960"/>
                <a:gd name="T11" fmla="*/ 12320 h 12960"/>
                <a:gd name="T12" fmla="*/ 7040 w 12960"/>
                <a:gd name="T13" fmla="*/ 12320 h 12960"/>
                <a:gd name="T14" fmla="*/ 12320 w 12960"/>
                <a:gd name="T15" fmla="*/ 7040 h 12960"/>
                <a:gd name="T16" fmla="*/ 12960 w 12960"/>
                <a:gd name="T17" fmla="*/ 6080 h 12960"/>
                <a:gd name="T18" fmla="*/ 12960 w 12960"/>
                <a:gd name="T19" fmla="*/ 800 h 12960"/>
                <a:gd name="T20" fmla="*/ 12160 w 12960"/>
                <a:gd name="T21" fmla="*/ 0 h 12960"/>
                <a:gd name="T22" fmla="*/ 7120 w 12960"/>
                <a:gd name="T23" fmla="*/ 11120 h 12960"/>
                <a:gd name="T24" fmla="*/ 6560 w 12960"/>
                <a:gd name="T25" fmla="*/ 11680 h 12960"/>
                <a:gd name="T26" fmla="*/ 6560 w 12960"/>
                <a:gd name="T27" fmla="*/ 11680 h 12960"/>
                <a:gd name="T28" fmla="*/ 5360 w 12960"/>
                <a:gd name="T29" fmla="*/ 11680 h 12960"/>
                <a:gd name="T30" fmla="*/ 1280 w 12960"/>
                <a:gd name="T31" fmla="*/ 7600 h 12960"/>
                <a:gd name="T32" fmla="*/ 1280 w 12960"/>
                <a:gd name="T33" fmla="*/ 6400 h 12960"/>
                <a:gd name="T34" fmla="*/ 1840 w 12960"/>
                <a:gd name="T35" fmla="*/ 5840 h 12960"/>
                <a:gd name="T36" fmla="*/ 2400 w 12960"/>
                <a:gd name="T37" fmla="*/ 5280 h 12960"/>
                <a:gd name="T38" fmla="*/ 6480 w 12960"/>
                <a:gd name="T39" fmla="*/ 1200 h 12960"/>
                <a:gd name="T40" fmla="*/ 7200 w 12960"/>
                <a:gd name="T41" fmla="*/ 800 h 12960"/>
                <a:gd name="T42" fmla="*/ 11760 w 12960"/>
                <a:gd name="T43" fmla="*/ 800 h 12960"/>
                <a:gd name="T44" fmla="*/ 12160 w 12960"/>
                <a:gd name="T45" fmla="*/ 1120 h 12960"/>
                <a:gd name="T46" fmla="*/ 12160 w 12960"/>
                <a:gd name="T47" fmla="*/ 5680 h 12960"/>
                <a:gd name="T48" fmla="*/ 12160 w 12960"/>
                <a:gd name="T49" fmla="*/ 5680 h 12960"/>
                <a:gd name="T50" fmla="*/ 11760 w 12960"/>
                <a:gd name="T51" fmla="*/ 6400 h 12960"/>
                <a:gd name="T52" fmla="*/ 7680 w 12960"/>
                <a:gd name="T53" fmla="*/ 10480 h 12960"/>
                <a:gd name="T54" fmla="*/ 7120 w 12960"/>
                <a:gd name="T55" fmla="*/ 11120 h 12960"/>
                <a:gd name="T56" fmla="*/ 8000 w 12960"/>
                <a:gd name="T57" fmla="*/ 2640 h 12960"/>
                <a:gd name="T58" fmla="*/ 8000 w 12960"/>
                <a:gd name="T59" fmla="*/ 4960 h 12960"/>
                <a:gd name="T60" fmla="*/ 10320 w 12960"/>
                <a:gd name="T61" fmla="*/ 4960 h 12960"/>
                <a:gd name="T62" fmla="*/ 10320 w 12960"/>
                <a:gd name="T63" fmla="*/ 2640 h 12960"/>
                <a:gd name="T64" fmla="*/ 8000 w 12960"/>
                <a:gd name="T65" fmla="*/ 2640 h 12960"/>
                <a:gd name="T66" fmla="*/ 9760 w 12960"/>
                <a:gd name="T67" fmla="*/ 4400 h 12960"/>
                <a:gd name="T68" fmla="*/ 8560 w 12960"/>
                <a:gd name="T69" fmla="*/ 4400 h 12960"/>
                <a:gd name="T70" fmla="*/ 8560 w 12960"/>
                <a:gd name="T71" fmla="*/ 3200 h 12960"/>
                <a:gd name="T72" fmla="*/ 9760 w 12960"/>
                <a:gd name="T73" fmla="*/ 3200 h 12960"/>
                <a:gd name="T74" fmla="*/ 9760 w 12960"/>
                <a:gd name="T75" fmla="*/ 4400 h 12960"/>
                <a:gd name="T76" fmla="*/ 8357 w 12960"/>
                <a:gd name="T77" fmla="*/ 8327 h 12960"/>
                <a:gd name="T78" fmla="*/ 4680 w 12960"/>
                <a:gd name="T79" fmla="*/ 4651 h 12960"/>
                <a:gd name="T80" fmla="*/ 5472 w 12960"/>
                <a:gd name="T81" fmla="*/ 3859 h 12960"/>
                <a:gd name="T82" fmla="*/ 9149 w 12960"/>
                <a:gd name="T83" fmla="*/ 7536 h 12960"/>
                <a:gd name="T84" fmla="*/ 8357 w 12960"/>
                <a:gd name="T85" fmla="*/ 8327 h 12960"/>
                <a:gd name="T86" fmla="*/ 6739 w 12960"/>
                <a:gd name="T87" fmla="*/ 9999 h 12960"/>
                <a:gd name="T88" fmla="*/ 3062 w 12960"/>
                <a:gd name="T89" fmla="*/ 6322 h 12960"/>
                <a:gd name="T90" fmla="*/ 3854 w 12960"/>
                <a:gd name="T91" fmla="*/ 5530 h 12960"/>
                <a:gd name="T92" fmla="*/ 7531 w 12960"/>
                <a:gd name="T93" fmla="*/ 9207 h 12960"/>
                <a:gd name="T94" fmla="*/ 6739 w 12960"/>
                <a:gd name="T95" fmla="*/ 9999 h 12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960" h="12960">
                  <a:moveTo>
                    <a:pt x="12160" y="0"/>
                  </a:moveTo>
                  <a:lnTo>
                    <a:pt x="6800" y="0"/>
                  </a:lnTo>
                  <a:cubicBezTo>
                    <a:pt x="6400" y="0"/>
                    <a:pt x="6320" y="160"/>
                    <a:pt x="5920" y="640"/>
                  </a:cubicBezTo>
                  <a:lnTo>
                    <a:pt x="640" y="5920"/>
                  </a:lnTo>
                  <a:cubicBezTo>
                    <a:pt x="0" y="6560"/>
                    <a:pt x="0" y="7600"/>
                    <a:pt x="640" y="8240"/>
                  </a:cubicBezTo>
                  <a:lnTo>
                    <a:pt x="4720" y="12320"/>
                  </a:lnTo>
                  <a:cubicBezTo>
                    <a:pt x="5360" y="12960"/>
                    <a:pt x="6400" y="12960"/>
                    <a:pt x="7040" y="12320"/>
                  </a:cubicBezTo>
                  <a:lnTo>
                    <a:pt x="12320" y="7040"/>
                  </a:lnTo>
                  <a:cubicBezTo>
                    <a:pt x="12720" y="6720"/>
                    <a:pt x="12960" y="6560"/>
                    <a:pt x="12960" y="6080"/>
                  </a:cubicBezTo>
                  <a:lnTo>
                    <a:pt x="12960" y="800"/>
                  </a:lnTo>
                  <a:cubicBezTo>
                    <a:pt x="12960" y="320"/>
                    <a:pt x="12640" y="0"/>
                    <a:pt x="12160" y="0"/>
                  </a:cubicBezTo>
                  <a:close/>
                  <a:moveTo>
                    <a:pt x="7120" y="11120"/>
                  </a:moveTo>
                  <a:lnTo>
                    <a:pt x="6560" y="11680"/>
                  </a:lnTo>
                  <a:lnTo>
                    <a:pt x="6560" y="11680"/>
                  </a:lnTo>
                  <a:cubicBezTo>
                    <a:pt x="6240" y="12000"/>
                    <a:pt x="5680" y="12000"/>
                    <a:pt x="5360" y="11680"/>
                  </a:cubicBezTo>
                  <a:lnTo>
                    <a:pt x="1280" y="7600"/>
                  </a:lnTo>
                  <a:cubicBezTo>
                    <a:pt x="960" y="7280"/>
                    <a:pt x="960" y="6720"/>
                    <a:pt x="1280" y="6400"/>
                  </a:cubicBezTo>
                  <a:lnTo>
                    <a:pt x="1840" y="5840"/>
                  </a:lnTo>
                  <a:lnTo>
                    <a:pt x="2400" y="5280"/>
                  </a:lnTo>
                  <a:lnTo>
                    <a:pt x="6480" y="1200"/>
                  </a:lnTo>
                  <a:cubicBezTo>
                    <a:pt x="6720" y="1040"/>
                    <a:pt x="7040" y="800"/>
                    <a:pt x="7200" y="800"/>
                  </a:cubicBezTo>
                  <a:lnTo>
                    <a:pt x="11760" y="800"/>
                  </a:lnTo>
                  <a:cubicBezTo>
                    <a:pt x="12000" y="800"/>
                    <a:pt x="12160" y="960"/>
                    <a:pt x="12160" y="1120"/>
                  </a:cubicBezTo>
                  <a:lnTo>
                    <a:pt x="12160" y="5680"/>
                  </a:lnTo>
                  <a:lnTo>
                    <a:pt x="12160" y="5680"/>
                  </a:lnTo>
                  <a:cubicBezTo>
                    <a:pt x="12160" y="5920"/>
                    <a:pt x="12000" y="6240"/>
                    <a:pt x="11760" y="6400"/>
                  </a:cubicBezTo>
                  <a:lnTo>
                    <a:pt x="7680" y="10480"/>
                  </a:lnTo>
                  <a:lnTo>
                    <a:pt x="7120" y="11120"/>
                  </a:lnTo>
                  <a:close/>
                  <a:moveTo>
                    <a:pt x="8000" y="2640"/>
                  </a:moveTo>
                  <a:cubicBezTo>
                    <a:pt x="7360" y="3280"/>
                    <a:pt x="7360" y="4320"/>
                    <a:pt x="8000" y="4960"/>
                  </a:cubicBezTo>
                  <a:cubicBezTo>
                    <a:pt x="8640" y="5600"/>
                    <a:pt x="9680" y="5600"/>
                    <a:pt x="10320" y="4960"/>
                  </a:cubicBezTo>
                  <a:cubicBezTo>
                    <a:pt x="10960" y="4320"/>
                    <a:pt x="10960" y="3280"/>
                    <a:pt x="10320" y="2640"/>
                  </a:cubicBezTo>
                  <a:cubicBezTo>
                    <a:pt x="9680" y="2000"/>
                    <a:pt x="8640" y="2000"/>
                    <a:pt x="8000" y="2640"/>
                  </a:cubicBezTo>
                  <a:close/>
                  <a:moveTo>
                    <a:pt x="9760" y="4400"/>
                  </a:moveTo>
                  <a:cubicBezTo>
                    <a:pt x="9440" y="4720"/>
                    <a:pt x="8880" y="4720"/>
                    <a:pt x="8560" y="4400"/>
                  </a:cubicBezTo>
                  <a:cubicBezTo>
                    <a:pt x="8240" y="4080"/>
                    <a:pt x="8240" y="3520"/>
                    <a:pt x="8560" y="3200"/>
                  </a:cubicBezTo>
                  <a:cubicBezTo>
                    <a:pt x="8880" y="2880"/>
                    <a:pt x="9440" y="2880"/>
                    <a:pt x="9760" y="3200"/>
                  </a:cubicBezTo>
                  <a:cubicBezTo>
                    <a:pt x="10080" y="3600"/>
                    <a:pt x="10080" y="4080"/>
                    <a:pt x="9760" y="4400"/>
                  </a:cubicBezTo>
                  <a:close/>
                  <a:moveTo>
                    <a:pt x="8357" y="8327"/>
                  </a:moveTo>
                  <a:lnTo>
                    <a:pt x="4680" y="4651"/>
                  </a:lnTo>
                  <a:lnTo>
                    <a:pt x="5472" y="3859"/>
                  </a:lnTo>
                  <a:lnTo>
                    <a:pt x="9149" y="7536"/>
                  </a:lnTo>
                  <a:lnTo>
                    <a:pt x="8357" y="8327"/>
                  </a:lnTo>
                  <a:close/>
                  <a:moveTo>
                    <a:pt x="6739" y="9999"/>
                  </a:moveTo>
                  <a:lnTo>
                    <a:pt x="3062" y="6322"/>
                  </a:lnTo>
                  <a:lnTo>
                    <a:pt x="3854" y="5530"/>
                  </a:lnTo>
                  <a:lnTo>
                    <a:pt x="7531" y="9207"/>
                  </a:lnTo>
                  <a:lnTo>
                    <a:pt x="6739" y="999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5" name="iconfont-11894-5689857"/>
            <p:cNvSpPr>
              <a:spLocks noChangeAspect="1"/>
            </p:cNvSpPr>
            <p:nvPr userDrawn="1"/>
          </p:nvSpPr>
          <p:spPr bwMode="auto">
            <a:xfrm>
              <a:off x="28188999" y="1653740"/>
              <a:ext cx="609685" cy="609685"/>
            </a:xfrm>
            <a:custGeom>
              <a:avLst/>
              <a:gdLst>
                <a:gd name="T0" fmla="*/ 10880 w 12800"/>
                <a:gd name="T1" fmla="*/ 720 h 12800"/>
                <a:gd name="T2" fmla="*/ 6400 w 12800"/>
                <a:gd name="T3" fmla="*/ 0 h 12800"/>
                <a:gd name="T4" fmla="*/ 1920 w 12800"/>
                <a:gd name="T5" fmla="*/ 720 h 12800"/>
                <a:gd name="T6" fmla="*/ 0 w 12800"/>
                <a:gd name="T7" fmla="*/ 2720 h 12800"/>
                <a:gd name="T8" fmla="*/ 0 w 12800"/>
                <a:gd name="T9" fmla="*/ 10160 h 12800"/>
                <a:gd name="T10" fmla="*/ 1920 w 12800"/>
                <a:gd name="T11" fmla="*/ 12080 h 12800"/>
                <a:gd name="T12" fmla="*/ 6400 w 12800"/>
                <a:gd name="T13" fmla="*/ 12800 h 12800"/>
                <a:gd name="T14" fmla="*/ 10880 w 12800"/>
                <a:gd name="T15" fmla="*/ 12080 h 12800"/>
                <a:gd name="T16" fmla="*/ 12800 w 12800"/>
                <a:gd name="T17" fmla="*/ 10160 h 12800"/>
                <a:gd name="T18" fmla="*/ 12800 w 12800"/>
                <a:gd name="T19" fmla="*/ 2720 h 12800"/>
                <a:gd name="T20" fmla="*/ 10880 w 12800"/>
                <a:gd name="T21" fmla="*/ 720 h 12800"/>
                <a:gd name="T22" fmla="*/ 10160 w 12800"/>
                <a:gd name="T23" fmla="*/ 4000 h 12800"/>
                <a:gd name="T24" fmla="*/ 6400 w 12800"/>
                <a:gd name="T25" fmla="*/ 4560 h 12800"/>
                <a:gd name="T26" fmla="*/ 2640 w 12800"/>
                <a:gd name="T27" fmla="*/ 4000 h 12800"/>
                <a:gd name="T28" fmla="*/ 880 w 12800"/>
                <a:gd name="T29" fmla="*/ 2720 h 12800"/>
                <a:gd name="T30" fmla="*/ 2640 w 12800"/>
                <a:gd name="T31" fmla="*/ 1360 h 12800"/>
                <a:gd name="T32" fmla="*/ 6400 w 12800"/>
                <a:gd name="T33" fmla="*/ 800 h 12800"/>
                <a:gd name="T34" fmla="*/ 10160 w 12800"/>
                <a:gd name="T35" fmla="*/ 1360 h 12800"/>
                <a:gd name="T36" fmla="*/ 11920 w 12800"/>
                <a:gd name="T37" fmla="*/ 2720 h 12800"/>
                <a:gd name="T38" fmla="*/ 10160 w 12800"/>
                <a:gd name="T39" fmla="*/ 4000 h 12800"/>
                <a:gd name="T40" fmla="*/ 10240 w 12800"/>
                <a:gd name="T41" fmla="*/ 6320 h 12800"/>
                <a:gd name="T42" fmla="*/ 6400 w 12800"/>
                <a:gd name="T43" fmla="*/ 6880 h 12800"/>
                <a:gd name="T44" fmla="*/ 2560 w 12800"/>
                <a:gd name="T45" fmla="*/ 6320 h 12800"/>
                <a:gd name="T46" fmla="*/ 800 w 12800"/>
                <a:gd name="T47" fmla="*/ 4960 h 12800"/>
                <a:gd name="T48" fmla="*/ 800 w 12800"/>
                <a:gd name="T49" fmla="*/ 4080 h 12800"/>
                <a:gd name="T50" fmla="*/ 3040 w 12800"/>
                <a:gd name="T51" fmla="*/ 4960 h 12800"/>
                <a:gd name="T52" fmla="*/ 6400 w 12800"/>
                <a:gd name="T53" fmla="*/ 5360 h 12800"/>
                <a:gd name="T54" fmla="*/ 9760 w 12800"/>
                <a:gd name="T55" fmla="*/ 4960 h 12800"/>
                <a:gd name="T56" fmla="*/ 12000 w 12800"/>
                <a:gd name="T57" fmla="*/ 4080 h 12800"/>
                <a:gd name="T58" fmla="*/ 12000 w 12800"/>
                <a:gd name="T59" fmla="*/ 5040 h 12800"/>
                <a:gd name="T60" fmla="*/ 10240 w 12800"/>
                <a:gd name="T61" fmla="*/ 6320 h 12800"/>
                <a:gd name="T62" fmla="*/ 10240 w 12800"/>
                <a:gd name="T63" fmla="*/ 8880 h 12800"/>
                <a:gd name="T64" fmla="*/ 6400 w 12800"/>
                <a:gd name="T65" fmla="*/ 9440 h 12800"/>
                <a:gd name="T66" fmla="*/ 2560 w 12800"/>
                <a:gd name="T67" fmla="*/ 8880 h 12800"/>
                <a:gd name="T68" fmla="*/ 800 w 12800"/>
                <a:gd name="T69" fmla="*/ 7520 h 12800"/>
                <a:gd name="T70" fmla="*/ 800 w 12800"/>
                <a:gd name="T71" fmla="*/ 6320 h 12800"/>
                <a:gd name="T72" fmla="*/ 3040 w 12800"/>
                <a:gd name="T73" fmla="*/ 7280 h 12800"/>
                <a:gd name="T74" fmla="*/ 6400 w 12800"/>
                <a:gd name="T75" fmla="*/ 7680 h 12800"/>
                <a:gd name="T76" fmla="*/ 9760 w 12800"/>
                <a:gd name="T77" fmla="*/ 7280 h 12800"/>
                <a:gd name="T78" fmla="*/ 12000 w 12800"/>
                <a:gd name="T79" fmla="*/ 6320 h 12800"/>
                <a:gd name="T80" fmla="*/ 12000 w 12800"/>
                <a:gd name="T81" fmla="*/ 7520 h 12800"/>
                <a:gd name="T82" fmla="*/ 10240 w 12800"/>
                <a:gd name="T83" fmla="*/ 8880 h 12800"/>
                <a:gd name="T84" fmla="*/ 6400 w 12800"/>
                <a:gd name="T85" fmla="*/ 12000 h 12800"/>
                <a:gd name="T86" fmla="*/ 2560 w 12800"/>
                <a:gd name="T87" fmla="*/ 11440 h 12800"/>
                <a:gd name="T88" fmla="*/ 800 w 12800"/>
                <a:gd name="T89" fmla="*/ 10080 h 12800"/>
                <a:gd name="T90" fmla="*/ 800 w 12800"/>
                <a:gd name="T91" fmla="*/ 8880 h 12800"/>
                <a:gd name="T92" fmla="*/ 3040 w 12800"/>
                <a:gd name="T93" fmla="*/ 9840 h 12800"/>
                <a:gd name="T94" fmla="*/ 6320 w 12800"/>
                <a:gd name="T95" fmla="*/ 10240 h 12800"/>
                <a:gd name="T96" fmla="*/ 9680 w 12800"/>
                <a:gd name="T97" fmla="*/ 9840 h 12800"/>
                <a:gd name="T98" fmla="*/ 12000 w 12800"/>
                <a:gd name="T99" fmla="*/ 8880 h 12800"/>
                <a:gd name="T100" fmla="*/ 12000 w 12800"/>
                <a:gd name="T101" fmla="*/ 10080 h 12800"/>
                <a:gd name="T102" fmla="*/ 10240 w 12800"/>
                <a:gd name="T103" fmla="*/ 11440 h 12800"/>
                <a:gd name="T104" fmla="*/ 6400 w 12800"/>
                <a:gd name="T105" fmla="*/ 12000 h 12800"/>
                <a:gd name="T106" fmla="*/ 6400 w 12800"/>
                <a:gd name="T107" fmla="*/ 120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800" h="12800">
                  <a:moveTo>
                    <a:pt x="10880" y="720"/>
                  </a:moveTo>
                  <a:cubicBezTo>
                    <a:pt x="9760" y="240"/>
                    <a:pt x="8160" y="0"/>
                    <a:pt x="6400" y="0"/>
                  </a:cubicBezTo>
                  <a:cubicBezTo>
                    <a:pt x="4640" y="0"/>
                    <a:pt x="3040" y="240"/>
                    <a:pt x="1920" y="720"/>
                  </a:cubicBezTo>
                  <a:cubicBezTo>
                    <a:pt x="640" y="1280"/>
                    <a:pt x="0" y="1920"/>
                    <a:pt x="0" y="2720"/>
                  </a:cubicBezTo>
                  <a:lnTo>
                    <a:pt x="0" y="10160"/>
                  </a:lnTo>
                  <a:cubicBezTo>
                    <a:pt x="0" y="10880"/>
                    <a:pt x="640" y="11600"/>
                    <a:pt x="1920" y="12080"/>
                  </a:cubicBezTo>
                  <a:cubicBezTo>
                    <a:pt x="3040" y="12560"/>
                    <a:pt x="4640" y="12800"/>
                    <a:pt x="6400" y="12800"/>
                  </a:cubicBezTo>
                  <a:cubicBezTo>
                    <a:pt x="8160" y="12800"/>
                    <a:pt x="9760" y="12560"/>
                    <a:pt x="10880" y="12080"/>
                  </a:cubicBezTo>
                  <a:cubicBezTo>
                    <a:pt x="12080" y="11600"/>
                    <a:pt x="12800" y="10880"/>
                    <a:pt x="12800" y="10160"/>
                  </a:cubicBezTo>
                  <a:lnTo>
                    <a:pt x="12800" y="2720"/>
                  </a:lnTo>
                  <a:cubicBezTo>
                    <a:pt x="12800" y="1920"/>
                    <a:pt x="12160" y="1280"/>
                    <a:pt x="10880" y="720"/>
                  </a:cubicBezTo>
                  <a:close/>
                  <a:moveTo>
                    <a:pt x="10160" y="4000"/>
                  </a:moveTo>
                  <a:cubicBezTo>
                    <a:pt x="9120" y="4400"/>
                    <a:pt x="7680" y="4560"/>
                    <a:pt x="6400" y="4560"/>
                  </a:cubicBezTo>
                  <a:cubicBezTo>
                    <a:pt x="5040" y="4560"/>
                    <a:pt x="3680" y="4400"/>
                    <a:pt x="2640" y="4000"/>
                  </a:cubicBezTo>
                  <a:cubicBezTo>
                    <a:pt x="1440" y="3680"/>
                    <a:pt x="880" y="3200"/>
                    <a:pt x="880" y="2720"/>
                  </a:cubicBezTo>
                  <a:cubicBezTo>
                    <a:pt x="880" y="2240"/>
                    <a:pt x="1520" y="1760"/>
                    <a:pt x="2640" y="1360"/>
                  </a:cubicBezTo>
                  <a:cubicBezTo>
                    <a:pt x="3680" y="960"/>
                    <a:pt x="5040" y="800"/>
                    <a:pt x="6400" y="800"/>
                  </a:cubicBezTo>
                  <a:cubicBezTo>
                    <a:pt x="7680" y="800"/>
                    <a:pt x="9120" y="1040"/>
                    <a:pt x="10160" y="1360"/>
                  </a:cubicBezTo>
                  <a:cubicBezTo>
                    <a:pt x="11280" y="1760"/>
                    <a:pt x="11920" y="2240"/>
                    <a:pt x="11920" y="2720"/>
                  </a:cubicBezTo>
                  <a:cubicBezTo>
                    <a:pt x="11920" y="3200"/>
                    <a:pt x="11360" y="3680"/>
                    <a:pt x="10160" y="4000"/>
                  </a:cubicBezTo>
                  <a:close/>
                  <a:moveTo>
                    <a:pt x="10240" y="6320"/>
                  </a:moveTo>
                  <a:cubicBezTo>
                    <a:pt x="9200" y="6640"/>
                    <a:pt x="7760" y="6880"/>
                    <a:pt x="6400" y="6880"/>
                  </a:cubicBezTo>
                  <a:cubicBezTo>
                    <a:pt x="5040" y="6880"/>
                    <a:pt x="3680" y="6640"/>
                    <a:pt x="2560" y="6320"/>
                  </a:cubicBezTo>
                  <a:cubicBezTo>
                    <a:pt x="1440" y="5920"/>
                    <a:pt x="800" y="5440"/>
                    <a:pt x="800" y="4960"/>
                  </a:cubicBezTo>
                  <a:lnTo>
                    <a:pt x="800" y="4080"/>
                  </a:lnTo>
                  <a:cubicBezTo>
                    <a:pt x="1600" y="4400"/>
                    <a:pt x="2160" y="4800"/>
                    <a:pt x="3040" y="4960"/>
                  </a:cubicBezTo>
                  <a:cubicBezTo>
                    <a:pt x="4080" y="5200"/>
                    <a:pt x="5200" y="5360"/>
                    <a:pt x="6400" y="5360"/>
                  </a:cubicBezTo>
                  <a:cubicBezTo>
                    <a:pt x="7600" y="5360"/>
                    <a:pt x="8720" y="5200"/>
                    <a:pt x="9760" y="4960"/>
                  </a:cubicBezTo>
                  <a:cubicBezTo>
                    <a:pt x="10640" y="4800"/>
                    <a:pt x="11200" y="4400"/>
                    <a:pt x="12000" y="4080"/>
                  </a:cubicBezTo>
                  <a:lnTo>
                    <a:pt x="12000" y="5040"/>
                  </a:lnTo>
                  <a:cubicBezTo>
                    <a:pt x="12000" y="5440"/>
                    <a:pt x="11360" y="5920"/>
                    <a:pt x="10240" y="6320"/>
                  </a:cubicBezTo>
                  <a:close/>
                  <a:moveTo>
                    <a:pt x="10240" y="8880"/>
                  </a:moveTo>
                  <a:cubicBezTo>
                    <a:pt x="9200" y="9200"/>
                    <a:pt x="7760" y="9440"/>
                    <a:pt x="6400" y="9440"/>
                  </a:cubicBezTo>
                  <a:cubicBezTo>
                    <a:pt x="5040" y="9440"/>
                    <a:pt x="3680" y="9200"/>
                    <a:pt x="2560" y="8880"/>
                  </a:cubicBezTo>
                  <a:cubicBezTo>
                    <a:pt x="1440" y="8560"/>
                    <a:pt x="800" y="8080"/>
                    <a:pt x="800" y="7520"/>
                  </a:cubicBezTo>
                  <a:lnTo>
                    <a:pt x="800" y="6320"/>
                  </a:lnTo>
                  <a:cubicBezTo>
                    <a:pt x="1600" y="6720"/>
                    <a:pt x="2160" y="7040"/>
                    <a:pt x="3040" y="7280"/>
                  </a:cubicBezTo>
                  <a:cubicBezTo>
                    <a:pt x="4080" y="7520"/>
                    <a:pt x="5200" y="7680"/>
                    <a:pt x="6400" y="7680"/>
                  </a:cubicBezTo>
                  <a:cubicBezTo>
                    <a:pt x="7600" y="7680"/>
                    <a:pt x="8720" y="7520"/>
                    <a:pt x="9760" y="7280"/>
                  </a:cubicBezTo>
                  <a:cubicBezTo>
                    <a:pt x="10640" y="7040"/>
                    <a:pt x="11200" y="6720"/>
                    <a:pt x="12000" y="6320"/>
                  </a:cubicBezTo>
                  <a:lnTo>
                    <a:pt x="12000" y="7520"/>
                  </a:lnTo>
                  <a:cubicBezTo>
                    <a:pt x="12000" y="8080"/>
                    <a:pt x="11360" y="8560"/>
                    <a:pt x="10240" y="8880"/>
                  </a:cubicBezTo>
                  <a:close/>
                  <a:moveTo>
                    <a:pt x="6400" y="12000"/>
                  </a:moveTo>
                  <a:cubicBezTo>
                    <a:pt x="5040" y="12000"/>
                    <a:pt x="3680" y="11760"/>
                    <a:pt x="2560" y="11440"/>
                  </a:cubicBezTo>
                  <a:cubicBezTo>
                    <a:pt x="1440" y="11120"/>
                    <a:pt x="800" y="10640"/>
                    <a:pt x="800" y="10080"/>
                  </a:cubicBezTo>
                  <a:lnTo>
                    <a:pt x="800" y="8880"/>
                  </a:lnTo>
                  <a:cubicBezTo>
                    <a:pt x="1600" y="9280"/>
                    <a:pt x="2160" y="9600"/>
                    <a:pt x="3040" y="9840"/>
                  </a:cubicBezTo>
                  <a:cubicBezTo>
                    <a:pt x="4000" y="10080"/>
                    <a:pt x="5200" y="10240"/>
                    <a:pt x="6320" y="10240"/>
                  </a:cubicBezTo>
                  <a:cubicBezTo>
                    <a:pt x="7520" y="10240"/>
                    <a:pt x="8640" y="10080"/>
                    <a:pt x="9680" y="9840"/>
                  </a:cubicBezTo>
                  <a:cubicBezTo>
                    <a:pt x="10640" y="9600"/>
                    <a:pt x="11200" y="9280"/>
                    <a:pt x="12000" y="8880"/>
                  </a:cubicBezTo>
                  <a:lnTo>
                    <a:pt x="12000" y="10080"/>
                  </a:lnTo>
                  <a:cubicBezTo>
                    <a:pt x="12000" y="10560"/>
                    <a:pt x="11360" y="11040"/>
                    <a:pt x="10240" y="11440"/>
                  </a:cubicBezTo>
                  <a:cubicBezTo>
                    <a:pt x="9200" y="11840"/>
                    <a:pt x="7680" y="12000"/>
                    <a:pt x="6400" y="12000"/>
                  </a:cubicBezTo>
                  <a:close/>
                  <a:moveTo>
                    <a:pt x="6400" y="12000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0" name="iconfont-11894-5689857"/>
            <p:cNvSpPr>
              <a:spLocks noChangeAspect="1"/>
            </p:cNvSpPr>
            <p:nvPr userDrawn="1"/>
          </p:nvSpPr>
          <p:spPr bwMode="auto">
            <a:xfrm>
              <a:off x="13556559" y="312415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61" name="iconfont-11894-5689857"/>
            <p:cNvSpPr>
              <a:spLocks noChangeAspect="1"/>
            </p:cNvSpPr>
            <p:nvPr userDrawn="1"/>
          </p:nvSpPr>
          <p:spPr bwMode="auto">
            <a:xfrm>
              <a:off x="14775929" y="3159826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4" name="iconfont-11894-5689857"/>
            <p:cNvSpPr>
              <a:spLocks noChangeAspect="1"/>
            </p:cNvSpPr>
            <p:nvPr userDrawn="1"/>
          </p:nvSpPr>
          <p:spPr bwMode="auto">
            <a:xfrm>
              <a:off x="15995300" y="3159287"/>
              <a:ext cx="609685" cy="539426"/>
            </a:xfrm>
            <a:custGeom>
              <a:avLst/>
              <a:gdLst>
                <a:gd name="connsiteX0" fmla="*/ 381028 w 474177"/>
                <a:gd name="connsiteY0" fmla="*/ 267126 h 419534"/>
                <a:gd name="connsiteX1" fmla="*/ 321786 w 474177"/>
                <a:gd name="connsiteY1" fmla="*/ 326422 h 419534"/>
                <a:gd name="connsiteX2" fmla="*/ 381028 w 474177"/>
                <a:gd name="connsiteY2" fmla="*/ 385671 h 419534"/>
                <a:gd name="connsiteX3" fmla="*/ 440318 w 474177"/>
                <a:gd name="connsiteY3" fmla="*/ 326422 h 419534"/>
                <a:gd name="connsiteX4" fmla="*/ 381028 w 474177"/>
                <a:gd name="connsiteY4" fmla="*/ 267126 h 419534"/>
                <a:gd name="connsiteX5" fmla="*/ 93173 w 474177"/>
                <a:gd name="connsiteY5" fmla="*/ 267104 h 419534"/>
                <a:gd name="connsiteX6" fmla="*/ 33868 w 474177"/>
                <a:gd name="connsiteY6" fmla="*/ 326409 h 419534"/>
                <a:gd name="connsiteX7" fmla="*/ 93173 w 474177"/>
                <a:gd name="connsiteY7" fmla="*/ 385666 h 419534"/>
                <a:gd name="connsiteX8" fmla="*/ 152430 w 474177"/>
                <a:gd name="connsiteY8" fmla="*/ 326409 h 419534"/>
                <a:gd name="connsiteX9" fmla="*/ 93173 w 474177"/>
                <a:gd name="connsiteY9" fmla="*/ 267104 h 419534"/>
                <a:gd name="connsiteX10" fmla="*/ 381028 w 474177"/>
                <a:gd name="connsiteY10" fmla="*/ 233263 h 419534"/>
                <a:gd name="connsiteX11" fmla="*/ 474177 w 474177"/>
                <a:gd name="connsiteY11" fmla="*/ 326422 h 419534"/>
                <a:gd name="connsiteX12" fmla="*/ 381028 w 474177"/>
                <a:gd name="connsiteY12" fmla="*/ 419534 h 419534"/>
                <a:gd name="connsiteX13" fmla="*/ 287927 w 474177"/>
                <a:gd name="connsiteY13" fmla="*/ 326422 h 419534"/>
                <a:gd name="connsiteX14" fmla="*/ 295214 w 474177"/>
                <a:gd name="connsiteY14" fmla="*/ 290065 h 419534"/>
                <a:gd name="connsiteX15" fmla="*/ 298380 w 474177"/>
                <a:gd name="connsiteY15" fmla="*/ 285357 h 419534"/>
                <a:gd name="connsiteX16" fmla="*/ 309676 w 474177"/>
                <a:gd name="connsiteY16" fmla="*/ 288436 h 419534"/>
                <a:gd name="connsiteX17" fmla="*/ 324272 w 474177"/>
                <a:gd name="connsiteY17" fmla="*/ 280725 h 419534"/>
                <a:gd name="connsiteX18" fmla="*/ 329349 w 474177"/>
                <a:gd name="connsiteY18" fmla="*/ 265690 h 419534"/>
                <a:gd name="connsiteX19" fmla="*/ 323395 w 474177"/>
                <a:gd name="connsiteY19" fmla="*/ 254893 h 419534"/>
                <a:gd name="connsiteX20" fmla="*/ 344703 w 474177"/>
                <a:gd name="connsiteY20" fmla="*/ 240552 h 419534"/>
                <a:gd name="connsiteX21" fmla="*/ 381028 w 474177"/>
                <a:gd name="connsiteY21" fmla="*/ 233263 h 419534"/>
                <a:gd name="connsiteX22" fmla="*/ 93173 w 474177"/>
                <a:gd name="connsiteY22" fmla="*/ 233236 h 419534"/>
                <a:gd name="connsiteX23" fmla="*/ 129507 w 474177"/>
                <a:gd name="connsiteY23" fmla="*/ 240526 h 419534"/>
                <a:gd name="connsiteX24" fmla="*/ 144508 w 474177"/>
                <a:gd name="connsiteY24" fmla="*/ 250622 h 419534"/>
                <a:gd name="connsiteX25" fmla="*/ 143965 w 474177"/>
                <a:gd name="connsiteY25" fmla="*/ 251075 h 419534"/>
                <a:gd name="connsiteX26" fmla="*/ 141441 w 474177"/>
                <a:gd name="connsiteY26" fmla="*/ 280700 h 419534"/>
                <a:gd name="connsiteX27" fmla="*/ 171919 w 474177"/>
                <a:gd name="connsiteY27" fmla="*/ 284081 h 419534"/>
                <a:gd name="connsiteX28" fmla="*/ 173885 w 474177"/>
                <a:gd name="connsiteY28" fmla="*/ 282428 h 419534"/>
                <a:gd name="connsiteX29" fmla="*/ 179008 w 474177"/>
                <a:gd name="connsiteY29" fmla="*/ 290047 h 419534"/>
                <a:gd name="connsiteX30" fmla="*/ 186298 w 474177"/>
                <a:gd name="connsiteY30" fmla="*/ 326409 h 419534"/>
                <a:gd name="connsiteX31" fmla="*/ 93173 w 474177"/>
                <a:gd name="connsiteY31" fmla="*/ 419534 h 419534"/>
                <a:gd name="connsiteX32" fmla="*/ 0 w 474177"/>
                <a:gd name="connsiteY32" fmla="*/ 326409 h 419534"/>
                <a:gd name="connsiteX33" fmla="*/ 93173 w 474177"/>
                <a:gd name="connsiteY33" fmla="*/ 233236 h 419534"/>
                <a:gd name="connsiteX34" fmla="*/ 265967 w 474177"/>
                <a:gd name="connsiteY34" fmla="*/ 205002 h 419534"/>
                <a:gd name="connsiteX35" fmla="*/ 321748 w 474177"/>
                <a:gd name="connsiteY35" fmla="*/ 251906 h 419534"/>
                <a:gd name="connsiteX36" fmla="*/ 323395 w 474177"/>
                <a:gd name="connsiteY36" fmla="*/ 254893 h 419534"/>
                <a:gd name="connsiteX37" fmla="*/ 315119 w 474177"/>
                <a:gd name="connsiteY37" fmla="*/ 260464 h 419534"/>
                <a:gd name="connsiteX38" fmla="*/ 298380 w 474177"/>
                <a:gd name="connsiteY38" fmla="*/ 285357 h 419534"/>
                <a:gd name="connsiteX39" fmla="*/ 293795 w 474177"/>
                <a:gd name="connsiteY39" fmla="*/ 284107 h 419534"/>
                <a:gd name="connsiteX40" fmla="*/ 232947 w 474177"/>
                <a:gd name="connsiteY40" fmla="*/ 232767 h 419534"/>
                <a:gd name="connsiteX41" fmla="*/ 199590 w 474177"/>
                <a:gd name="connsiteY41" fmla="*/ 204623 h 419534"/>
                <a:gd name="connsiteX42" fmla="*/ 232947 w 474177"/>
                <a:gd name="connsiteY42" fmla="*/ 232767 h 419534"/>
                <a:gd name="connsiteX43" fmla="*/ 173885 w 474177"/>
                <a:gd name="connsiteY43" fmla="*/ 282428 h 419534"/>
                <a:gd name="connsiteX44" fmla="*/ 159099 w 474177"/>
                <a:gd name="connsiteY44" fmla="*/ 260441 h 419534"/>
                <a:gd name="connsiteX45" fmla="*/ 144508 w 474177"/>
                <a:gd name="connsiteY45" fmla="*/ 250622 h 419534"/>
                <a:gd name="connsiteX46" fmla="*/ 265117 w 474177"/>
                <a:gd name="connsiteY46" fmla="*/ 71012 h 419534"/>
                <a:gd name="connsiteX47" fmla="*/ 274319 w 474177"/>
                <a:gd name="connsiteY47" fmla="*/ 74084 h 419534"/>
                <a:gd name="connsiteX48" fmla="*/ 311440 w 474177"/>
                <a:gd name="connsiteY48" fmla="*/ 111217 h 419534"/>
                <a:gd name="connsiteX49" fmla="*/ 291612 w 474177"/>
                <a:gd name="connsiteY49" fmla="*/ 127776 h 419534"/>
                <a:gd name="connsiteX50" fmla="*/ 256557 w 474177"/>
                <a:gd name="connsiteY50" fmla="*/ 92710 h 419534"/>
                <a:gd name="connsiteX51" fmla="*/ 256557 w 474177"/>
                <a:gd name="connsiteY51" fmla="*/ 74942 h 419534"/>
                <a:gd name="connsiteX52" fmla="*/ 265117 w 474177"/>
                <a:gd name="connsiteY52" fmla="*/ 71012 h 419534"/>
                <a:gd name="connsiteX53" fmla="*/ 294653 w 474177"/>
                <a:gd name="connsiteY53" fmla="*/ 35976 h 419534"/>
                <a:gd name="connsiteX54" fmla="*/ 312415 w 474177"/>
                <a:gd name="connsiteY54" fmla="*/ 35976 h 419534"/>
                <a:gd name="connsiteX55" fmla="*/ 352965 w 474177"/>
                <a:gd name="connsiteY55" fmla="*/ 76540 h 419534"/>
                <a:gd name="connsiteX56" fmla="*/ 333604 w 474177"/>
                <a:gd name="connsiteY56" fmla="*/ 92708 h 419534"/>
                <a:gd name="connsiteX57" fmla="*/ 294653 w 474177"/>
                <a:gd name="connsiteY57" fmla="*/ 53744 h 419534"/>
                <a:gd name="connsiteX58" fmla="*/ 294653 w 474177"/>
                <a:gd name="connsiteY58" fmla="*/ 35976 h 419534"/>
                <a:gd name="connsiteX59" fmla="*/ 425805 w 474177"/>
                <a:gd name="connsiteY59" fmla="*/ 23290 h 419534"/>
                <a:gd name="connsiteX60" fmla="*/ 440318 w 474177"/>
                <a:gd name="connsiteY60" fmla="*/ 30893 h 419534"/>
                <a:gd name="connsiteX61" fmla="*/ 437746 w 474177"/>
                <a:gd name="connsiteY61" fmla="*/ 60565 h 419534"/>
                <a:gd name="connsiteX62" fmla="*/ 265967 w 474177"/>
                <a:gd name="connsiteY62" fmla="*/ 205002 h 419534"/>
                <a:gd name="connsiteX63" fmla="*/ 232667 w 474177"/>
                <a:gd name="connsiteY63" fmla="*/ 177000 h 419534"/>
                <a:gd name="connsiteX64" fmla="*/ 291612 w 474177"/>
                <a:gd name="connsiteY64" fmla="*/ 127776 h 419534"/>
                <a:gd name="connsiteX65" fmla="*/ 303129 w 474177"/>
                <a:gd name="connsiteY65" fmla="*/ 139297 h 419534"/>
                <a:gd name="connsiteX66" fmla="*/ 309034 w 474177"/>
                <a:gd name="connsiteY66" fmla="*/ 139297 h 419534"/>
                <a:gd name="connsiteX67" fmla="*/ 320891 w 474177"/>
                <a:gd name="connsiteY67" fmla="*/ 126578 h 419534"/>
                <a:gd name="connsiteX68" fmla="*/ 320891 w 474177"/>
                <a:gd name="connsiteY68" fmla="*/ 120671 h 419534"/>
                <a:gd name="connsiteX69" fmla="*/ 311440 w 474177"/>
                <a:gd name="connsiteY69" fmla="*/ 111217 h 419534"/>
                <a:gd name="connsiteX70" fmla="*/ 333604 w 474177"/>
                <a:gd name="connsiteY70" fmla="*/ 92708 h 419534"/>
                <a:gd name="connsiteX71" fmla="*/ 341224 w 474177"/>
                <a:gd name="connsiteY71" fmla="*/ 100331 h 419534"/>
                <a:gd name="connsiteX72" fmla="*/ 347129 w 474177"/>
                <a:gd name="connsiteY72" fmla="*/ 100331 h 419534"/>
                <a:gd name="connsiteX73" fmla="*/ 358986 w 474177"/>
                <a:gd name="connsiteY73" fmla="*/ 88470 h 419534"/>
                <a:gd name="connsiteX74" fmla="*/ 358986 w 474177"/>
                <a:gd name="connsiteY74" fmla="*/ 82563 h 419534"/>
                <a:gd name="connsiteX75" fmla="*/ 352965 w 474177"/>
                <a:gd name="connsiteY75" fmla="*/ 76540 h 419534"/>
                <a:gd name="connsiteX76" fmla="*/ 374636 w 474177"/>
                <a:gd name="connsiteY76" fmla="*/ 58443 h 419534"/>
                <a:gd name="connsiteX77" fmla="*/ 384368 w 474177"/>
                <a:gd name="connsiteY77" fmla="*/ 68178 h 419534"/>
                <a:gd name="connsiteX78" fmla="*/ 390320 w 474177"/>
                <a:gd name="connsiteY78" fmla="*/ 68178 h 419534"/>
                <a:gd name="connsiteX79" fmla="*/ 402177 w 474177"/>
                <a:gd name="connsiteY79" fmla="*/ 56316 h 419534"/>
                <a:gd name="connsiteX80" fmla="*/ 402177 w 474177"/>
                <a:gd name="connsiteY80" fmla="*/ 50362 h 419534"/>
                <a:gd name="connsiteX81" fmla="*/ 394044 w 474177"/>
                <a:gd name="connsiteY81" fmla="*/ 42235 h 419534"/>
                <a:gd name="connsiteX82" fmla="*/ 410649 w 474177"/>
                <a:gd name="connsiteY82" fmla="*/ 28368 h 419534"/>
                <a:gd name="connsiteX83" fmla="*/ 425805 w 474177"/>
                <a:gd name="connsiteY83" fmla="*/ 23290 h 419534"/>
                <a:gd name="connsiteX84" fmla="*/ 40775 w 474177"/>
                <a:gd name="connsiteY84" fmla="*/ 23276 h 419534"/>
                <a:gd name="connsiteX85" fmla="*/ 55888 w 474177"/>
                <a:gd name="connsiteY85" fmla="*/ 28355 h 419534"/>
                <a:gd name="connsiteX86" fmla="*/ 232667 w 474177"/>
                <a:gd name="connsiteY86" fmla="*/ 177000 h 419534"/>
                <a:gd name="connsiteX87" fmla="*/ 199590 w 474177"/>
                <a:gd name="connsiteY87" fmla="*/ 204623 h 419534"/>
                <a:gd name="connsiteX88" fmla="*/ 28841 w 474177"/>
                <a:gd name="connsiteY88" fmla="*/ 60556 h 419534"/>
                <a:gd name="connsiteX89" fmla="*/ 26269 w 474177"/>
                <a:gd name="connsiteY89" fmla="*/ 30879 h 419534"/>
                <a:gd name="connsiteX90" fmla="*/ 40775 w 474177"/>
                <a:gd name="connsiteY90" fmla="*/ 23276 h 419534"/>
                <a:gd name="connsiteX91" fmla="*/ 346701 w 474177"/>
                <a:gd name="connsiteY91" fmla="*/ 0 h 419534"/>
                <a:gd name="connsiteX92" fmla="*/ 355605 w 474177"/>
                <a:gd name="connsiteY92" fmla="*/ 3823 h 419534"/>
                <a:gd name="connsiteX93" fmla="*/ 394044 w 474177"/>
                <a:gd name="connsiteY93" fmla="*/ 42235 h 419534"/>
                <a:gd name="connsiteX94" fmla="*/ 374636 w 474177"/>
                <a:gd name="connsiteY94" fmla="*/ 58443 h 419534"/>
                <a:gd name="connsiteX95" fmla="*/ 337796 w 474177"/>
                <a:gd name="connsiteY95" fmla="*/ 21591 h 419534"/>
                <a:gd name="connsiteX96" fmla="*/ 337796 w 474177"/>
                <a:gd name="connsiteY96" fmla="*/ 3823 h 419534"/>
                <a:gd name="connsiteX97" fmla="*/ 346701 w 474177"/>
                <a:gd name="connsiteY97" fmla="*/ 0 h 419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474177" h="419534">
                  <a:moveTo>
                    <a:pt x="381028" y="267126"/>
                  </a:moveTo>
                  <a:cubicBezTo>
                    <a:pt x="348026" y="267126"/>
                    <a:pt x="321786" y="293416"/>
                    <a:pt x="321786" y="326422"/>
                  </a:cubicBezTo>
                  <a:cubicBezTo>
                    <a:pt x="321786" y="359428"/>
                    <a:pt x="348026" y="385671"/>
                    <a:pt x="381028" y="385671"/>
                  </a:cubicBezTo>
                  <a:cubicBezTo>
                    <a:pt x="414030" y="385671"/>
                    <a:pt x="440318" y="359428"/>
                    <a:pt x="440318" y="326422"/>
                  </a:cubicBezTo>
                  <a:cubicBezTo>
                    <a:pt x="440318" y="293416"/>
                    <a:pt x="414030" y="267126"/>
                    <a:pt x="381028" y="267126"/>
                  </a:cubicBezTo>
                  <a:close/>
                  <a:moveTo>
                    <a:pt x="93173" y="267104"/>
                  </a:moveTo>
                  <a:cubicBezTo>
                    <a:pt x="60115" y="267104"/>
                    <a:pt x="33868" y="293398"/>
                    <a:pt x="33868" y="326409"/>
                  </a:cubicBezTo>
                  <a:cubicBezTo>
                    <a:pt x="33868" y="359420"/>
                    <a:pt x="60115" y="385666"/>
                    <a:pt x="93173" y="385666"/>
                  </a:cubicBezTo>
                  <a:cubicBezTo>
                    <a:pt x="126183" y="385666"/>
                    <a:pt x="152430" y="359420"/>
                    <a:pt x="152430" y="326409"/>
                  </a:cubicBezTo>
                  <a:cubicBezTo>
                    <a:pt x="152430" y="293398"/>
                    <a:pt x="126183" y="267104"/>
                    <a:pt x="93173" y="267104"/>
                  </a:cubicBezTo>
                  <a:close/>
                  <a:moveTo>
                    <a:pt x="381028" y="233263"/>
                  </a:moveTo>
                  <a:cubicBezTo>
                    <a:pt x="432698" y="233263"/>
                    <a:pt x="474177" y="274746"/>
                    <a:pt x="474177" y="326422"/>
                  </a:cubicBezTo>
                  <a:cubicBezTo>
                    <a:pt x="474177" y="378050"/>
                    <a:pt x="432698" y="419534"/>
                    <a:pt x="381028" y="419534"/>
                  </a:cubicBezTo>
                  <a:cubicBezTo>
                    <a:pt x="329405" y="419534"/>
                    <a:pt x="287927" y="378050"/>
                    <a:pt x="287927" y="326422"/>
                  </a:cubicBezTo>
                  <a:cubicBezTo>
                    <a:pt x="287927" y="313503"/>
                    <a:pt x="290519" y="301221"/>
                    <a:pt x="295214" y="290065"/>
                  </a:cubicBezTo>
                  <a:lnTo>
                    <a:pt x="298380" y="285357"/>
                  </a:lnTo>
                  <a:lnTo>
                    <a:pt x="309676" y="288436"/>
                  </a:lnTo>
                  <a:cubicBezTo>
                    <a:pt x="315177" y="287906"/>
                    <a:pt x="320462" y="285369"/>
                    <a:pt x="324272" y="280725"/>
                  </a:cubicBezTo>
                  <a:cubicBezTo>
                    <a:pt x="328081" y="276485"/>
                    <a:pt x="329772" y="270984"/>
                    <a:pt x="329349" y="265690"/>
                  </a:cubicBezTo>
                  <a:lnTo>
                    <a:pt x="323395" y="254893"/>
                  </a:lnTo>
                  <a:lnTo>
                    <a:pt x="344703" y="240552"/>
                  </a:lnTo>
                  <a:cubicBezTo>
                    <a:pt x="355851" y="235855"/>
                    <a:pt x="368122" y="233263"/>
                    <a:pt x="381028" y="233263"/>
                  </a:cubicBezTo>
                  <a:close/>
                  <a:moveTo>
                    <a:pt x="93173" y="233236"/>
                  </a:moveTo>
                  <a:cubicBezTo>
                    <a:pt x="106082" y="233236"/>
                    <a:pt x="118357" y="235829"/>
                    <a:pt x="129507" y="240526"/>
                  </a:cubicBezTo>
                  <a:lnTo>
                    <a:pt x="144508" y="250622"/>
                  </a:lnTo>
                  <a:lnTo>
                    <a:pt x="143965" y="251075"/>
                  </a:lnTo>
                  <a:cubicBezTo>
                    <a:pt x="134678" y="258696"/>
                    <a:pt x="133821" y="272222"/>
                    <a:pt x="141441" y="280700"/>
                  </a:cubicBezTo>
                  <a:cubicBezTo>
                    <a:pt x="149060" y="289987"/>
                    <a:pt x="162585" y="290844"/>
                    <a:pt x="171919" y="284081"/>
                  </a:cubicBezTo>
                  <a:lnTo>
                    <a:pt x="173885" y="282428"/>
                  </a:lnTo>
                  <a:lnTo>
                    <a:pt x="179008" y="290047"/>
                  </a:lnTo>
                  <a:cubicBezTo>
                    <a:pt x="183705" y="301204"/>
                    <a:pt x="186298" y="313488"/>
                    <a:pt x="186298" y="326409"/>
                  </a:cubicBezTo>
                  <a:cubicBezTo>
                    <a:pt x="186298" y="378045"/>
                    <a:pt x="144808" y="419534"/>
                    <a:pt x="93173" y="419534"/>
                  </a:cubicBezTo>
                  <a:cubicBezTo>
                    <a:pt x="41490" y="419534"/>
                    <a:pt x="0" y="378045"/>
                    <a:pt x="0" y="326409"/>
                  </a:cubicBezTo>
                  <a:cubicBezTo>
                    <a:pt x="0" y="274726"/>
                    <a:pt x="41490" y="233236"/>
                    <a:pt x="93173" y="233236"/>
                  </a:cubicBezTo>
                  <a:close/>
                  <a:moveTo>
                    <a:pt x="265967" y="205002"/>
                  </a:moveTo>
                  <a:lnTo>
                    <a:pt x="321748" y="251906"/>
                  </a:lnTo>
                  <a:lnTo>
                    <a:pt x="323395" y="254893"/>
                  </a:lnTo>
                  <a:lnTo>
                    <a:pt x="315119" y="260464"/>
                  </a:lnTo>
                  <a:lnTo>
                    <a:pt x="298380" y="285357"/>
                  </a:lnTo>
                  <a:lnTo>
                    <a:pt x="293795" y="284107"/>
                  </a:lnTo>
                  <a:lnTo>
                    <a:pt x="232947" y="232767"/>
                  </a:lnTo>
                  <a:close/>
                  <a:moveTo>
                    <a:pt x="199590" y="204623"/>
                  </a:moveTo>
                  <a:lnTo>
                    <a:pt x="232947" y="232767"/>
                  </a:lnTo>
                  <a:lnTo>
                    <a:pt x="173885" y="282428"/>
                  </a:lnTo>
                  <a:lnTo>
                    <a:pt x="159099" y="260441"/>
                  </a:lnTo>
                  <a:lnTo>
                    <a:pt x="144508" y="250622"/>
                  </a:lnTo>
                  <a:close/>
                  <a:moveTo>
                    <a:pt x="265117" y="71012"/>
                  </a:moveTo>
                  <a:cubicBezTo>
                    <a:pt x="268390" y="70905"/>
                    <a:pt x="271771" y="71965"/>
                    <a:pt x="274319" y="74084"/>
                  </a:cubicBezTo>
                  <a:lnTo>
                    <a:pt x="311440" y="111217"/>
                  </a:lnTo>
                  <a:lnTo>
                    <a:pt x="291612" y="127776"/>
                  </a:lnTo>
                  <a:lnTo>
                    <a:pt x="256557" y="92710"/>
                  </a:lnTo>
                  <a:cubicBezTo>
                    <a:pt x="251462" y="87660"/>
                    <a:pt x="251462" y="80039"/>
                    <a:pt x="256557" y="74942"/>
                  </a:cubicBezTo>
                  <a:cubicBezTo>
                    <a:pt x="258676" y="72393"/>
                    <a:pt x="261843" y="71119"/>
                    <a:pt x="265117" y="71012"/>
                  </a:cubicBezTo>
                  <a:close/>
                  <a:moveTo>
                    <a:pt x="294653" y="35976"/>
                  </a:moveTo>
                  <a:cubicBezTo>
                    <a:pt x="298891" y="31737"/>
                    <a:pt x="307319" y="31737"/>
                    <a:pt x="312415" y="35976"/>
                  </a:cubicBezTo>
                  <a:lnTo>
                    <a:pt x="352965" y="76540"/>
                  </a:lnTo>
                  <a:lnTo>
                    <a:pt x="333604" y="92708"/>
                  </a:lnTo>
                  <a:lnTo>
                    <a:pt x="294653" y="53744"/>
                  </a:lnTo>
                  <a:cubicBezTo>
                    <a:pt x="289557" y="48695"/>
                    <a:pt x="289557" y="41073"/>
                    <a:pt x="294653" y="35976"/>
                  </a:cubicBezTo>
                  <a:close/>
                  <a:moveTo>
                    <a:pt x="425805" y="23290"/>
                  </a:moveTo>
                  <a:cubicBezTo>
                    <a:pt x="431210" y="23713"/>
                    <a:pt x="436508" y="26249"/>
                    <a:pt x="440318" y="30893"/>
                  </a:cubicBezTo>
                  <a:cubicBezTo>
                    <a:pt x="447937" y="39370"/>
                    <a:pt x="447080" y="52944"/>
                    <a:pt x="437746" y="60565"/>
                  </a:cubicBezTo>
                  <a:lnTo>
                    <a:pt x="265967" y="205002"/>
                  </a:lnTo>
                  <a:lnTo>
                    <a:pt x="232667" y="177000"/>
                  </a:lnTo>
                  <a:lnTo>
                    <a:pt x="291612" y="127776"/>
                  </a:lnTo>
                  <a:lnTo>
                    <a:pt x="303129" y="139297"/>
                  </a:lnTo>
                  <a:cubicBezTo>
                    <a:pt x="304795" y="141011"/>
                    <a:pt x="307319" y="141011"/>
                    <a:pt x="309034" y="139297"/>
                  </a:cubicBezTo>
                  <a:lnTo>
                    <a:pt x="320891" y="126578"/>
                  </a:lnTo>
                  <a:cubicBezTo>
                    <a:pt x="322558" y="124911"/>
                    <a:pt x="322558" y="122339"/>
                    <a:pt x="320891" y="120671"/>
                  </a:cubicBezTo>
                  <a:lnTo>
                    <a:pt x="311440" y="111217"/>
                  </a:lnTo>
                  <a:lnTo>
                    <a:pt x="333604" y="92708"/>
                  </a:lnTo>
                  <a:lnTo>
                    <a:pt x="341224" y="100331"/>
                  </a:lnTo>
                  <a:cubicBezTo>
                    <a:pt x="342891" y="102046"/>
                    <a:pt x="345415" y="102046"/>
                    <a:pt x="347129" y="100331"/>
                  </a:cubicBezTo>
                  <a:lnTo>
                    <a:pt x="358986" y="88470"/>
                  </a:lnTo>
                  <a:cubicBezTo>
                    <a:pt x="360653" y="86803"/>
                    <a:pt x="360653" y="84231"/>
                    <a:pt x="358986" y="82563"/>
                  </a:cubicBezTo>
                  <a:lnTo>
                    <a:pt x="352965" y="76540"/>
                  </a:lnTo>
                  <a:lnTo>
                    <a:pt x="374636" y="58443"/>
                  </a:lnTo>
                  <a:lnTo>
                    <a:pt x="384368" y="68178"/>
                  </a:lnTo>
                  <a:cubicBezTo>
                    <a:pt x="386082" y="69845"/>
                    <a:pt x="388606" y="69845"/>
                    <a:pt x="390320" y="68178"/>
                  </a:cubicBezTo>
                  <a:lnTo>
                    <a:pt x="402177" y="56316"/>
                  </a:lnTo>
                  <a:cubicBezTo>
                    <a:pt x="403844" y="54602"/>
                    <a:pt x="403844" y="52077"/>
                    <a:pt x="402177" y="50362"/>
                  </a:cubicBezTo>
                  <a:lnTo>
                    <a:pt x="394044" y="42235"/>
                  </a:lnTo>
                  <a:lnTo>
                    <a:pt x="410649" y="28368"/>
                  </a:lnTo>
                  <a:cubicBezTo>
                    <a:pt x="414887" y="24558"/>
                    <a:pt x="420400" y="22867"/>
                    <a:pt x="425805" y="23290"/>
                  </a:cubicBezTo>
                  <a:close/>
                  <a:moveTo>
                    <a:pt x="40775" y="23276"/>
                  </a:moveTo>
                  <a:cubicBezTo>
                    <a:pt x="46174" y="22853"/>
                    <a:pt x="51674" y="24544"/>
                    <a:pt x="55888" y="28355"/>
                  </a:cubicBezTo>
                  <a:lnTo>
                    <a:pt x="232667" y="177000"/>
                  </a:lnTo>
                  <a:lnTo>
                    <a:pt x="199590" y="204623"/>
                  </a:lnTo>
                  <a:lnTo>
                    <a:pt x="28841" y="60556"/>
                  </a:lnTo>
                  <a:cubicBezTo>
                    <a:pt x="19507" y="52934"/>
                    <a:pt x="18650" y="39358"/>
                    <a:pt x="26269" y="30879"/>
                  </a:cubicBezTo>
                  <a:cubicBezTo>
                    <a:pt x="30079" y="26235"/>
                    <a:pt x="35376" y="23698"/>
                    <a:pt x="40775" y="23276"/>
                  </a:cubicBezTo>
                  <a:close/>
                  <a:moveTo>
                    <a:pt x="346701" y="0"/>
                  </a:moveTo>
                  <a:cubicBezTo>
                    <a:pt x="349879" y="0"/>
                    <a:pt x="353058" y="1274"/>
                    <a:pt x="355605" y="3823"/>
                  </a:cubicBezTo>
                  <a:lnTo>
                    <a:pt x="394044" y="42235"/>
                  </a:lnTo>
                  <a:lnTo>
                    <a:pt x="374636" y="58443"/>
                  </a:lnTo>
                  <a:lnTo>
                    <a:pt x="337796" y="21591"/>
                  </a:lnTo>
                  <a:cubicBezTo>
                    <a:pt x="332748" y="16494"/>
                    <a:pt x="332748" y="8872"/>
                    <a:pt x="337796" y="3823"/>
                  </a:cubicBezTo>
                  <a:cubicBezTo>
                    <a:pt x="340343" y="1274"/>
                    <a:pt x="343522" y="0"/>
                    <a:pt x="3467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3" name="iconfont-11894-5689857"/>
            <p:cNvSpPr>
              <a:spLocks noChangeAspect="1"/>
            </p:cNvSpPr>
            <p:nvPr userDrawn="1"/>
          </p:nvSpPr>
          <p:spPr bwMode="auto">
            <a:xfrm>
              <a:off x="17214969" y="3124157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3" name="iconfont-11894-5689857"/>
            <p:cNvSpPr>
              <a:spLocks noChangeAspect="1"/>
            </p:cNvSpPr>
            <p:nvPr userDrawn="1"/>
          </p:nvSpPr>
          <p:spPr bwMode="auto">
            <a:xfrm>
              <a:off x="18434041" y="3124157"/>
              <a:ext cx="609685" cy="609685"/>
            </a:xfrm>
            <a:custGeom>
              <a:avLst/>
              <a:gdLst>
                <a:gd name="T0" fmla="*/ 12800 w 12800"/>
                <a:gd name="T1" fmla="*/ 11360 h 12800"/>
                <a:gd name="T2" fmla="*/ 11360 w 12800"/>
                <a:gd name="T3" fmla="*/ 12800 h 12800"/>
                <a:gd name="T4" fmla="*/ 1440 w 12800"/>
                <a:gd name="T5" fmla="*/ 12800 h 12800"/>
                <a:gd name="T6" fmla="*/ 0 w 12800"/>
                <a:gd name="T7" fmla="*/ 11360 h 12800"/>
                <a:gd name="T8" fmla="*/ 0 w 12800"/>
                <a:gd name="T9" fmla="*/ 1440 h 12800"/>
                <a:gd name="T10" fmla="*/ 1440 w 12800"/>
                <a:gd name="T11" fmla="*/ 0 h 12800"/>
                <a:gd name="T12" fmla="*/ 11360 w 12800"/>
                <a:gd name="T13" fmla="*/ 0 h 12800"/>
                <a:gd name="T14" fmla="*/ 12800 w 12800"/>
                <a:gd name="T15" fmla="*/ 1440 h 12800"/>
                <a:gd name="T16" fmla="*/ 12800 w 12800"/>
                <a:gd name="T17" fmla="*/ 11360 h 12800"/>
                <a:gd name="T18" fmla="*/ 1600 w 12800"/>
                <a:gd name="T19" fmla="*/ 800 h 12800"/>
                <a:gd name="T20" fmla="*/ 800 w 12800"/>
                <a:gd name="T21" fmla="*/ 1600 h 12800"/>
                <a:gd name="T22" fmla="*/ 800 w 12800"/>
                <a:gd name="T23" fmla="*/ 11200 h 12800"/>
                <a:gd name="T24" fmla="*/ 1680 w 12800"/>
                <a:gd name="T25" fmla="*/ 12000 h 12800"/>
                <a:gd name="T26" fmla="*/ 11200 w 12800"/>
                <a:gd name="T27" fmla="*/ 12000 h 12800"/>
                <a:gd name="T28" fmla="*/ 12000 w 12800"/>
                <a:gd name="T29" fmla="*/ 11280 h 12800"/>
                <a:gd name="T30" fmla="*/ 12000 w 12800"/>
                <a:gd name="T31" fmla="*/ 1600 h 12800"/>
                <a:gd name="T32" fmla="*/ 11200 w 12800"/>
                <a:gd name="T33" fmla="*/ 800 h 12800"/>
                <a:gd name="T34" fmla="*/ 1600 w 12800"/>
                <a:gd name="T35" fmla="*/ 800 h 12800"/>
                <a:gd name="T36" fmla="*/ 4800 w 12800"/>
                <a:gd name="T37" fmla="*/ 4160 h 12800"/>
                <a:gd name="T38" fmla="*/ 9280 w 12800"/>
                <a:gd name="T39" fmla="*/ 6400 h 12800"/>
                <a:gd name="T40" fmla="*/ 4800 w 12800"/>
                <a:gd name="T41" fmla="*/ 8640 h 12800"/>
                <a:gd name="T42" fmla="*/ 4800 w 12800"/>
                <a:gd name="T43" fmla="*/ 416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800" h="12800">
                  <a:moveTo>
                    <a:pt x="12800" y="11360"/>
                  </a:moveTo>
                  <a:cubicBezTo>
                    <a:pt x="12800" y="12155"/>
                    <a:pt x="12155" y="12800"/>
                    <a:pt x="11360" y="12800"/>
                  </a:cubicBezTo>
                  <a:lnTo>
                    <a:pt x="1440" y="12800"/>
                  </a:lnTo>
                  <a:cubicBezTo>
                    <a:pt x="645" y="12800"/>
                    <a:pt x="0" y="12155"/>
                    <a:pt x="0" y="11360"/>
                  </a:cubicBezTo>
                  <a:lnTo>
                    <a:pt x="0" y="1440"/>
                  </a:lnTo>
                  <a:cubicBezTo>
                    <a:pt x="0" y="645"/>
                    <a:pt x="645" y="0"/>
                    <a:pt x="1440" y="0"/>
                  </a:cubicBezTo>
                  <a:lnTo>
                    <a:pt x="11360" y="0"/>
                  </a:lnTo>
                  <a:cubicBezTo>
                    <a:pt x="12155" y="0"/>
                    <a:pt x="12800" y="645"/>
                    <a:pt x="12800" y="1440"/>
                  </a:cubicBezTo>
                  <a:lnTo>
                    <a:pt x="12800" y="11360"/>
                  </a:lnTo>
                  <a:close/>
                  <a:moveTo>
                    <a:pt x="1600" y="800"/>
                  </a:moveTo>
                  <a:cubicBezTo>
                    <a:pt x="1120" y="800"/>
                    <a:pt x="800" y="1120"/>
                    <a:pt x="800" y="1600"/>
                  </a:cubicBezTo>
                  <a:lnTo>
                    <a:pt x="800" y="11200"/>
                  </a:lnTo>
                  <a:cubicBezTo>
                    <a:pt x="800" y="11680"/>
                    <a:pt x="1120" y="12000"/>
                    <a:pt x="1680" y="12000"/>
                  </a:cubicBezTo>
                  <a:lnTo>
                    <a:pt x="11200" y="12000"/>
                  </a:lnTo>
                  <a:cubicBezTo>
                    <a:pt x="11680" y="12000"/>
                    <a:pt x="12000" y="11760"/>
                    <a:pt x="12000" y="11280"/>
                  </a:cubicBezTo>
                  <a:lnTo>
                    <a:pt x="12000" y="1600"/>
                  </a:lnTo>
                  <a:cubicBezTo>
                    <a:pt x="12000" y="1120"/>
                    <a:pt x="11680" y="800"/>
                    <a:pt x="11200" y="800"/>
                  </a:cubicBezTo>
                  <a:lnTo>
                    <a:pt x="1600" y="800"/>
                  </a:lnTo>
                  <a:close/>
                  <a:moveTo>
                    <a:pt x="4800" y="4160"/>
                  </a:moveTo>
                  <a:lnTo>
                    <a:pt x="9280" y="6400"/>
                  </a:lnTo>
                  <a:lnTo>
                    <a:pt x="4800" y="8640"/>
                  </a:lnTo>
                  <a:lnTo>
                    <a:pt x="4800" y="41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5" name="iconfont-11894-5689857"/>
            <p:cNvSpPr>
              <a:spLocks noChangeAspect="1"/>
            </p:cNvSpPr>
            <p:nvPr userDrawn="1"/>
          </p:nvSpPr>
          <p:spPr bwMode="auto">
            <a:xfrm>
              <a:off x="19746077" y="3124157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1" name="iconfont-11894-5689857"/>
            <p:cNvSpPr>
              <a:spLocks noChangeAspect="1"/>
            </p:cNvSpPr>
            <p:nvPr userDrawn="1"/>
          </p:nvSpPr>
          <p:spPr bwMode="auto">
            <a:xfrm>
              <a:off x="20909778" y="3124157"/>
              <a:ext cx="535687" cy="609685"/>
            </a:xfrm>
            <a:custGeom>
              <a:avLst/>
              <a:gdLst>
                <a:gd name="T0" fmla="*/ 10960 w 11160"/>
                <a:gd name="T1" fmla="*/ 5780 h 12700"/>
                <a:gd name="T2" fmla="*/ 200 w 11160"/>
                <a:gd name="T3" fmla="*/ 5780 h 12700"/>
                <a:gd name="T4" fmla="*/ 60 w 11160"/>
                <a:gd name="T5" fmla="*/ 5720 h 12700"/>
                <a:gd name="T6" fmla="*/ 0 w 11160"/>
                <a:gd name="T7" fmla="*/ 5580 h 12700"/>
                <a:gd name="T8" fmla="*/ 1680 w 11160"/>
                <a:gd name="T9" fmla="*/ 1630 h 12700"/>
                <a:gd name="T10" fmla="*/ 5580 w 11160"/>
                <a:gd name="T11" fmla="*/ 0 h 12700"/>
                <a:gd name="T12" fmla="*/ 9480 w 11160"/>
                <a:gd name="T13" fmla="*/ 1630 h 12700"/>
                <a:gd name="T14" fmla="*/ 11160 w 11160"/>
                <a:gd name="T15" fmla="*/ 5580 h 12700"/>
                <a:gd name="T16" fmla="*/ 11100 w 11160"/>
                <a:gd name="T17" fmla="*/ 5720 h 12700"/>
                <a:gd name="T18" fmla="*/ 10960 w 11160"/>
                <a:gd name="T19" fmla="*/ 5780 h 12700"/>
                <a:gd name="T20" fmla="*/ 410 w 11160"/>
                <a:gd name="T21" fmla="*/ 5380 h 12700"/>
                <a:gd name="T22" fmla="*/ 10760 w 11160"/>
                <a:gd name="T23" fmla="*/ 5380 h 12700"/>
                <a:gd name="T24" fmla="*/ 5580 w 11160"/>
                <a:gd name="T25" fmla="*/ 400 h 12700"/>
                <a:gd name="T26" fmla="*/ 410 w 11160"/>
                <a:gd name="T27" fmla="*/ 5380 h 12700"/>
                <a:gd name="T28" fmla="*/ 5580 w 11160"/>
                <a:gd name="T29" fmla="*/ 12700 h 12700"/>
                <a:gd name="T30" fmla="*/ 5380 w 11160"/>
                <a:gd name="T31" fmla="*/ 12500 h 12700"/>
                <a:gd name="T32" fmla="*/ 5380 w 11160"/>
                <a:gd name="T33" fmla="*/ 5580 h 12700"/>
                <a:gd name="T34" fmla="*/ 5580 w 11160"/>
                <a:gd name="T35" fmla="*/ 5380 h 12700"/>
                <a:gd name="T36" fmla="*/ 5780 w 11160"/>
                <a:gd name="T37" fmla="*/ 5580 h 12700"/>
                <a:gd name="T38" fmla="*/ 5780 w 11160"/>
                <a:gd name="T39" fmla="*/ 12500 h 12700"/>
                <a:gd name="T40" fmla="*/ 5580 w 11160"/>
                <a:gd name="T41" fmla="*/ 12700 h 12700"/>
                <a:gd name="T42" fmla="*/ 7850 w 11160"/>
                <a:gd name="T43" fmla="*/ 12700 h 12700"/>
                <a:gd name="T44" fmla="*/ 3310 w 11160"/>
                <a:gd name="T45" fmla="*/ 12700 h 12700"/>
                <a:gd name="T46" fmla="*/ 3110 w 11160"/>
                <a:gd name="T47" fmla="*/ 12500 h 12700"/>
                <a:gd name="T48" fmla="*/ 3310 w 11160"/>
                <a:gd name="T49" fmla="*/ 12300 h 12700"/>
                <a:gd name="T50" fmla="*/ 7850 w 11160"/>
                <a:gd name="T51" fmla="*/ 12300 h 12700"/>
                <a:gd name="T52" fmla="*/ 8050 w 11160"/>
                <a:gd name="T53" fmla="*/ 12500 h 12700"/>
                <a:gd name="T54" fmla="*/ 7850 w 11160"/>
                <a:gd name="T55" fmla="*/ 12700 h 12700"/>
                <a:gd name="T56" fmla="*/ 8270 w 11160"/>
                <a:gd name="T57" fmla="*/ 5680 h 12700"/>
                <a:gd name="T58" fmla="*/ 2890 w 11160"/>
                <a:gd name="T59" fmla="*/ 5680 h 12700"/>
                <a:gd name="T60" fmla="*/ 2820 w 11160"/>
                <a:gd name="T61" fmla="*/ 5650 h 12700"/>
                <a:gd name="T62" fmla="*/ 2790 w 11160"/>
                <a:gd name="T63" fmla="*/ 5580 h 12700"/>
                <a:gd name="T64" fmla="*/ 5580 w 11160"/>
                <a:gd name="T65" fmla="*/ 100 h 12700"/>
                <a:gd name="T66" fmla="*/ 8370 w 11160"/>
                <a:gd name="T67" fmla="*/ 5580 h 12700"/>
                <a:gd name="T68" fmla="*/ 8340 w 11160"/>
                <a:gd name="T69" fmla="*/ 5650 h 12700"/>
                <a:gd name="T70" fmla="*/ 8270 w 11160"/>
                <a:gd name="T71" fmla="*/ 5680 h 12700"/>
                <a:gd name="T72" fmla="*/ 2990 w 11160"/>
                <a:gd name="T73" fmla="*/ 5480 h 12700"/>
                <a:gd name="T74" fmla="*/ 8170 w 11160"/>
                <a:gd name="T75" fmla="*/ 5480 h 12700"/>
                <a:gd name="T76" fmla="*/ 5580 w 11160"/>
                <a:gd name="T77" fmla="*/ 300 h 12700"/>
                <a:gd name="T78" fmla="*/ 2990 w 11160"/>
                <a:gd name="T79" fmla="*/ 5480 h 1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160" h="12700">
                  <a:moveTo>
                    <a:pt x="10960" y="5780"/>
                  </a:moveTo>
                  <a:lnTo>
                    <a:pt x="200" y="5780"/>
                  </a:lnTo>
                  <a:cubicBezTo>
                    <a:pt x="150" y="5780"/>
                    <a:pt x="90" y="5760"/>
                    <a:pt x="60" y="5720"/>
                  </a:cubicBezTo>
                  <a:cubicBezTo>
                    <a:pt x="20" y="5680"/>
                    <a:pt x="0" y="5630"/>
                    <a:pt x="0" y="5580"/>
                  </a:cubicBezTo>
                  <a:cubicBezTo>
                    <a:pt x="40" y="4080"/>
                    <a:pt x="640" y="2680"/>
                    <a:pt x="1680" y="1630"/>
                  </a:cubicBezTo>
                  <a:cubicBezTo>
                    <a:pt x="2730" y="580"/>
                    <a:pt x="4110" y="0"/>
                    <a:pt x="5580" y="0"/>
                  </a:cubicBezTo>
                  <a:cubicBezTo>
                    <a:pt x="7050" y="0"/>
                    <a:pt x="8430" y="580"/>
                    <a:pt x="9480" y="1630"/>
                  </a:cubicBezTo>
                  <a:cubicBezTo>
                    <a:pt x="10530" y="2680"/>
                    <a:pt x="11120" y="4080"/>
                    <a:pt x="11160" y="5580"/>
                  </a:cubicBezTo>
                  <a:cubicBezTo>
                    <a:pt x="11160" y="5630"/>
                    <a:pt x="11140" y="5690"/>
                    <a:pt x="11100" y="5720"/>
                  </a:cubicBezTo>
                  <a:cubicBezTo>
                    <a:pt x="11070" y="5760"/>
                    <a:pt x="11020" y="5780"/>
                    <a:pt x="10960" y="5780"/>
                  </a:cubicBezTo>
                  <a:close/>
                  <a:moveTo>
                    <a:pt x="410" y="5380"/>
                  </a:moveTo>
                  <a:lnTo>
                    <a:pt x="10760" y="5380"/>
                  </a:lnTo>
                  <a:cubicBezTo>
                    <a:pt x="10580" y="2570"/>
                    <a:pt x="8350" y="400"/>
                    <a:pt x="5580" y="400"/>
                  </a:cubicBezTo>
                  <a:cubicBezTo>
                    <a:pt x="2810" y="400"/>
                    <a:pt x="580" y="2570"/>
                    <a:pt x="410" y="5380"/>
                  </a:cubicBezTo>
                  <a:close/>
                  <a:moveTo>
                    <a:pt x="5580" y="12700"/>
                  </a:moveTo>
                  <a:cubicBezTo>
                    <a:pt x="5470" y="12700"/>
                    <a:pt x="5380" y="12610"/>
                    <a:pt x="5380" y="12500"/>
                  </a:cubicBezTo>
                  <a:lnTo>
                    <a:pt x="5380" y="5580"/>
                  </a:lnTo>
                  <a:cubicBezTo>
                    <a:pt x="5380" y="5470"/>
                    <a:pt x="5470" y="5380"/>
                    <a:pt x="5580" y="5380"/>
                  </a:cubicBezTo>
                  <a:cubicBezTo>
                    <a:pt x="5690" y="5380"/>
                    <a:pt x="5780" y="5470"/>
                    <a:pt x="5780" y="5580"/>
                  </a:cubicBezTo>
                  <a:lnTo>
                    <a:pt x="5780" y="12500"/>
                  </a:lnTo>
                  <a:cubicBezTo>
                    <a:pt x="5780" y="12610"/>
                    <a:pt x="5690" y="12700"/>
                    <a:pt x="5580" y="12700"/>
                  </a:cubicBezTo>
                  <a:close/>
                  <a:moveTo>
                    <a:pt x="7850" y="12700"/>
                  </a:moveTo>
                  <a:lnTo>
                    <a:pt x="3310" y="12700"/>
                  </a:lnTo>
                  <a:cubicBezTo>
                    <a:pt x="3200" y="12700"/>
                    <a:pt x="3110" y="12610"/>
                    <a:pt x="3110" y="12500"/>
                  </a:cubicBezTo>
                  <a:cubicBezTo>
                    <a:pt x="3110" y="12390"/>
                    <a:pt x="3200" y="12300"/>
                    <a:pt x="3310" y="12300"/>
                  </a:cubicBezTo>
                  <a:lnTo>
                    <a:pt x="7850" y="12300"/>
                  </a:lnTo>
                  <a:cubicBezTo>
                    <a:pt x="7960" y="12300"/>
                    <a:pt x="8050" y="12390"/>
                    <a:pt x="8050" y="12500"/>
                  </a:cubicBezTo>
                  <a:cubicBezTo>
                    <a:pt x="8050" y="12610"/>
                    <a:pt x="7960" y="12700"/>
                    <a:pt x="7850" y="12700"/>
                  </a:cubicBezTo>
                  <a:close/>
                  <a:moveTo>
                    <a:pt x="8270" y="5680"/>
                  </a:moveTo>
                  <a:lnTo>
                    <a:pt x="2890" y="5680"/>
                  </a:lnTo>
                  <a:cubicBezTo>
                    <a:pt x="2860" y="5680"/>
                    <a:pt x="2840" y="5670"/>
                    <a:pt x="2820" y="5650"/>
                  </a:cubicBezTo>
                  <a:cubicBezTo>
                    <a:pt x="2800" y="5630"/>
                    <a:pt x="2790" y="5610"/>
                    <a:pt x="2790" y="5580"/>
                  </a:cubicBezTo>
                  <a:cubicBezTo>
                    <a:pt x="2830" y="2510"/>
                    <a:pt x="4050" y="100"/>
                    <a:pt x="5580" y="100"/>
                  </a:cubicBezTo>
                  <a:cubicBezTo>
                    <a:pt x="7110" y="100"/>
                    <a:pt x="8330" y="2510"/>
                    <a:pt x="8370" y="5580"/>
                  </a:cubicBezTo>
                  <a:cubicBezTo>
                    <a:pt x="8370" y="5610"/>
                    <a:pt x="8360" y="5630"/>
                    <a:pt x="8340" y="5650"/>
                  </a:cubicBezTo>
                  <a:cubicBezTo>
                    <a:pt x="8320" y="5670"/>
                    <a:pt x="8300" y="5680"/>
                    <a:pt x="8270" y="5680"/>
                  </a:cubicBezTo>
                  <a:close/>
                  <a:moveTo>
                    <a:pt x="2990" y="5480"/>
                  </a:moveTo>
                  <a:lnTo>
                    <a:pt x="8170" y="5480"/>
                  </a:lnTo>
                  <a:cubicBezTo>
                    <a:pt x="8110" y="2620"/>
                    <a:pt x="6960" y="300"/>
                    <a:pt x="5580" y="300"/>
                  </a:cubicBezTo>
                  <a:cubicBezTo>
                    <a:pt x="4200" y="300"/>
                    <a:pt x="3050" y="2620"/>
                    <a:pt x="2990" y="54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7" name="iconfont-11894-5689857"/>
            <p:cNvSpPr>
              <a:spLocks noChangeAspect="1"/>
            </p:cNvSpPr>
            <p:nvPr userDrawn="1"/>
          </p:nvSpPr>
          <p:spPr bwMode="auto">
            <a:xfrm>
              <a:off x="22092150" y="3130556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68" name="iconfont-11894-5689857"/>
            <p:cNvSpPr>
              <a:spLocks noChangeAspect="1"/>
            </p:cNvSpPr>
            <p:nvPr userDrawn="1"/>
          </p:nvSpPr>
          <p:spPr bwMode="auto">
            <a:xfrm>
              <a:off x="23401954" y="3124157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69" name="iconfont-11894-5689857"/>
            <p:cNvSpPr>
              <a:spLocks noChangeAspect="1"/>
            </p:cNvSpPr>
            <p:nvPr userDrawn="1"/>
          </p:nvSpPr>
          <p:spPr bwMode="auto">
            <a:xfrm>
              <a:off x="24530889" y="312415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70" name="iconfont-11894-5689857"/>
            <p:cNvSpPr>
              <a:spLocks noChangeAspect="1"/>
            </p:cNvSpPr>
            <p:nvPr userDrawn="1"/>
          </p:nvSpPr>
          <p:spPr bwMode="auto">
            <a:xfrm>
              <a:off x="25750260" y="3193410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71" name="iconfont-11894-5689857"/>
            <p:cNvSpPr>
              <a:spLocks noChangeAspect="1"/>
            </p:cNvSpPr>
            <p:nvPr userDrawn="1"/>
          </p:nvSpPr>
          <p:spPr bwMode="auto">
            <a:xfrm>
              <a:off x="26969630" y="3130259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2" name="iconfont-11894-5689857"/>
            <p:cNvSpPr>
              <a:spLocks noChangeAspect="1"/>
            </p:cNvSpPr>
            <p:nvPr userDrawn="1"/>
          </p:nvSpPr>
          <p:spPr bwMode="auto">
            <a:xfrm>
              <a:off x="28188999" y="3124157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74" name="iconfont-11894-5689857"/>
            <p:cNvSpPr>
              <a:spLocks noChangeAspect="1"/>
            </p:cNvSpPr>
            <p:nvPr userDrawn="1"/>
          </p:nvSpPr>
          <p:spPr bwMode="auto">
            <a:xfrm>
              <a:off x="13556559" y="459457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75" name="iconfont-11894-5689857"/>
            <p:cNvSpPr>
              <a:spLocks noChangeAspect="1"/>
            </p:cNvSpPr>
            <p:nvPr userDrawn="1"/>
          </p:nvSpPr>
          <p:spPr bwMode="auto">
            <a:xfrm>
              <a:off x="14775929" y="4630243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76" name="iconfont-11894-5689857"/>
            <p:cNvSpPr>
              <a:spLocks noChangeAspect="1"/>
            </p:cNvSpPr>
            <p:nvPr userDrawn="1"/>
          </p:nvSpPr>
          <p:spPr bwMode="auto">
            <a:xfrm>
              <a:off x="15995299" y="4617245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7" name="iconfont-11894-5689857"/>
            <p:cNvSpPr>
              <a:spLocks noChangeAspect="1"/>
            </p:cNvSpPr>
            <p:nvPr userDrawn="1"/>
          </p:nvSpPr>
          <p:spPr bwMode="auto">
            <a:xfrm>
              <a:off x="17214969" y="459457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8" name="iconfont-11894-5689857"/>
            <p:cNvSpPr>
              <a:spLocks noChangeAspect="1"/>
            </p:cNvSpPr>
            <p:nvPr userDrawn="1"/>
          </p:nvSpPr>
          <p:spPr bwMode="auto">
            <a:xfrm>
              <a:off x="18434538" y="4594574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3" name="iconfont-11894-5689857"/>
            <p:cNvSpPr>
              <a:spLocks noChangeAspect="1"/>
            </p:cNvSpPr>
            <p:nvPr userDrawn="1"/>
          </p:nvSpPr>
          <p:spPr bwMode="auto">
            <a:xfrm>
              <a:off x="19653408" y="4670772"/>
              <a:ext cx="609685" cy="457288"/>
            </a:xfrm>
            <a:custGeom>
              <a:avLst/>
              <a:gdLst>
                <a:gd name="T0" fmla="*/ 5520 w 12800"/>
                <a:gd name="T1" fmla="*/ 1120 h 9600"/>
                <a:gd name="T2" fmla="*/ 5680 w 12800"/>
                <a:gd name="T3" fmla="*/ 160 h 9600"/>
                <a:gd name="T4" fmla="*/ 9440 w 12800"/>
                <a:gd name="T5" fmla="*/ 640 h 9600"/>
                <a:gd name="T6" fmla="*/ 12080 w 12800"/>
                <a:gd name="T7" fmla="*/ 1600 h 9600"/>
                <a:gd name="T8" fmla="*/ 8880 w 12800"/>
                <a:gd name="T9" fmla="*/ 6880 h 9600"/>
                <a:gd name="T10" fmla="*/ 8720 w 12800"/>
                <a:gd name="T11" fmla="*/ 8400 h 9600"/>
                <a:gd name="T12" fmla="*/ 6560 w 12800"/>
                <a:gd name="T13" fmla="*/ 9040 h 9600"/>
                <a:gd name="T14" fmla="*/ 4720 w 12800"/>
                <a:gd name="T15" fmla="*/ 8080 h 9600"/>
                <a:gd name="T16" fmla="*/ 4080 w 12800"/>
                <a:gd name="T17" fmla="*/ 8640 h 9600"/>
                <a:gd name="T18" fmla="*/ 2080 w 12800"/>
                <a:gd name="T19" fmla="*/ 8400 h 9600"/>
                <a:gd name="T20" fmla="*/ 1280 w 12800"/>
                <a:gd name="T21" fmla="*/ 6400 h 9600"/>
                <a:gd name="T22" fmla="*/ 720 w 12800"/>
                <a:gd name="T23" fmla="*/ 4160 h 9600"/>
                <a:gd name="T24" fmla="*/ 1520 w 12800"/>
                <a:gd name="T25" fmla="*/ 2960 h 9600"/>
                <a:gd name="T26" fmla="*/ 1360 w 12800"/>
                <a:gd name="T27" fmla="*/ 3920 h 9600"/>
                <a:gd name="T28" fmla="*/ 5120 w 12800"/>
                <a:gd name="T29" fmla="*/ 1600 h 9600"/>
                <a:gd name="T30" fmla="*/ 6160 w 12800"/>
                <a:gd name="T31" fmla="*/ 1360 h 9600"/>
                <a:gd name="T32" fmla="*/ 5360 w 12800"/>
                <a:gd name="T33" fmla="*/ 1840 h 9600"/>
                <a:gd name="T34" fmla="*/ 4800 w 12800"/>
                <a:gd name="T35" fmla="*/ 4240 h 9600"/>
                <a:gd name="T36" fmla="*/ 6480 w 12800"/>
                <a:gd name="T37" fmla="*/ 5520 h 9600"/>
                <a:gd name="T38" fmla="*/ 6800 w 12800"/>
                <a:gd name="T39" fmla="*/ 5840 h 9600"/>
                <a:gd name="T40" fmla="*/ 3920 w 12800"/>
                <a:gd name="T41" fmla="*/ 5440 h 9600"/>
                <a:gd name="T42" fmla="*/ 1840 w 12800"/>
                <a:gd name="T43" fmla="*/ 4480 h 9600"/>
                <a:gd name="T44" fmla="*/ 2320 w 12800"/>
                <a:gd name="T45" fmla="*/ 8800 h 9600"/>
                <a:gd name="T46" fmla="*/ 3760 w 12800"/>
                <a:gd name="T47" fmla="*/ 8160 h 9600"/>
                <a:gd name="T48" fmla="*/ 5520 w 12800"/>
                <a:gd name="T49" fmla="*/ 7440 h 9600"/>
                <a:gd name="T50" fmla="*/ 5840 w 12800"/>
                <a:gd name="T51" fmla="*/ 7680 h 9600"/>
                <a:gd name="T52" fmla="*/ 5040 w 12800"/>
                <a:gd name="T53" fmla="*/ 8160 h 9600"/>
                <a:gd name="T54" fmla="*/ 6320 w 12800"/>
                <a:gd name="T55" fmla="*/ 8720 h 9600"/>
                <a:gd name="T56" fmla="*/ 7520 w 12800"/>
                <a:gd name="T57" fmla="*/ 7520 h 9600"/>
                <a:gd name="T58" fmla="*/ 8320 w 12800"/>
                <a:gd name="T59" fmla="*/ 5920 h 9600"/>
                <a:gd name="T60" fmla="*/ 8800 w 12800"/>
                <a:gd name="T61" fmla="*/ 5280 h 9600"/>
                <a:gd name="T62" fmla="*/ 8400 w 12800"/>
                <a:gd name="T63" fmla="*/ 5680 h 9600"/>
                <a:gd name="T64" fmla="*/ 9120 w 12800"/>
                <a:gd name="T65" fmla="*/ 5120 h 9600"/>
                <a:gd name="T66" fmla="*/ 12080 w 12800"/>
                <a:gd name="T67" fmla="*/ 2080 h 9600"/>
                <a:gd name="T68" fmla="*/ 10720 w 12800"/>
                <a:gd name="T69" fmla="*/ 4160 h 9600"/>
                <a:gd name="T70" fmla="*/ 10480 w 12800"/>
                <a:gd name="T71" fmla="*/ 3280 h 9600"/>
                <a:gd name="T72" fmla="*/ 10240 w 12800"/>
                <a:gd name="T73" fmla="*/ 3200 h 9600"/>
                <a:gd name="T74" fmla="*/ 10240 w 12800"/>
                <a:gd name="T75" fmla="*/ 2800 h 9600"/>
                <a:gd name="T76" fmla="*/ 10160 w 12800"/>
                <a:gd name="T77" fmla="*/ 2480 h 9600"/>
                <a:gd name="T78" fmla="*/ 10320 w 12800"/>
                <a:gd name="T79" fmla="*/ 2240 h 9600"/>
                <a:gd name="T80" fmla="*/ 10160 w 12800"/>
                <a:gd name="T81" fmla="*/ 1600 h 9600"/>
                <a:gd name="T82" fmla="*/ 9360 w 12800"/>
                <a:gd name="T83" fmla="*/ 960 h 9600"/>
                <a:gd name="T84" fmla="*/ 7760 w 12800"/>
                <a:gd name="T85" fmla="*/ 2720 h 9600"/>
                <a:gd name="T86" fmla="*/ 6640 w 12800"/>
                <a:gd name="T87" fmla="*/ 1920 h 9600"/>
                <a:gd name="T88" fmla="*/ 5200 w 12800"/>
                <a:gd name="T89" fmla="*/ 3360 h 9600"/>
                <a:gd name="T90" fmla="*/ 6000 w 12800"/>
                <a:gd name="T91" fmla="*/ 1920 h 9600"/>
                <a:gd name="T92" fmla="*/ 11520 w 12800"/>
                <a:gd name="T93" fmla="*/ 2400 h 9600"/>
                <a:gd name="T94" fmla="*/ 9040 w 12800"/>
                <a:gd name="T95" fmla="*/ 2720 h 9600"/>
                <a:gd name="T96" fmla="*/ 8480 w 12800"/>
                <a:gd name="T97" fmla="*/ 3680 h 9600"/>
                <a:gd name="T98" fmla="*/ 8000 w 12800"/>
                <a:gd name="T99" fmla="*/ 3360 h 9600"/>
                <a:gd name="T100" fmla="*/ 9120 w 12800"/>
                <a:gd name="T101" fmla="*/ 2480 h 9600"/>
                <a:gd name="T102" fmla="*/ 160 w 12800"/>
                <a:gd name="T103" fmla="*/ 4160 h 9600"/>
                <a:gd name="T104" fmla="*/ 480 w 12800"/>
                <a:gd name="T105" fmla="*/ 3120 h 9600"/>
                <a:gd name="T106" fmla="*/ 1120 w 12800"/>
                <a:gd name="T107" fmla="*/ 3440 h 9600"/>
                <a:gd name="T108" fmla="*/ 1120 w 12800"/>
                <a:gd name="T109" fmla="*/ 3440 h 9600"/>
                <a:gd name="T110" fmla="*/ 1200 w 12800"/>
                <a:gd name="T111" fmla="*/ 4480 h 9600"/>
                <a:gd name="T112" fmla="*/ 9760 w 12800"/>
                <a:gd name="T113" fmla="*/ 6320 h 9600"/>
                <a:gd name="T114" fmla="*/ 1360 w 12800"/>
                <a:gd name="T115" fmla="*/ 7600 h 9600"/>
                <a:gd name="T116" fmla="*/ 8000 w 12800"/>
                <a:gd name="T117" fmla="*/ 7440 h 9600"/>
                <a:gd name="T118" fmla="*/ 8400 w 12800"/>
                <a:gd name="T119" fmla="*/ 8240 h 9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800" h="9600">
                  <a:moveTo>
                    <a:pt x="6480" y="0"/>
                  </a:moveTo>
                  <a:lnTo>
                    <a:pt x="6480" y="0"/>
                  </a:lnTo>
                  <a:lnTo>
                    <a:pt x="6480" y="0"/>
                  </a:lnTo>
                  <a:cubicBezTo>
                    <a:pt x="6560" y="0"/>
                    <a:pt x="6560" y="0"/>
                    <a:pt x="6560" y="80"/>
                  </a:cubicBezTo>
                  <a:cubicBezTo>
                    <a:pt x="6560" y="80"/>
                    <a:pt x="6560" y="160"/>
                    <a:pt x="6480" y="160"/>
                  </a:cubicBezTo>
                  <a:cubicBezTo>
                    <a:pt x="6000" y="400"/>
                    <a:pt x="5840" y="560"/>
                    <a:pt x="5600" y="1040"/>
                  </a:cubicBezTo>
                  <a:lnTo>
                    <a:pt x="5520" y="1120"/>
                  </a:lnTo>
                  <a:cubicBezTo>
                    <a:pt x="5440" y="1120"/>
                    <a:pt x="5440" y="1120"/>
                    <a:pt x="5440" y="1040"/>
                  </a:cubicBezTo>
                  <a:lnTo>
                    <a:pt x="5440" y="1040"/>
                  </a:lnTo>
                  <a:cubicBezTo>
                    <a:pt x="5440" y="880"/>
                    <a:pt x="5520" y="720"/>
                    <a:pt x="5600" y="640"/>
                  </a:cubicBezTo>
                  <a:lnTo>
                    <a:pt x="5600" y="640"/>
                  </a:lnTo>
                  <a:cubicBezTo>
                    <a:pt x="5520" y="640"/>
                    <a:pt x="5520" y="640"/>
                    <a:pt x="5520" y="560"/>
                  </a:cubicBezTo>
                  <a:lnTo>
                    <a:pt x="5520" y="560"/>
                  </a:lnTo>
                  <a:cubicBezTo>
                    <a:pt x="5520" y="400"/>
                    <a:pt x="5600" y="240"/>
                    <a:pt x="5680" y="160"/>
                  </a:cubicBezTo>
                  <a:cubicBezTo>
                    <a:pt x="5760" y="80"/>
                    <a:pt x="5840" y="80"/>
                    <a:pt x="6000" y="0"/>
                  </a:cubicBezTo>
                  <a:lnTo>
                    <a:pt x="6000" y="0"/>
                  </a:lnTo>
                  <a:cubicBezTo>
                    <a:pt x="6000" y="0"/>
                    <a:pt x="6080" y="0"/>
                    <a:pt x="6080" y="80"/>
                  </a:cubicBezTo>
                  <a:cubicBezTo>
                    <a:pt x="6160" y="80"/>
                    <a:pt x="6320" y="0"/>
                    <a:pt x="6480" y="0"/>
                  </a:cubicBezTo>
                  <a:close/>
                  <a:moveTo>
                    <a:pt x="8160" y="80"/>
                  </a:moveTo>
                  <a:lnTo>
                    <a:pt x="8160" y="80"/>
                  </a:lnTo>
                  <a:cubicBezTo>
                    <a:pt x="8640" y="80"/>
                    <a:pt x="9040" y="320"/>
                    <a:pt x="9440" y="640"/>
                  </a:cubicBezTo>
                  <a:cubicBezTo>
                    <a:pt x="9760" y="880"/>
                    <a:pt x="10000" y="1120"/>
                    <a:pt x="10240" y="1280"/>
                  </a:cubicBezTo>
                  <a:cubicBezTo>
                    <a:pt x="10400" y="1360"/>
                    <a:pt x="10560" y="1440"/>
                    <a:pt x="10640" y="1600"/>
                  </a:cubicBezTo>
                  <a:cubicBezTo>
                    <a:pt x="10800" y="1760"/>
                    <a:pt x="10880" y="1920"/>
                    <a:pt x="10960" y="2160"/>
                  </a:cubicBezTo>
                  <a:cubicBezTo>
                    <a:pt x="11040" y="2160"/>
                    <a:pt x="11120" y="2080"/>
                    <a:pt x="11200" y="2000"/>
                  </a:cubicBezTo>
                  <a:cubicBezTo>
                    <a:pt x="11280" y="1920"/>
                    <a:pt x="11360" y="1760"/>
                    <a:pt x="11520" y="1600"/>
                  </a:cubicBezTo>
                  <a:lnTo>
                    <a:pt x="11920" y="1600"/>
                  </a:lnTo>
                  <a:lnTo>
                    <a:pt x="12080" y="1600"/>
                  </a:lnTo>
                  <a:cubicBezTo>
                    <a:pt x="12240" y="1680"/>
                    <a:pt x="12320" y="1760"/>
                    <a:pt x="12400" y="1840"/>
                  </a:cubicBezTo>
                  <a:cubicBezTo>
                    <a:pt x="12720" y="2480"/>
                    <a:pt x="12800" y="3440"/>
                    <a:pt x="12800" y="4080"/>
                  </a:cubicBezTo>
                  <a:cubicBezTo>
                    <a:pt x="12720" y="4800"/>
                    <a:pt x="12400" y="5520"/>
                    <a:pt x="11760" y="5920"/>
                  </a:cubicBezTo>
                  <a:cubicBezTo>
                    <a:pt x="11360" y="6160"/>
                    <a:pt x="10720" y="6160"/>
                    <a:pt x="10240" y="6080"/>
                  </a:cubicBezTo>
                  <a:cubicBezTo>
                    <a:pt x="10240" y="6160"/>
                    <a:pt x="10160" y="6240"/>
                    <a:pt x="10160" y="6320"/>
                  </a:cubicBezTo>
                  <a:cubicBezTo>
                    <a:pt x="10080" y="6720"/>
                    <a:pt x="9680" y="6960"/>
                    <a:pt x="9280" y="6960"/>
                  </a:cubicBezTo>
                  <a:cubicBezTo>
                    <a:pt x="9120" y="6960"/>
                    <a:pt x="8960" y="6960"/>
                    <a:pt x="8880" y="6880"/>
                  </a:cubicBezTo>
                  <a:cubicBezTo>
                    <a:pt x="8720" y="6800"/>
                    <a:pt x="8640" y="6720"/>
                    <a:pt x="8560" y="6640"/>
                  </a:cubicBezTo>
                  <a:lnTo>
                    <a:pt x="8320" y="6400"/>
                  </a:lnTo>
                  <a:lnTo>
                    <a:pt x="8320" y="6400"/>
                  </a:lnTo>
                  <a:cubicBezTo>
                    <a:pt x="8400" y="6560"/>
                    <a:pt x="8480" y="6720"/>
                    <a:pt x="8480" y="6880"/>
                  </a:cubicBezTo>
                  <a:cubicBezTo>
                    <a:pt x="8560" y="7040"/>
                    <a:pt x="8640" y="7200"/>
                    <a:pt x="8640" y="7440"/>
                  </a:cubicBezTo>
                  <a:lnTo>
                    <a:pt x="8640" y="8000"/>
                  </a:lnTo>
                  <a:cubicBezTo>
                    <a:pt x="8720" y="8160"/>
                    <a:pt x="8720" y="8240"/>
                    <a:pt x="8720" y="8400"/>
                  </a:cubicBezTo>
                  <a:cubicBezTo>
                    <a:pt x="8720" y="8560"/>
                    <a:pt x="8640" y="8720"/>
                    <a:pt x="8560" y="8800"/>
                  </a:cubicBezTo>
                  <a:lnTo>
                    <a:pt x="8080" y="8800"/>
                  </a:lnTo>
                  <a:lnTo>
                    <a:pt x="7440" y="8800"/>
                  </a:lnTo>
                  <a:lnTo>
                    <a:pt x="7200" y="8800"/>
                  </a:lnTo>
                  <a:cubicBezTo>
                    <a:pt x="7120" y="8800"/>
                    <a:pt x="7120" y="8800"/>
                    <a:pt x="7040" y="8720"/>
                  </a:cubicBezTo>
                  <a:cubicBezTo>
                    <a:pt x="6960" y="8800"/>
                    <a:pt x="6880" y="8880"/>
                    <a:pt x="6720" y="8960"/>
                  </a:cubicBezTo>
                  <a:cubicBezTo>
                    <a:pt x="6640" y="9040"/>
                    <a:pt x="6640" y="9040"/>
                    <a:pt x="6560" y="9040"/>
                  </a:cubicBezTo>
                  <a:lnTo>
                    <a:pt x="6480" y="9120"/>
                  </a:lnTo>
                  <a:cubicBezTo>
                    <a:pt x="6400" y="9200"/>
                    <a:pt x="6400" y="9280"/>
                    <a:pt x="6400" y="9280"/>
                  </a:cubicBezTo>
                  <a:cubicBezTo>
                    <a:pt x="6320" y="9360"/>
                    <a:pt x="6320" y="9440"/>
                    <a:pt x="6160" y="9440"/>
                  </a:cubicBezTo>
                  <a:cubicBezTo>
                    <a:pt x="5920" y="9600"/>
                    <a:pt x="5600" y="9600"/>
                    <a:pt x="5440" y="9440"/>
                  </a:cubicBezTo>
                  <a:cubicBezTo>
                    <a:pt x="5280" y="9360"/>
                    <a:pt x="5120" y="9120"/>
                    <a:pt x="4960" y="8880"/>
                  </a:cubicBezTo>
                  <a:cubicBezTo>
                    <a:pt x="4960" y="8800"/>
                    <a:pt x="4800" y="8640"/>
                    <a:pt x="4720" y="8400"/>
                  </a:cubicBezTo>
                  <a:cubicBezTo>
                    <a:pt x="4720" y="8320"/>
                    <a:pt x="4640" y="8160"/>
                    <a:pt x="4720" y="8080"/>
                  </a:cubicBezTo>
                  <a:cubicBezTo>
                    <a:pt x="4720" y="8000"/>
                    <a:pt x="4800" y="7920"/>
                    <a:pt x="4880" y="7840"/>
                  </a:cubicBezTo>
                  <a:lnTo>
                    <a:pt x="4960" y="7840"/>
                  </a:lnTo>
                  <a:lnTo>
                    <a:pt x="4320" y="7840"/>
                  </a:lnTo>
                  <a:lnTo>
                    <a:pt x="4320" y="7840"/>
                  </a:lnTo>
                  <a:lnTo>
                    <a:pt x="4320" y="8080"/>
                  </a:lnTo>
                  <a:cubicBezTo>
                    <a:pt x="4320" y="8160"/>
                    <a:pt x="4240" y="8240"/>
                    <a:pt x="4240" y="8320"/>
                  </a:cubicBezTo>
                  <a:cubicBezTo>
                    <a:pt x="4160" y="8400"/>
                    <a:pt x="4160" y="8480"/>
                    <a:pt x="4080" y="8640"/>
                  </a:cubicBezTo>
                  <a:lnTo>
                    <a:pt x="4080" y="9120"/>
                  </a:lnTo>
                  <a:cubicBezTo>
                    <a:pt x="4080" y="9280"/>
                    <a:pt x="3920" y="9360"/>
                    <a:pt x="3840" y="9360"/>
                  </a:cubicBezTo>
                  <a:cubicBezTo>
                    <a:pt x="3760" y="9440"/>
                    <a:pt x="3600" y="9440"/>
                    <a:pt x="3440" y="9360"/>
                  </a:cubicBezTo>
                  <a:cubicBezTo>
                    <a:pt x="3200" y="9360"/>
                    <a:pt x="2880" y="9280"/>
                    <a:pt x="2800" y="9200"/>
                  </a:cubicBezTo>
                  <a:cubicBezTo>
                    <a:pt x="2640" y="9120"/>
                    <a:pt x="2400" y="9120"/>
                    <a:pt x="2240" y="8960"/>
                  </a:cubicBezTo>
                  <a:cubicBezTo>
                    <a:pt x="2160" y="8880"/>
                    <a:pt x="2080" y="8800"/>
                    <a:pt x="2080" y="8720"/>
                  </a:cubicBezTo>
                  <a:lnTo>
                    <a:pt x="2080" y="8400"/>
                  </a:lnTo>
                  <a:cubicBezTo>
                    <a:pt x="2080" y="8320"/>
                    <a:pt x="2160" y="8240"/>
                    <a:pt x="2160" y="8240"/>
                  </a:cubicBezTo>
                  <a:cubicBezTo>
                    <a:pt x="2000" y="8240"/>
                    <a:pt x="1840" y="8240"/>
                    <a:pt x="1680" y="8160"/>
                  </a:cubicBezTo>
                  <a:cubicBezTo>
                    <a:pt x="1520" y="8080"/>
                    <a:pt x="1280" y="7920"/>
                    <a:pt x="1200" y="7840"/>
                  </a:cubicBezTo>
                  <a:cubicBezTo>
                    <a:pt x="880" y="7680"/>
                    <a:pt x="800" y="7440"/>
                    <a:pt x="720" y="7200"/>
                  </a:cubicBezTo>
                  <a:lnTo>
                    <a:pt x="720" y="6960"/>
                  </a:lnTo>
                  <a:cubicBezTo>
                    <a:pt x="720" y="6880"/>
                    <a:pt x="800" y="6880"/>
                    <a:pt x="880" y="6800"/>
                  </a:cubicBezTo>
                  <a:lnTo>
                    <a:pt x="1280" y="6400"/>
                  </a:lnTo>
                  <a:cubicBezTo>
                    <a:pt x="1360" y="6240"/>
                    <a:pt x="1360" y="6160"/>
                    <a:pt x="1440" y="6000"/>
                  </a:cubicBezTo>
                  <a:cubicBezTo>
                    <a:pt x="1440" y="5920"/>
                    <a:pt x="1440" y="5840"/>
                    <a:pt x="1360" y="5680"/>
                  </a:cubicBezTo>
                  <a:lnTo>
                    <a:pt x="1360" y="4720"/>
                  </a:lnTo>
                  <a:cubicBezTo>
                    <a:pt x="1280" y="4800"/>
                    <a:pt x="1200" y="4800"/>
                    <a:pt x="1120" y="4800"/>
                  </a:cubicBezTo>
                  <a:cubicBezTo>
                    <a:pt x="960" y="4720"/>
                    <a:pt x="880" y="4640"/>
                    <a:pt x="800" y="4480"/>
                  </a:cubicBezTo>
                  <a:cubicBezTo>
                    <a:pt x="800" y="4400"/>
                    <a:pt x="720" y="4320"/>
                    <a:pt x="720" y="4160"/>
                  </a:cubicBezTo>
                  <a:lnTo>
                    <a:pt x="720" y="4160"/>
                  </a:lnTo>
                  <a:cubicBezTo>
                    <a:pt x="560" y="4080"/>
                    <a:pt x="560" y="3920"/>
                    <a:pt x="560" y="3760"/>
                  </a:cubicBezTo>
                  <a:cubicBezTo>
                    <a:pt x="560" y="3600"/>
                    <a:pt x="640" y="3440"/>
                    <a:pt x="800" y="3360"/>
                  </a:cubicBezTo>
                  <a:cubicBezTo>
                    <a:pt x="880" y="3200"/>
                    <a:pt x="1040" y="3120"/>
                    <a:pt x="1120" y="3040"/>
                  </a:cubicBezTo>
                  <a:cubicBezTo>
                    <a:pt x="1280" y="2960"/>
                    <a:pt x="1360" y="2880"/>
                    <a:pt x="1440" y="2880"/>
                  </a:cubicBezTo>
                  <a:lnTo>
                    <a:pt x="1440" y="2880"/>
                  </a:lnTo>
                  <a:cubicBezTo>
                    <a:pt x="1520" y="2880"/>
                    <a:pt x="1520" y="2880"/>
                    <a:pt x="1520" y="2960"/>
                  </a:cubicBezTo>
                  <a:lnTo>
                    <a:pt x="1520" y="2960"/>
                  </a:lnTo>
                  <a:cubicBezTo>
                    <a:pt x="1520" y="3040"/>
                    <a:pt x="1440" y="3120"/>
                    <a:pt x="1440" y="3200"/>
                  </a:cubicBezTo>
                  <a:cubicBezTo>
                    <a:pt x="1600" y="3280"/>
                    <a:pt x="1600" y="3360"/>
                    <a:pt x="1600" y="3440"/>
                  </a:cubicBezTo>
                  <a:lnTo>
                    <a:pt x="1600" y="3760"/>
                  </a:lnTo>
                  <a:lnTo>
                    <a:pt x="1520" y="3840"/>
                  </a:lnTo>
                  <a:lnTo>
                    <a:pt x="1440" y="3840"/>
                  </a:lnTo>
                  <a:cubicBezTo>
                    <a:pt x="1440" y="3760"/>
                    <a:pt x="1360" y="3760"/>
                    <a:pt x="1360" y="3760"/>
                  </a:cubicBezTo>
                  <a:lnTo>
                    <a:pt x="1360" y="3920"/>
                  </a:lnTo>
                  <a:cubicBezTo>
                    <a:pt x="1360" y="4000"/>
                    <a:pt x="1280" y="4080"/>
                    <a:pt x="1200" y="4160"/>
                  </a:cubicBezTo>
                  <a:lnTo>
                    <a:pt x="1200" y="4160"/>
                  </a:lnTo>
                  <a:lnTo>
                    <a:pt x="1280" y="4160"/>
                  </a:lnTo>
                  <a:cubicBezTo>
                    <a:pt x="1440" y="4080"/>
                    <a:pt x="1600" y="3920"/>
                    <a:pt x="1760" y="3760"/>
                  </a:cubicBezTo>
                  <a:cubicBezTo>
                    <a:pt x="1920" y="3440"/>
                    <a:pt x="2080" y="3200"/>
                    <a:pt x="2400" y="2960"/>
                  </a:cubicBezTo>
                  <a:cubicBezTo>
                    <a:pt x="3040" y="2400"/>
                    <a:pt x="3680" y="2160"/>
                    <a:pt x="4720" y="2000"/>
                  </a:cubicBezTo>
                  <a:cubicBezTo>
                    <a:pt x="4800" y="1840"/>
                    <a:pt x="4960" y="1760"/>
                    <a:pt x="5120" y="1600"/>
                  </a:cubicBezTo>
                  <a:cubicBezTo>
                    <a:pt x="5280" y="1440"/>
                    <a:pt x="5520" y="1360"/>
                    <a:pt x="5680" y="1360"/>
                  </a:cubicBezTo>
                  <a:cubicBezTo>
                    <a:pt x="6000" y="960"/>
                    <a:pt x="6240" y="640"/>
                    <a:pt x="6800" y="400"/>
                  </a:cubicBezTo>
                  <a:cubicBezTo>
                    <a:pt x="7280" y="160"/>
                    <a:pt x="7760" y="80"/>
                    <a:pt x="8160" y="80"/>
                  </a:cubicBezTo>
                  <a:close/>
                  <a:moveTo>
                    <a:pt x="8160" y="480"/>
                  </a:moveTo>
                  <a:lnTo>
                    <a:pt x="8160" y="480"/>
                  </a:lnTo>
                  <a:cubicBezTo>
                    <a:pt x="7760" y="480"/>
                    <a:pt x="7360" y="560"/>
                    <a:pt x="6800" y="800"/>
                  </a:cubicBezTo>
                  <a:cubicBezTo>
                    <a:pt x="6480" y="960"/>
                    <a:pt x="6320" y="1120"/>
                    <a:pt x="6160" y="1360"/>
                  </a:cubicBezTo>
                  <a:lnTo>
                    <a:pt x="6800" y="1360"/>
                  </a:lnTo>
                  <a:lnTo>
                    <a:pt x="6800" y="1360"/>
                  </a:lnTo>
                  <a:cubicBezTo>
                    <a:pt x="6880" y="1360"/>
                    <a:pt x="6880" y="1360"/>
                    <a:pt x="6880" y="1440"/>
                  </a:cubicBezTo>
                  <a:cubicBezTo>
                    <a:pt x="6880" y="1440"/>
                    <a:pt x="6880" y="1520"/>
                    <a:pt x="6800" y="1520"/>
                  </a:cubicBezTo>
                  <a:cubicBezTo>
                    <a:pt x="6480" y="1520"/>
                    <a:pt x="6240" y="1600"/>
                    <a:pt x="5920" y="1600"/>
                  </a:cubicBezTo>
                  <a:cubicBezTo>
                    <a:pt x="5760" y="1600"/>
                    <a:pt x="5680" y="1600"/>
                    <a:pt x="5600" y="1680"/>
                  </a:cubicBezTo>
                  <a:cubicBezTo>
                    <a:pt x="5520" y="1680"/>
                    <a:pt x="5440" y="1760"/>
                    <a:pt x="5360" y="1840"/>
                  </a:cubicBezTo>
                  <a:cubicBezTo>
                    <a:pt x="4880" y="2320"/>
                    <a:pt x="4560" y="2800"/>
                    <a:pt x="4160" y="3200"/>
                  </a:cubicBezTo>
                  <a:cubicBezTo>
                    <a:pt x="3920" y="3440"/>
                    <a:pt x="3840" y="3680"/>
                    <a:pt x="3680" y="4000"/>
                  </a:cubicBezTo>
                  <a:cubicBezTo>
                    <a:pt x="3600" y="4080"/>
                    <a:pt x="3600" y="4160"/>
                    <a:pt x="3600" y="4240"/>
                  </a:cubicBezTo>
                  <a:cubicBezTo>
                    <a:pt x="3600" y="4320"/>
                    <a:pt x="3680" y="4400"/>
                    <a:pt x="3760" y="4480"/>
                  </a:cubicBezTo>
                  <a:cubicBezTo>
                    <a:pt x="3840" y="4720"/>
                    <a:pt x="4000" y="4880"/>
                    <a:pt x="4080" y="5040"/>
                  </a:cubicBezTo>
                  <a:cubicBezTo>
                    <a:pt x="4240" y="4800"/>
                    <a:pt x="4480" y="4560"/>
                    <a:pt x="4720" y="4240"/>
                  </a:cubicBezTo>
                  <a:lnTo>
                    <a:pt x="4800" y="4240"/>
                  </a:lnTo>
                  <a:cubicBezTo>
                    <a:pt x="4800" y="4160"/>
                    <a:pt x="4800" y="4240"/>
                    <a:pt x="4800" y="4240"/>
                  </a:cubicBezTo>
                  <a:lnTo>
                    <a:pt x="4800" y="4240"/>
                  </a:lnTo>
                  <a:cubicBezTo>
                    <a:pt x="4560" y="4640"/>
                    <a:pt x="4400" y="4960"/>
                    <a:pt x="4240" y="5280"/>
                  </a:cubicBezTo>
                  <a:cubicBezTo>
                    <a:pt x="4160" y="5520"/>
                    <a:pt x="4080" y="5600"/>
                    <a:pt x="4080" y="5760"/>
                  </a:cubicBezTo>
                  <a:cubicBezTo>
                    <a:pt x="4240" y="6000"/>
                    <a:pt x="4400" y="6080"/>
                    <a:pt x="4560" y="6160"/>
                  </a:cubicBezTo>
                  <a:cubicBezTo>
                    <a:pt x="4720" y="6240"/>
                    <a:pt x="4960" y="6240"/>
                    <a:pt x="5120" y="6080"/>
                  </a:cubicBezTo>
                  <a:cubicBezTo>
                    <a:pt x="5520" y="5840"/>
                    <a:pt x="6000" y="5520"/>
                    <a:pt x="6480" y="5520"/>
                  </a:cubicBezTo>
                  <a:cubicBezTo>
                    <a:pt x="6640" y="5120"/>
                    <a:pt x="6640" y="4560"/>
                    <a:pt x="6560" y="4000"/>
                  </a:cubicBezTo>
                  <a:cubicBezTo>
                    <a:pt x="6480" y="3600"/>
                    <a:pt x="6480" y="3200"/>
                    <a:pt x="6560" y="2720"/>
                  </a:cubicBezTo>
                  <a:lnTo>
                    <a:pt x="6640" y="2640"/>
                  </a:lnTo>
                  <a:cubicBezTo>
                    <a:pt x="6720" y="2640"/>
                    <a:pt x="6720" y="2640"/>
                    <a:pt x="6720" y="2720"/>
                  </a:cubicBezTo>
                  <a:lnTo>
                    <a:pt x="6720" y="2720"/>
                  </a:lnTo>
                  <a:cubicBezTo>
                    <a:pt x="6720" y="3120"/>
                    <a:pt x="6800" y="3520"/>
                    <a:pt x="6880" y="4000"/>
                  </a:cubicBezTo>
                  <a:cubicBezTo>
                    <a:pt x="7040" y="4640"/>
                    <a:pt x="7040" y="5200"/>
                    <a:pt x="6800" y="5840"/>
                  </a:cubicBezTo>
                  <a:lnTo>
                    <a:pt x="6720" y="5920"/>
                  </a:lnTo>
                  <a:cubicBezTo>
                    <a:pt x="6160" y="5920"/>
                    <a:pt x="5760" y="6240"/>
                    <a:pt x="5200" y="6480"/>
                  </a:cubicBezTo>
                  <a:cubicBezTo>
                    <a:pt x="4960" y="6640"/>
                    <a:pt x="4720" y="6640"/>
                    <a:pt x="4480" y="6560"/>
                  </a:cubicBezTo>
                  <a:cubicBezTo>
                    <a:pt x="4160" y="6480"/>
                    <a:pt x="4000" y="6320"/>
                    <a:pt x="3760" y="6000"/>
                  </a:cubicBezTo>
                  <a:lnTo>
                    <a:pt x="3760" y="5920"/>
                  </a:lnTo>
                  <a:lnTo>
                    <a:pt x="3760" y="5920"/>
                  </a:lnTo>
                  <a:cubicBezTo>
                    <a:pt x="3760" y="5680"/>
                    <a:pt x="3840" y="5600"/>
                    <a:pt x="3920" y="5440"/>
                  </a:cubicBezTo>
                  <a:cubicBezTo>
                    <a:pt x="3680" y="5120"/>
                    <a:pt x="3600" y="5040"/>
                    <a:pt x="3440" y="4720"/>
                  </a:cubicBezTo>
                  <a:cubicBezTo>
                    <a:pt x="3280" y="4560"/>
                    <a:pt x="3200" y="4400"/>
                    <a:pt x="3200" y="4240"/>
                  </a:cubicBezTo>
                  <a:cubicBezTo>
                    <a:pt x="3200" y="4160"/>
                    <a:pt x="3200" y="4000"/>
                    <a:pt x="3360" y="3760"/>
                  </a:cubicBezTo>
                  <a:cubicBezTo>
                    <a:pt x="3520" y="3520"/>
                    <a:pt x="3600" y="3200"/>
                    <a:pt x="3840" y="2960"/>
                  </a:cubicBezTo>
                  <a:cubicBezTo>
                    <a:pt x="4000" y="2800"/>
                    <a:pt x="4160" y="2640"/>
                    <a:pt x="4240" y="2480"/>
                  </a:cubicBezTo>
                  <a:cubicBezTo>
                    <a:pt x="3600" y="2560"/>
                    <a:pt x="3120" y="2800"/>
                    <a:pt x="2640" y="3200"/>
                  </a:cubicBezTo>
                  <a:cubicBezTo>
                    <a:pt x="2240" y="3520"/>
                    <a:pt x="2000" y="4000"/>
                    <a:pt x="1840" y="4480"/>
                  </a:cubicBezTo>
                  <a:cubicBezTo>
                    <a:pt x="1680" y="4800"/>
                    <a:pt x="1680" y="5120"/>
                    <a:pt x="1680" y="5680"/>
                  </a:cubicBezTo>
                  <a:cubicBezTo>
                    <a:pt x="1760" y="6320"/>
                    <a:pt x="2080" y="7120"/>
                    <a:pt x="2480" y="7680"/>
                  </a:cubicBezTo>
                  <a:lnTo>
                    <a:pt x="2480" y="7760"/>
                  </a:lnTo>
                  <a:lnTo>
                    <a:pt x="2480" y="7760"/>
                  </a:lnTo>
                  <a:cubicBezTo>
                    <a:pt x="2400" y="8080"/>
                    <a:pt x="2400" y="8400"/>
                    <a:pt x="2240" y="8640"/>
                  </a:cubicBezTo>
                  <a:lnTo>
                    <a:pt x="2240" y="8720"/>
                  </a:lnTo>
                  <a:lnTo>
                    <a:pt x="2320" y="8800"/>
                  </a:lnTo>
                  <a:cubicBezTo>
                    <a:pt x="2400" y="8880"/>
                    <a:pt x="2560" y="8880"/>
                    <a:pt x="2720" y="8960"/>
                  </a:cubicBezTo>
                  <a:cubicBezTo>
                    <a:pt x="2800" y="8960"/>
                    <a:pt x="3040" y="9040"/>
                    <a:pt x="3200" y="9040"/>
                  </a:cubicBezTo>
                  <a:lnTo>
                    <a:pt x="3440" y="9040"/>
                  </a:lnTo>
                  <a:cubicBezTo>
                    <a:pt x="3520" y="9040"/>
                    <a:pt x="3520" y="9040"/>
                    <a:pt x="3520" y="8960"/>
                  </a:cubicBezTo>
                  <a:lnTo>
                    <a:pt x="3520" y="8560"/>
                  </a:lnTo>
                  <a:lnTo>
                    <a:pt x="3520" y="8560"/>
                  </a:lnTo>
                  <a:cubicBezTo>
                    <a:pt x="3680" y="8320"/>
                    <a:pt x="3680" y="8320"/>
                    <a:pt x="3760" y="8160"/>
                  </a:cubicBezTo>
                  <a:cubicBezTo>
                    <a:pt x="4000" y="8080"/>
                    <a:pt x="4000" y="8000"/>
                    <a:pt x="4000" y="7840"/>
                  </a:cubicBezTo>
                  <a:lnTo>
                    <a:pt x="4000" y="7040"/>
                  </a:lnTo>
                  <a:lnTo>
                    <a:pt x="4000" y="7040"/>
                  </a:lnTo>
                  <a:cubicBezTo>
                    <a:pt x="4000" y="6960"/>
                    <a:pt x="4000" y="6960"/>
                    <a:pt x="4080" y="6960"/>
                  </a:cubicBezTo>
                  <a:cubicBezTo>
                    <a:pt x="4080" y="6960"/>
                    <a:pt x="4160" y="6960"/>
                    <a:pt x="4160" y="7040"/>
                  </a:cubicBezTo>
                  <a:cubicBezTo>
                    <a:pt x="4160" y="7120"/>
                    <a:pt x="4240" y="7280"/>
                    <a:pt x="4240" y="7440"/>
                  </a:cubicBezTo>
                  <a:cubicBezTo>
                    <a:pt x="4640" y="7520"/>
                    <a:pt x="5120" y="7520"/>
                    <a:pt x="5520" y="7440"/>
                  </a:cubicBezTo>
                  <a:lnTo>
                    <a:pt x="5520" y="7360"/>
                  </a:lnTo>
                  <a:cubicBezTo>
                    <a:pt x="5520" y="7200"/>
                    <a:pt x="5600" y="7120"/>
                    <a:pt x="5680" y="7040"/>
                  </a:cubicBezTo>
                  <a:lnTo>
                    <a:pt x="5760" y="6960"/>
                  </a:lnTo>
                  <a:cubicBezTo>
                    <a:pt x="5840" y="6960"/>
                    <a:pt x="5840" y="6960"/>
                    <a:pt x="5840" y="7040"/>
                  </a:cubicBezTo>
                  <a:lnTo>
                    <a:pt x="5840" y="7040"/>
                  </a:lnTo>
                  <a:lnTo>
                    <a:pt x="5840" y="7360"/>
                  </a:lnTo>
                  <a:lnTo>
                    <a:pt x="5840" y="7680"/>
                  </a:lnTo>
                  <a:lnTo>
                    <a:pt x="5840" y="7840"/>
                  </a:lnTo>
                  <a:lnTo>
                    <a:pt x="5840" y="7840"/>
                  </a:lnTo>
                  <a:cubicBezTo>
                    <a:pt x="5840" y="7920"/>
                    <a:pt x="5840" y="7920"/>
                    <a:pt x="5760" y="7920"/>
                  </a:cubicBezTo>
                  <a:cubicBezTo>
                    <a:pt x="5760" y="7920"/>
                    <a:pt x="5680" y="7920"/>
                    <a:pt x="5680" y="7840"/>
                  </a:cubicBezTo>
                  <a:lnTo>
                    <a:pt x="5600" y="7760"/>
                  </a:lnTo>
                  <a:cubicBezTo>
                    <a:pt x="5440" y="7840"/>
                    <a:pt x="5280" y="7920"/>
                    <a:pt x="5120" y="8080"/>
                  </a:cubicBezTo>
                  <a:lnTo>
                    <a:pt x="5040" y="8160"/>
                  </a:lnTo>
                  <a:lnTo>
                    <a:pt x="5040" y="8320"/>
                  </a:lnTo>
                  <a:cubicBezTo>
                    <a:pt x="5120" y="8480"/>
                    <a:pt x="5200" y="8560"/>
                    <a:pt x="5200" y="8640"/>
                  </a:cubicBezTo>
                  <a:cubicBezTo>
                    <a:pt x="5280" y="8800"/>
                    <a:pt x="5440" y="8960"/>
                    <a:pt x="5520" y="9040"/>
                  </a:cubicBezTo>
                  <a:cubicBezTo>
                    <a:pt x="5600" y="9120"/>
                    <a:pt x="5760" y="9200"/>
                    <a:pt x="5920" y="9120"/>
                  </a:cubicBezTo>
                  <a:cubicBezTo>
                    <a:pt x="6000" y="9040"/>
                    <a:pt x="6080" y="8960"/>
                    <a:pt x="6160" y="8800"/>
                  </a:cubicBezTo>
                  <a:lnTo>
                    <a:pt x="6160" y="8800"/>
                  </a:lnTo>
                  <a:cubicBezTo>
                    <a:pt x="6160" y="8800"/>
                    <a:pt x="6240" y="8720"/>
                    <a:pt x="6320" y="8720"/>
                  </a:cubicBezTo>
                  <a:cubicBezTo>
                    <a:pt x="6400" y="8640"/>
                    <a:pt x="6480" y="8560"/>
                    <a:pt x="6560" y="8560"/>
                  </a:cubicBezTo>
                  <a:cubicBezTo>
                    <a:pt x="6640" y="8480"/>
                    <a:pt x="6720" y="8400"/>
                    <a:pt x="6800" y="8400"/>
                  </a:cubicBezTo>
                  <a:cubicBezTo>
                    <a:pt x="6880" y="8320"/>
                    <a:pt x="6880" y="8320"/>
                    <a:pt x="6960" y="8320"/>
                  </a:cubicBezTo>
                  <a:lnTo>
                    <a:pt x="7040" y="8240"/>
                  </a:lnTo>
                  <a:lnTo>
                    <a:pt x="7120" y="8160"/>
                  </a:lnTo>
                  <a:cubicBezTo>
                    <a:pt x="7200" y="8000"/>
                    <a:pt x="7280" y="7920"/>
                    <a:pt x="7360" y="7840"/>
                  </a:cubicBezTo>
                  <a:cubicBezTo>
                    <a:pt x="7440" y="7760"/>
                    <a:pt x="7520" y="7600"/>
                    <a:pt x="7520" y="7520"/>
                  </a:cubicBezTo>
                  <a:cubicBezTo>
                    <a:pt x="7600" y="7440"/>
                    <a:pt x="7600" y="7360"/>
                    <a:pt x="7600" y="7280"/>
                  </a:cubicBezTo>
                  <a:cubicBezTo>
                    <a:pt x="7760" y="6880"/>
                    <a:pt x="7840" y="6560"/>
                    <a:pt x="7920" y="6160"/>
                  </a:cubicBezTo>
                  <a:cubicBezTo>
                    <a:pt x="7680" y="6000"/>
                    <a:pt x="7520" y="5920"/>
                    <a:pt x="7280" y="5680"/>
                  </a:cubicBezTo>
                  <a:lnTo>
                    <a:pt x="7280" y="5600"/>
                  </a:lnTo>
                  <a:cubicBezTo>
                    <a:pt x="7280" y="5520"/>
                    <a:pt x="7280" y="5520"/>
                    <a:pt x="7360" y="5520"/>
                  </a:cubicBezTo>
                  <a:lnTo>
                    <a:pt x="7440" y="5520"/>
                  </a:lnTo>
                  <a:cubicBezTo>
                    <a:pt x="7760" y="5760"/>
                    <a:pt x="8000" y="5840"/>
                    <a:pt x="8320" y="5920"/>
                  </a:cubicBezTo>
                  <a:lnTo>
                    <a:pt x="8320" y="5920"/>
                  </a:lnTo>
                  <a:lnTo>
                    <a:pt x="8640" y="6240"/>
                  </a:lnTo>
                  <a:lnTo>
                    <a:pt x="8880" y="6480"/>
                  </a:lnTo>
                  <a:lnTo>
                    <a:pt x="8800" y="6480"/>
                  </a:lnTo>
                  <a:cubicBezTo>
                    <a:pt x="8720" y="6400"/>
                    <a:pt x="8720" y="6320"/>
                    <a:pt x="8720" y="6240"/>
                  </a:cubicBezTo>
                  <a:cubicBezTo>
                    <a:pt x="8720" y="6080"/>
                    <a:pt x="8800" y="5920"/>
                    <a:pt x="8800" y="5760"/>
                  </a:cubicBezTo>
                  <a:cubicBezTo>
                    <a:pt x="8880" y="5600"/>
                    <a:pt x="8800" y="5440"/>
                    <a:pt x="8800" y="5280"/>
                  </a:cubicBezTo>
                  <a:lnTo>
                    <a:pt x="8800" y="5280"/>
                  </a:lnTo>
                  <a:lnTo>
                    <a:pt x="8800" y="5280"/>
                  </a:lnTo>
                  <a:lnTo>
                    <a:pt x="8800" y="5280"/>
                  </a:lnTo>
                  <a:lnTo>
                    <a:pt x="8720" y="5360"/>
                  </a:lnTo>
                  <a:cubicBezTo>
                    <a:pt x="8720" y="5440"/>
                    <a:pt x="8640" y="5520"/>
                    <a:pt x="8560" y="5680"/>
                  </a:cubicBezTo>
                  <a:lnTo>
                    <a:pt x="8480" y="5760"/>
                  </a:lnTo>
                  <a:cubicBezTo>
                    <a:pt x="8400" y="5760"/>
                    <a:pt x="8400" y="5760"/>
                    <a:pt x="8400" y="5680"/>
                  </a:cubicBezTo>
                  <a:lnTo>
                    <a:pt x="8400" y="5680"/>
                  </a:lnTo>
                  <a:cubicBezTo>
                    <a:pt x="8400" y="5600"/>
                    <a:pt x="8400" y="5520"/>
                    <a:pt x="8480" y="5440"/>
                  </a:cubicBezTo>
                  <a:cubicBezTo>
                    <a:pt x="8480" y="5360"/>
                    <a:pt x="8480" y="5280"/>
                    <a:pt x="8560" y="5200"/>
                  </a:cubicBezTo>
                  <a:cubicBezTo>
                    <a:pt x="8640" y="5120"/>
                    <a:pt x="8720" y="5120"/>
                    <a:pt x="8800" y="5120"/>
                  </a:cubicBezTo>
                  <a:cubicBezTo>
                    <a:pt x="8880" y="5120"/>
                    <a:pt x="8960" y="5120"/>
                    <a:pt x="9040" y="5040"/>
                  </a:cubicBezTo>
                  <a:lnTo>
                    <a:pt x="9040" y="5040"/>
                  </a:lnTo>
                  <a:cubicBezTo>
                    <a:pt x="9120" y="5040"/>
                    <a:pt x="9120" y="5040"/>
                    <a:pt x="9120" y="5120"/>
                  </a:cubicBezTo>
                  <a:lnTo>
                    <a:pt x="9120" y="5200"/>
                  </a:lnTo>
                  <a:cubicBezTo>
                    <a:pt x="9040" y="5200"/>
                    <a:pt x="8960" y="5280"/>
                    <a:pt x="8880" y="5280"/>
                  </a:cubicBezTo>
                  <a:lnTo>
                    <a:pt x="8880" y="5280"/>
                  </a:lnTo>
                  <a:cubicBezTo>
                    <a:pt x="9040" y="5360"/>
                    <a:pt x="9120" y="5440"/>
                    <a:pt x="9280" y="5440"/>
                  </a:cubicBezTo>
                  <a:cubicBezTo>
                    <a:pt x="10000" y="5680"/>
                    <a:pt x="10720" y="5920"/>
                    <a:pt x="11440" y="5520"/>
                  </a:cubicBezTo>
                  <a:cubicBezTo>
                    <a:pt x="11920" y="5200"/>
                    <a:pt x="12240" y="4560"/>
                    <a:pt x="12320" y="4000"/>
                  </a:cubicBezTo>
                  <a:cubicBezTo>
                    <a:pt x="12400" y="3440"/>
                    <a:pt x="12240" y="2640"/>
                    <a:pt x="12080" y="2080"/>
                  </a:cubicBezTo>
                  <a:cubicBezTo>
                    <a:pt x="12080" y="2080"/>
                    <a:pt x="12080" y="2000"/>
                    <a:pt x="12000" y="2000"/>
                  </a:cubicBezTo>
                  <a:cubicBezTo>
                    <a:pt x="11920" y="2320"/>
                    <a:pt x="11760" y="2560"/>
                    <a:pt x="11360" y="2640"/>
                  </a:cubicBezTo>
                  <a:lnTo>
                    <a:pt x="11120" y="2640"/>
                  </a:lnTo>
                  <a:cubicBezTo>
                    <a:pt x="11040" y="2640"/>
                    <a:pt x="11040" y="2640"/>
                    <a:pt x="10960" y="2560"/>
                  </a:cubicBezTo>
                  <a:lnTo>
                    <a:pt x="10960" y="2640"/>
                  </a:lnTo>
                  <a:cubicBezTo>
                    <a:pt x="11040" y="2880"/>
                    <a:pt x="11040" y="3200"/>
                    <a:pt x="10960" y="3440"/>
                  </a:cubicBezTo>
                  <a:cubicBezTo>
                    <a:pt x="10880" y="3680"/>
                    <a:pt x="10880" y="3920"/>
                    <a:pt x="10720" y="4160"/>
                  </a:cubicBezTo>
                  <a:lnTo>
                    <a:pt x="10640" y="4160"/>
                  </a:lnTo>
                  <a:cubicBezTo>
                    <a:pt x="10560" y="4160"/>
                    <a:pt x="10560" y="4160"/>
                    <a:pt x="10560" y="4080"/>
                  </a:cubicBezTo>
                  <a:lnTo>
                    <a:pt x="10560" y="4080"/>
                  </a:lnTo>
                  <a:cubicBezTo>
                    <a:pt x="10560" y="4000"/>
                    <a:pt x="10640" y="3680"/>
                    <a:pt x="10640" y="3440"/>
                  </a:cubicBezTo>
                  <a:lnTo>
                    <a:pt x="10640" y="3120"/>
                  </a:lnTo>
                  <a:cubicBezTo>
                    <a:pt x="10640" y="3120"/>
                    <a:pt x="10560" y="3120"/>
                    <a:pt x="10560" y="3200"/>
                  </a:cubicBezTo>
                  <a:cubicBezTo>
                    <a:pt x="10480" y="3200"/>
                    <a:pt x="10480" y="3280"/>
                    <a:pt x="10480" y="3280"/>
                  </a:cubicBezTo>
                  <a:cubicBezTo>
                    <a:pt x="10400" y="3520"/>
                    <a:pt x="10400" y="3680"/>
                    <a:pt x="10240" y="3920"/>
                  </a:cubicBezTo>
                  <a:lnTo>
                    <a:pt x="10160" y="4000"/>
                  </a:lnTo>
                  <a:cubicBezTo>
                    <a:pt x="10080" y="4000"/>
                    <a:pt x="10080" y="4000"/>
                    <a:pt x="10080" y="3920"/>
                  </a:cubicBezTo>
                  <a:lnTo>
                    <a:pt x="10080" y="3920"/>
                  </a:lnTo>
                  <a:cubicBezTo>
                    <a:pt x="10160" y="3840"/>
                    <a:pt x="10160" y="3680"/>
                    <a:pt x="10160" y="3600"/>
                  </a:cubicBezTo>
                  <a:cubicBezTo>
                    <a:pt x="10160" y="3520"/>
                    <a:pt x="10160" y="3360"/>
                    <a:pt x="10240" y="3200"/>
                  </a:cubicBezTo>
                  <a:lnTo>
                    <a:pt x="10240" y="3200"/>
                  </a:lnTo>
                  <a:cubicBezTo>
                    <a:pt x="10160" y="3200"/>
                    <a:pt x="10160" y="3280"/>
                    <a:pt x="10080" y="3360"/>
                  </a:cubicBezTo>
                  <a:cubicBezTo>
                    <a:pt x="10000" y="3440"/>
                    <a:pt x="10000" y="3600"/>
                    <a:pt x="9840" y="3760"/>
                  </a:cubicBezTo>
                  <a:lnTo>
                    <a:pt x="9760" y="3760"/>
                  </a:lnTo>
                  <a:cubicBezTo>
                    <a:pt x="9680" y="3760"/>
                    <a:pt x="9680" y="3760"/>
                    <a:pt x="9680" y="3680"/>
                  </a:cubicBezTo>
                  <a:lnTo>
                    <a:pt x="9680" y="3600"/>
                  </a:lnTo>
                  <a:cubicBezTo>
                    <a:pt x="9760" y="3440"/>
                    <a:pt x="9760" y="3280"/>
                    <a:pt x="9840" y="3120"/>
                  </a:cubicBezTo>
                  <a:cubicBezTo>
                    <a:pt x="9920" y="2960"/>
                    <a:pt x="10000" y="2880"/>
                    <a:pt x="10240" y="2800"/>
                  </a:cubicBezTo>
                  <a:lnTo>
                    <a:pt x="10400" y="2800"/>
                  </a:lnTo>
                  <a:lnTo>
                    <a:pt x="10080" y="2800"/>
                  </a:lnTo>
                  <a:lnTo>
                    <a:pt x="10080" y="2800"/>
                  </a:lnTo>
                  <a:cubicBezTo>
                    <a:pt x="10000" y="2800"/>
                    <a:pt x="10000" y="2800"/>
                    <a:pt x="10000" y="2720"/>
                  </a:cubicBezTo>
                  <a:cubicBezTo>
                    <a:pt x="10000" y="2720"/>
                    <a:pt x="10000" y="2640"/>
                    <a:pt x="10080" y="2640"/>
                  </a:cubicBezTo>
                  <a:lnTo>
                    <a:pt x="10160" y="2640"/>
                  </a:lnTo>
                  <a:cubicBezTo>
                    <a:pt x="10160" y="2560"/>
                    <a:pt x="10080" y="2560"/>
                    <a:pt x="10160" y="2480"/>
                  </a:cubicBezTo>
                  <a:lnTo>
                    <a:pt x="10160" y="2480"/>
                  </a:lnTo>
                  <a:lnTo>
                    <a:pt x="10160" y="2480"/>
                  </a:lnTo>
                  <a:lnTo>
                    <a:pt x="10000" y="2480"/>
                  </a:lnTo>
                  <a:lnTo>
                    <a:pt x="9920" y="2400"/>
                  </a:lnTo>
                  <a:cubicBezTo>
                    <a:pt x="9920" y="2400"/>
                    <a:pt x="9920" y="2320"/>
                    <a:pt x="10000" y="2320"/>
                  </a:cubicBezTo>
                  <a:cubicBezTo>
                    <a:pt x="10080" y="2320"/>
                    <a:pt x="10240" y="2240"/>
                    <a:pt x="10320" y="2240"/>
                  </a:cubicBezTo>
                  <a:lnTo>
                    <a:pt x="10320" y="2240"/>
                  </a:lnTo>
                  <a:lnTo>
                    <a:pt x="10320" y="2240"/>
                  </a:lnTo>
                  <a:lnTo>
                    <a:pt x="10320" y="2240"/>
                  </a:lnTo>
                  <a:lnTo>
                    <a:pt x="10320" y="2240"/>
                  </a:lnTo>
                  <a:cubicBezTo>
                    <a:pt x="10400" y="2240"/>
                    <a:pt x="10480" y="2160"/>
                    <a:pt x="10560" y="2160"/>
                  </a:cubicBezTo>
                  <a:lnTo>
                    <a:pt x="10640" y="2160"/>
                  </a:lnTo>
                  <a:cubicBezTo>
                    <a:pt x="10560" y="2080"/>
                    <a:pt x="10560" y="2000"/>
                    <a:pt x="10480" y="1840"/>
                  </a:cubicBezTo>
                  <a:cubicBezTo>
                    <a:pt x="10400" y="1760"/>
                    <a:pt x="10320" y="1760"/>
                    <a:pt x="10160" y="1600"/>
                  </a:cubicBezTo>
                  <a:cubicBezTo>
                    <a:pt x="10160" y="1600"/>
                    <a:pt x="10080" y="1600"/>
                    <a:pt x="10080" y="1520"/>
                  </a:cubicBezTo>
                  <a:lnTo>
                    <a:pt x="9760" y="1520"/>
                  </a:lnTo>
                  <a:lnTo>
                    <a:pt x="9760" y="1520"/>
                  </a:lnTo>
                  <a:cubicBezTo>
                    <a:pt x="9680" y="1520"/>
                    <a:pt x="9680" y="1520"/>
                    <a:pt x="9680" y="1440"/>
                  </a:cubicBezTo>
                  <a:cubicBezTo>
                    <a:pt x="9680" y="1440"/>
                    <a:pt x="9680" y="1360"/>
                    <a:pt x="9760" y="1360"/>
                  </a:cubicBezTo>
                  <a:lnTo>
                    <a:pt x="9840" y="1360"/>
                  </a:lnTo>
                  <a:cubicBezTo>
                    <a:pt x="9680" y="1200"/>
                    <a:pt x="9520" y="1120"/>
                    <a:pt x="9360" y="960"/>
                  </a:cubicBezTo>
                  <a:cubicBezTo>
                    <a:pt x="8960" y="640"/>
                    <a:pt x="8560" y="480"/>
                    <a:pt x="8160" y="480"/>
                  </a:cubicBezTo>
                  <a:close/>
                  <a:moveTo>
                    <a:pt x="8400" y="1760"/>
                  </a:moveTo>
                  <a:lnTo>
                    <a:pt x="8400" y="1760"/>
                  </a:lnTo>
                  <a:cubicBezTo>
                    <a:pt x="8480" y="1760"/>
                    <a:pt x="8480" y="1760"/>
                    <a:pt x="8480" y="1840"/>
                  </a:cubicBezTo>
                  <a:cubicBezTo>
                    <a:pt x="8480" y="1840"/>
                    <a:pt x="8480" y="1920"/>
                    <a:pt x="8400" y="1920"/>
                  </a:cubicBezTo>
                  <a:cubicBezTo>
                    <a:pt x="8000" y="2080"/>
                    <a:pt x="7920" y="2320"/>
                    <a:pt x="7840" y="2640"/>
                  </a:cubicBezTo>
                  <a:lnTo>
                    <a:pt x="7760" y="2720"/>
                  </a:lnTo>
                  <a:cubicBezTo>
                    <a:pt x="7760" y="2720"/>
                    <a:pt x="7680" y="2720"/>
                    <a:pt x="7680" y="2640"/>
                  </a:cubicBezTo>
                  <a:cubicBezTo>
                    <a:pt x="7680" y="2480"/>
                    <a:pt x="7680" y="2240"/>
                    <a:pt x="7760" y="2080"/>
                  </a:cubicBezTo>
                  <a:cubicBezTo>
                    <a:pt x="7840" y="1920"/>
                    <a:pt x="8080" y="1840"/>
                    <a:pt x="8400" y="1760"/>
                  </a:cubicBezTo>
                  <a:close/>
                  <a:moveTo>
                    <a:pt x="6640" y="1760"/>
                  </a:moveTo>
                  <a:lnTo>
                    <a:pt x="6640" y="1760"/>
                  </a:lnTo>
                  <a:cubicBezTo>
                    <a:pt x="6720" y="1760"/>
                    <a:pt x="6720" y="1760"/>
                    <a:pt x="6720" y="1840"/>
                  </a:cubicBezTo>
                  <a:cubicBezTo>
                    <a:pt x="6720" y="1840"/>
                    <a:pt x="6720" y="1920"/>
                    <a:pt x="6640" y="1920"/>
                  </a:cubicBezTo>
                  <a:cubicBezTo>
                    <a:pt x="6480" y="2000"/>
                    <a:pt x="6320" y="2080"/>
                    <a:pt x="6080" y="2160"/>
                  </a:cubicBezTo>
                  <a:cubicBezTo>
                    <a:pt x="5920" y="2400"/>
                    <a:pt x="5840" y="2480"/>
                    <a:pt x="5840" y="2800"/>
                  </a:cubicBezTo>
                  <a:lnTo>
                    <a:pt x="5760" y="2880"/>
                  </a:lnTo>
                  <a:cubicBezTo>
                    <a:pt x="5760" y="2880"/>
                    <a:pt x="5680" y="2880"/>
                    <a:pt x="5680" y="2800"/>
                  </a:cubicBezTo>
                  <a:cubicBezTo>
                    <a:pt x="5600" y="2640"/>
                    <a:pt x="5600" y="2560"/>
                    <a:pt x="5600" y="2400"/>
                  </a:cubicBezTo>
                  <a:cubicBezTo>
                    <a:pt x="5520" y="2560"/>
                    <a:pt x="5520" y="2640"/>
                    <a:pt x="5440" y="2800"/>
                  </a:cubicBezTo>
                  <a:cubicBezTo>
                    <a:pt x="5360" y="3040"/>
                    <a:pt x="5200" y="3200"/>
                    <a:pt x="5200" y="3360"/>
                  </a:cubicBezTo>
                  <a:lnTo>
                    <a:pt x="5120" y="3440"/>
                  </a:lnTo>
                  <a:cubicBezTo>
                    <a:pt x="5040" y="3440"/>
                    <a:pt x="5040" y="3440"/>
                    <a:pt x="5040" y="3360"/>
                  </a:cubicBezTo>
                  <a:lnTo>
                    <a:pt x="5040" y="3360"/>
                  </a:lnTo>
                  <a:cubicBezTo>
                    <a:pt x="5040" y="3200"/>
                    <a:pt x="5120" y="2960"/>
                    <a:pt x="5200" y="2720"/>
                  </a:cubicBezTo>
                  <a:cubicBezTo>
                    <a:pt x="5280" y="2400"/>
                    <a:pt x="5440" y="2160"/>
                    <a:pt x="5520" y="2080"/>
                  </a:cubicBezTo>
                  <a:cubicBezTo>
                    <a:pt x="5600" y="2000"/>
                    <a:pt x="5680" y="1920"/>
                    <a:pt x="5760" y="1920"/>
                  </a:cubicBezTo>
                  <a:lnTo>
                    <a:pt x="6000" y="1920"/>
                  </a:lnTo>
                  <a:cubicBezTo>
                    <a:pt x="6160" y="1840"/>
                    <a:pt x="6400" y="1840"/>
                    <a:pt x="6640" y="1760"/>
                  </a:cubicBezTo>
                  <a:close/>
                  <a:moveTo>
                    <a:pt x="11920" y="1920"/>
                  </a:moveTo>
                  <a:lnTo>
                    <a:pt x="11920" y="1920"/>
                  </a:lnTo>
                  <a:cubicBezTo>
                    <a:pt x="11760" y="2080"/>
                    <a:pt x="11680" y="2240"/>
                    <a:pt x="11520" y="2400"/>
                  </a:cubicBezTo>
                  <a:cubicBezTo>
                    <a:pt x="11440" y="2480"/>
                    <a:pt x="11360" y="2480"/>
                    <a:pt x="11360" y="2480"/>
                  </a:cubicBezTo>
                  <a:lnTo>
                    <a:pt x="11440" y="2480"/>
                  </a:lnTo>
                  <a:cubicBezTo>
                    <a:pt x="11520" y="2480"/>
                    <a:pt x="11520" y="2400"/>
                    <a:pt x="11520" y="2400"/>
                  </a:cubicBezTo>
                  <a:cubicBezTo>
                    <a:pt x="11680" y="2240"/>
                    <a:pt x="11840" y="2160"/>
                    <a:pt x="11920" y="1920"/>
                  </a:cubicBezTo>
                  <a:close/>
                  <a:moveTo>
                    <a:pt x="9120" y="2480"/>
                  </a:moveTo>
                  <a:lnTo>
                    <a:pt x="9120" y="2480"/>
                  </a:lnTo>
                  <a:lnTo>
                    <a:pt x="9120" y="2480"/>
                  </a:lnTo>
                  <a:cubicBezTo>
                    <a:pt x="9200" y="2480"/>
                    <a:pt x="9200" y="2480"/>
                    <a:pt x="9200" y="2560"/>
                  </a:cubicBezTo>
                  <a:lnTo>
                    <a:pt x="9200" y="2640"/>
                  </a:lnTo>
                  <a:cubicBezTo>
                    <a:pt x="9200" y="2640"/>
                    <a:pt x="9120" y="2720"/>
                    <a:pt x="9040" y="2720"/>
                  </a:cubicBezTo>
                  <a:lnTo>
                    <a:pt x="9200" y="2880"/>
                  </a:lnTo>
                  <a:lnTo>
                    <a:pt x="9200" y="2960"/>
                  </a:lnTo>
                  <a:cubicBezTo>
                    <a:pt x="9280" y="2960"/>
                    <a:pt x="9440" y="2880"/>
                    <a:pt x="9520" y="2880"/>
                  </a:cubicBezTo>
                  <a:lnTo>
                    <a:pt x="9520" y="2880"/>
                  </a:lnTo>
                  <a:cubicBezTo>
                    <a:pt x="9600" y="2880"/>
                    <a:pt x="9600" y="2880"/>
                    <a:pt x="9600" y="2960"/>
                  </a:cubicBezTo>
                  <a:cubicBezTo>
                    <a:pt x="9600" y="2960"/>
                    <a:pt x="9600" y="3040"/>
                    <a:pt x="9520" y="3040"/>
                  </a:cubicBezTo>
                  <a:cubicBezTo>
                    <a:pt x="9120" y="3120"/>
                    <a:pt x="8800" y="3360"/>
                    <a:pt x="8480" y="3680"/>
                  </a:cubicBezTo>
                  <a:lnTo>
                    <a:pt x="8400" y="3680"/>
                  </a:lnTo>
                  <a:cubicBezTo>
                    <a:pt x="8320" y="3680"/>
                    <a:pt x="8320" y="3680"/>
                    <a:pt x="8320" y="3600"/>
                  </a:cubicBezTo>
                  <a:lnTo>
                    <a:pt x="8320" y="3600"/>
                  </a:lnTo>
                  <a:cubicBezTo>
                    <a:pt x="8320" y="3520"/>
                    <a:pt x="8400" y="3440"/>
                    <a:pt x="8400" y="3440"/>
                  </a:cubicBezTo>
                  <a:lnTo>
                    <a:pt x="8240" y="3280"/>
                  </a:lnTo>
                  <a:lnTo>
                    <a:pt x="8240" y="3200"/>
                  </a:lnTo>
                  <a:cubicBezTo>
                    <a:pt x="8160" y="3280"/>
                    <a:pt x="8080" y="3280"/>
                    <a:pt x="8000" y="3360"/>
                  </a:cubicBezTo>
                  <a:lnTo>
                    <a:pt x="8000" y="3360"/>
                  </a:lnTo>
                  <a:cubicBezTo>
                    <a:pt x="7920" y="3360"/>
                    <a:pt x="7920" y="3360"/>
                    <a:pt x="7920" y="3280"/>
                  </a:cubicBezTo>
                  <a:lnTo>
                    <a:pt x="7920" y="3200"/>
                  </a:lnTo>
                  <a:lnTo>
                    <a:pt x="8160" y="2960"/>
                  </a:lnTo>
                  <a:cubicBezTo>
                    <a:pt x="8240" y="2880"/>
                    <a:pt x="8320" y="2720"/>
                    <a:pt x="8400" y="2720"/>
                  </a:cubicBezTo>
                  <a:cubicBezTo>
                    <a:pt x="8480" y="2640"/>
                    <a:pt x="8640" y="2640"/>
                    <a:pt x="8720" y="2640"/>
                  </a:cubicBezTo>
                  <a:cubicBezTo>
                    <a:pt x="8960" y="2560"/>
                    <a:pt x="9040" y="2480"/>
                    <a:pt x="9120" y="2480"/>
                  </a:cubicBezTo>
                  <a:lnTo>
                    <a:pt x="9120" y="2480"/>
                  </a:lnTo>
                  <a:close/>
                  <a:moveTo>
                    <a:pt x="800" y="2800"/>
                  </a:moveTo>
                  <a:cubicBezTo>
                    <a:pt x="880" y="2800"/>
                    <a:pt x="880" y="2800"/>
                    <a:pt x="880" y="2880"/>
                  </a:cubicBezTo>
                  <a:lnTo>
                    <a:pt x="880" y="2960"/>
                  </a:lnTo>
                  <a:cubicBezTo>
                    <a:pt x="480" y="3360"/>
                    <a:pt x="320" y="3600"/>
                    <a:pt x="320" y="4160"/>
                  </a:cubicBezTo>
                  <a:lnTo>
                    <a:pt x="240" y="4240"/>
                  </a:lnTo>
                  <a:cubicBezTo>
                    <a:pt x="240" y="4240"/>
                    <a:pt x="160" y="4240"/>
                    <a:pt x="160" y="4160"/>
                  </a:cubicBezTo>
                  <a:lnTo>
                    <a:pt x="160" y="3760"/>
                  </a:lnTo>
                  <a:lnTo>
                    <a:pt x="160" y="3760"/>
                  </a:lnTo>
                  <a:cubicBezTo>
                    <a:pt x="80" y="3760"/>
                    <a:pt x="0" y="3680"/>
                    <a:pt x="0" y="3680"/>
                  </a:cubicBezTo>
                  <a:lnTo>
                    <a:pt x="0" y="3280"/>
                  </a:lnTo>
                  <a:cubicBezTo>
                    <a:pt x="80" y="3200"/>
                    <a:pt x="160" y="3120"/>
                    <a:pt x="320" y="3040"/>
                  </a:cubicBezTo>
                  <a:lnTo>
                    <a:pt x="400" y="3040"/>
                  </a:lnTo>
                  <a:cubicBezTo>
                    <a:pt x="400" y="3040"/>
                    <a:pt x="480" y="3040"/>
                    <a:pt x="480" y="3120"/>
                  </a:cubicBezTo>
                  <a:cubicBezTo>
                    <a:pt x="480" y="2960"/>
                    <a:pt x="640" y="2880"/>
                    <a:pt x="800" y="2800"/>
                  </a:cubicBezTo>
                  <a:cubicBezTo>
                    <a:pt x="720" y="2800"/>
                    <a:pt x="800" y="2800"/>
                    <a:pt x="800" y="2800"/>
                  </a:cubicBezTo>
                  <a:close/>
                  <a:moveTo>
                    <a:pt x="10640" y="2880"/>
                  </a:moveTo>
                  <a:lnTo>
                    <a:pt x="10720" y="2880"/>
                  </a:lnTo>
                  <a:lnTo>
                    <a:pt x="10720" y="2880"/>
                  </a:lnTo>
                  <a:lnTo>
                    <a:pt x="10640" y="2880"/>
                  </a:lnTo>
                  <a:close/>
                  <a:moveTo>
                    <a:pt x="1120" y="3440"/>
                  </a:moveTo>
                  <a:lnTo>
                    <a:pt x="1120" y="3440"/>
                  </a:lnTo>
                  <a:cubicBezTo>
                    <a:pt x="1040" y="3520"/>
                    <a:pt x="960" y="3600"/>
                    <a:pt x="960" y="3680"/>
                  </a:cubicBezTo>
                  <a:cubicBezTo>
                    <a:pt x="880" y="3680"/>
                    <a:pt x="880" y="3760"/>
                    <a:pt x="880" y="3840"/>
                  </a:cubicBezTo>
                  <a:cubicBezTo>
                    <a:pt x="880" y="3920"/>
                    <a:pt x="880" y="4000"/>
                    <a:pt x="960" y="4080"/>
                  </a:cubicBezTo>
                  <a:lnTo>
                    <a:pt x="960" y="4080"/>
                  </a:lnTo>
                  <a:cubicBezTo>
                    <a:pt x="1040" y="4000"/>
                    <a:pt x="1120" y="3920"/>
                    <a:pt x="1120" y="3760"/>
                  </a:cubicBezTo>
                  <a:lnTo>
                    <a:pt x="1120" y="3440"/>
                  </a:lnTo>
                  <a:close/>
                  <a:moveTo>
                    <a:pt x="1520" y="4400"/>
                  </a:moveTo>
                  <a:cubicBezTo>
                    <a:pt x="1440" y="4400"/>
                    <a:pt x="1440" y="4400"/>
                    <a:pt x="1520" y="4400"/>
                  </a:cubicBezTo>
                  <a:cubicBezTo>
                    <a:pt x="1360" y="4400"/>
                    <a:pt x="1280" y="4480"/>
                    <a:pt x="1200" y="4480"/>
                  </a:cubicBezTo>
                  <a:cubicBezTo>
                    <a:pt x="1120" y="4480"/>
                    <a:pt x="1120" y="4480"/>
                    <a:pt x="1040" y="4400"/>
                  </a:cubicBezTo>
                  <a:lnTo>
                    <a:pt x="1040" y="4400"/>
                  </a:lnTo>
                  <a:lnTo>
                    <a:pt x="1040" y="4400"/>
                  </a:lnTo>
                  <a:cubicBezTo>
                    <a:pt x="1040" y="4480"/>
                    <a:pt x="1120" y="4480"/>
                    <a:pt x="1200" y="4480"/>
                  </a:cubicBezTo>
                  <a:cubicBezTo>
                    <a:pt x="1280" y="4480"/>
                    <a:pt x="1360" y="4480"/>
                    <a:pt x="1520" y="4400"/>
                  </a:cubicBezTo>
                  <a:cubicBezTo>
                    <a:pt x="1440" y="4400"/>
                    <a:pt x="1440" y="4400"/>
                    <a:pt x="1520" y="4400"/>
                  </a:cubicBezTo>
                  <a:cubicBezTo>
                    <a:pt x="1440" y="4400"/>
                    <a:pt x="1520" y="4400"/>
                    <a:pt x="1520" y="4400"/>
                  </a:cubicBezTo>
                  <a:close/>
                  <a:moveTo>
                    <a:pt x="9760" y="6320"/>
                  </a:moveTo>
                  <a:cubicBezTo>
                    <a:pt x="9760" y="6400"/>
                    <a:pt x="9680" y="6400"/>
                    <a:pt x="9600" y="6400"/>
                  </a:cubicBezTo>
                  <a:lnTo>
                    <a:pt x="9600" y="6400"/>
                  </a:lnTo>
                  <a:cubicBezTo>
                    <a:pt x="9680" y="6480"/>
                    <a:pt x="9760" y="6400"/>
                    <a:pt x="9760" y="6320"/>
                  </a:cubicBezTo>
                  <a:close/>
                  <a:moveTo>
                    <a:pt x="1600" y="6560"/>
                  </a:moveTo>
                  <a:lnTo>
                    <a:pt x="1600" y="6560"/>
                  </a:lnTo>
                  <a:cubicBezTo>
                    <a:pt x="1600" y="6640"/>
                    <a:pt x="1600" y="6640"/>
                    <a:pt x="1600" y="6560"/>
                  </a:cubicBezTo>
                  <a:cubicBezTo>
                    <a:pt x="1440" y="6720"/>
                    <a:pt x="1360" y="6880"/>
                    <a:pt x="1200" y="6960"/>
                  </a:cubicBezTo>
                  <a:lnTo>
                    <a:pt x="1120" y="7040"/>
                  </a:lnTo>
                  <a:lnTo>
                    <a:pt x="1120" y="7120"/>
                  </a:lnTo>
                  <a:cubicBezTo>
                    <a:pt x="1120" y="7280"/>
                    <a:pt x="1280" y="7440"/>
                    <a:pt x="1360" y="7600"/>
                  </a:cubicBezTo>
                  <a:cubicBezTo>
                    <a:pt x="1440" y="7680"/>
                    <a:pt x="1600" y="7760"/>
                    <a:pt x="1760" y="7840"/>
                  </a:cubicBezTo>
                  <a:cubicBezTo>
                    <a:pt x="1840" y="7840"/>
                    <a:pt x="1920" y="7920"/>
                    <a:pt x="2000" y="7920"/>
                  </a:cubicBezTo>
                  <a:cubicBezTo>
                    <a:pt x="2080" y="7920"/>
                    <a:pt x="2080" y="7920"/>
                    <a:pt x="2160" y="7840"/>
                  </a:cubicBezTo>
                  <a:cubicBezTo>
                    <a:pt x="2160" y="7840"/>
                    <a:pt x="2160" y="7760"/>
                    <a:pt x="2240" y="7680"/>
                  </a:cubicBezTo>
                  <a:cubicBezTo>
                    <a:pt x="1920" y="7440"/>
                    <a:pt x="1760" y="7040"/>
                    <a:pt x="1600" y="6560"/>
                  </a:cubicBezTo>
                  <a:close/>
                  <a:moveTo>
                    <a:pt x="8160" y="6960"/>
                  </a:moveTo>
                  <a:cubicBezTo>
                    <a:pt x="8080" y="7120"/>
                    <a:pt x="8080" y="7280"/>
                    <a:pt x="8000" y="7440"/>
                  </a:cubicBezTo>
                  <a:cubicBezTo>
                    <a:pt x="7920" y="7600"/>
                    <a:pt x="7840" y="7840"/>
                    <a:pt x="7680" y="8000"/>
                  </a:cubicBezTo>
                  <a:cubicBezTo>
                    <a:pt x="7600" y="8160"/>
                    <a:pt x="7440" y="8320"/>
                    <a:pt x="7360" y="8400"/>
                  </a:cubicBezTo>
                  <a:lnTo>
                    <a:pt x="7520" y="8400"/>
                  </a:lnTo>
                  <a:lnTo>
                    <a:pt x="7840" y="8400"/>
                  </a:lnTo>
                  <a:lnTo>
                    <a:pt x="8160" y="8400"/>
                  </a:lnTo>
                  <a:lnTo>
                    <a:pt x="8320" y="8400"/>
                  </a:lnTo>
                  <a:cubicBezTo>
                    <a:pt x="8320" y="8400"/>
                    <a:pt x="8400" y="8320"/>
                    <a:pt x="8400" y="8240"/>
                  </a:cubicBezTo>
                  <a:cubicBezTo>
                    <a:pt x="8400" y="8080"/>
                    <a:pt x="8400" y="8160"/>
                    <a:pt x="8320" y="8000"/>
                  </a:cubicBezTo>
                  <a:lnTo>
                    <a:pt x="8320" y="8000"/>
                  </a:lnTo>
                  <a:lnTo>
                    <a:pt x="8320" y="7440"/>
                  </a:lnTo>
                  <a:cubicBezTo>
                    <a:pt x="8240" y="7280"/>
                    <a:pt x="8240" y="7200"/>
                    <a:pt x="8160" y="69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80" name="iconfont-11894-5689857"/>
            <p:cNvSpPr>
              <a:spLocks noChangeAspect="1"/>
            </p:cNvSpPr>
            <p:nvPr userDrawn="1"/>
          </p:nvSpPr>
          <p:spPr bwMode="auto">
            <a:xfrm>
              <a:off x="20872779" y="4596055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2" name="iconfont-11894-5689857"/>
            <p:cNvSpPr>
              <a:spLocks noChangeAspect="1"/>
            </p:cNvSpPr>
            <p:nvPr userDrawn="1"/>
          </p:nvSpPr>
          <p:spPr bwMode="auto">
            <a:xfrm>
              <a:off x="22092151" y="4594573"/>
              <a:ext cx="609685" cy="609685"/>
            </a:xfrm>
            <a:custGeom>
              <a:avLst/>
              <a:gdLst>
                <a:gd name="T0" fmla="*/ 2400 w 12800"/>
                <a:gd name="T1" fmla="*/ 10240 h 12800"/>
                <a:gd name="T2" fmla="*/ 2400 w 12800"/>
                <a:gd name="T3" fmla="*/ 2640 h 12800"/>
                <a:gd name="T4" fmla="*/ 7120 w 12800"/>
                <a:gd name="T5" fmla="*/ 6400 h 12800"/>
                <a:gd name="T6" fmla="*/ 2400 w 12800"/>
                <a:gd name="T7" fmla="*/ 10240 h 12800"/>
                <a:gd name="T8" fmla="*/ 3200 w 12800"/>
                <a:gd name="T9" fmla="*/ 4160 h 12800"/>
                <a:gd name="T10" fmla="*/ 3200 w 12800"/>
                <a:gd name="T11" fmla="*/ 8640 h 12800"/>
                <a:gd name="T12" fmla="*/ 6000 w 12800"/>
                <a:gd name="T13" fmla="*/ 6400 h 12800"/>
                <a:gd name="T14" fmla="*/ 3200 w 12800"/>
                <a:gd name="T15" fmla="*/ 4160 h 12800"/>
                <a:gd name="T16" fmla="*/ 11680 w 12800"/>
                <a:gd name="T17" fmla="*/ 12800 h 12800"/>
                <a:gd name="T18" fmla="*/ 1120 w 12800"/>
                <a:gd name="T19" fmla="*/ 12800 h 12800"/>
                <a:gd name="T20" fmla="*/ 0 w 12800"/>
                <a:gd name="T21" fmla="*/ 11680 h 12800"/>
                <a:gd name="T22" fmla="*/ 0 w 12800"/>
                <a:gd name="T23" fmla="*/ 1120 h 12800"/>
                <a:gd name="T24" fmla="*/ 1120 w 12800"/>
                <a:gd name="T25" fmla="*/ 0 h 12800"/>
                <a:gd name="T26" fmla="*/ 11680 w 12800"/>
                <a:gd name="T27" fmla="*/ 0 h 12800"/>
                <a:gd name="T28" fmla="*/ 12800 w 12800"/>
                <a:gd name="T29" fmla="*/ 1120 h 12800"/>
                <a:gd name="T30" fmla="*/ 12800 w 12800"/>
                <a:gd name="T31" fmla="*/ 11680 h 12800"/>
                <a:gd name="T32" fmla="*/ 11680 w 12800"/>
                <a:gd name="T33" fmla="*/ 12800 h 12800"/>
                <a:gd name="T34" fmla="*/ 1120 w 12800"/>
                <a:gd name="T35" fmla="*/ 800 h 12800"/>
                <a:gd name="T36" fmla="*/ 720 w 12800"/>
                <a:gd name="T37" fmla="*/ 1200 h 12800"/>
                <a:gd name="T38" fmla="*/ 720 w 12800"/>
                <a:gd name="T39" fmla="*/ 11760 h 12800"/>
                <a:gd name="T40" fmla="*/ 1120 w 12800"/>
                <a:gd name="T41" fmla="*/ 12160 h 12800"/>
                <a:gd name="T42" fmla="*/ 11680 w 12800"/>
                <a:gd name="T43" fmla="*/ 12160 h 12800"/>
                <a:gd name="T44" fmla="*/ 12080 w 12800"/>
                <a:gd name="T45" fmla="*/ 11760 h 12800"/>
                <a:gd name="T46" fmla="*/ 12080 w 12800"/>
                <a:gd name="T47" fmla="*/ 1120 h 12800"/>
                <a:gd name="T48" fmla="*/ 11680 w 12800"/>
                <a:gd name="T49" fmla="*/ 720 h 12800"/>
                <a:gd name="T50" fmla="*/ 1120 w 12800"/>
                <a:gd name="T51" fmla="*/ 720 h 12800"/>
                <a:gd name="T52" fmla="*/ 1120 w 12800"/>
                <a:gd name="T53" fmla="*/ 800 h 12800"/>
                <a:gd name="T54" fmla="*/ 6400 w 12800"/>
                <a:gd name="T55" fmla="*/ 10240 h 12800"/>
                <a:gd name="T56" fmla="*/ 6400 w 12800"/>
                <a:gd name="T57" fmla="*/ 2640 h 12800"/>
                <a:gd name="T58" fmla="*/ 11120 w 12800"/>
                <a:gd name="T59" fmla="*/ 6400 h 12800"/>
                <a:gd name="T60" fmla="*/ 6400 w 12800"/>
                <a:gd name="T61" fmla="*/ 10240 h 12800"/>
                <a:gd name="T62" fmla="*/ 7200 w 12800"/>
                <a:gd name="T63" fmla="*/ 4160 h 12800"/>
                <a:gd name="T64" fmla="*/ 7200 w 12800"/>
                <a:gd name="T65" fmla="*/ 8640 h 12800"/>
                <a:gd name="T66" fmla="*/ 10000 w 12800"/>
                <a:gd name="T67" fmla="*/ 6400 h 12800"/>
                <a:gd name="T68" fmla="*/ 7200 w 12800"/>
                <a:gd name="T69" fmla="*/ 416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800" h="12800">
                  <a:moveTo>
                    <a:pt x="2400" y="10240"/>
                  </a:moveTo>
                  <a:lnTo>
                    <a:pt x="2400" y="2640"/>
                  </a:lnTo>
                  <a:lnTo>
                    <a:pt x="7120" y="6400"/>
                  </a:lnTo>
                  <a:lnTo>
                    <a:pt x="2400" y="10240"/>
                  </a:lnTo>
                  <a:close/>
                  <a:moveTo>
                    <a:pt x="3200" y="4160"/>
                  </a:moveTo>
                  <a:lnTo>
                    <a:pt x="3200" y="8640"/>
                  </a:lnTo>
                  <a:lnTo>
                    <a:pt x="6000" y="6400"/>
                  </a:lnTo>
                  <a:lnTo>
                    <a:pt x="3200" y="4160"/>
                  </a:lnTo>
                  <a:close/>
                  <a:moveTo>
                    <a:pt x="11680" y="12800"/>
                  </a:moveTo>
                  <a:lnTo>
                    <a:pt x="1120" y="12800"/>
                  </a:lnTo>
                  <a:cubicBezTo>
                    <a:pt x="480" y="12800"/>
                    <a:pt x="0" y="12320"/>
                    <a:pt x="0" y="11680"/>
                  </a:cubicBezTo>
                  <a:lnTo>
                    <a:pt x="0" y="1120"/>
                  </a:lnTo>
                  <a:cubicBezTo>
                    <a:pt x="0" y="480"/>
                    <a:pt x="480" y="0"/>
                    <a:pt x="1120" y="0"/>
                  </a:cubicBezTo>
                  <a:lnTo>
                    <a:pt x="11680" y="0"/>
                  </a:lnTo>
                  <a:cubicBezTo>
                    <a:pt x="12320" y="0"/>
                    <a:pt x="12800" y="480"/>
                    <a:pt x="12800" y="1120"/>
                  </a:cubicBezTo>
                  <a:lnTo>
                    <a:pt x="12800" y="11680"/>
                  </a:lnTo>
                  <a:cubicBezTo>
                    <a:pt x="12800" y="12320"/>
                    <a:pt x="12240" y="12800"/>
                    <a:pt x="11680" y="12800"/>
                  </a:cubicBezTo>
                  <a:close/>
                  <a:moveTo>
                    <a:pt x="1120" y="800"/>
                  </a:moveTo>
                  <a:cubicBezTo>
                    <a:pt x="880" y="800"/>
                    <a:pt x="720" y="960"/>
                    <a:pt x="720" y="1200"/>
                  </a:cubicBezTo>
                  <a:lnTo>
                    <a:pt x="720" y="11760"/>
                  </a:lnTo>
                  <a:cubicBezTo>
                    <a:pt x="720" y="12000"/>
                    <a:pt x="880" y="12160"/>
                    <a:pt x="1120" y="12160"/>
                  </a:cubicBezTo>
                  <a:lnTo>
                    <a:pt x="11680" y="12160"/>
                  </a:lnTo>
                  <a:cubicBezTo>
                    <a:pt x="11920" y="12160"/>
                    <a:pt x="12080" y="12000"/>
                    <a:pt x="12080" y="11760"/>
                  </a:cubicBezTo>
                  <a:lnTo>
                    <a:pt x="12080" y="1120"/>
                  </a:lnTo>
                  <a:cubicBezTo>
                    <a:pt x="12080" y="880"/>
                    <a:pt x="11920" y="720"/>
                    <a:pt x="11680" y="720"/>
                  </a:cubicBezTo>
                  <a:lnTo>
                    <a:pt x="1120" y="720"/>
                  </a:lnTo>
                  <a:lnTo>
                    <a:pt x="1120" y="800"/>
                  </a:lnTo>
                  <a:close/>
                  <a:moveTo>
                    <a:pt x="6400" y="10240"/>
                  </a:moveTo>
                  <a:lnTo>
                    <a:pt x="6400" y="2640"/>
                  </a:lnTo>
                  <a:lnTo>
                    <a:pt x="11120" y="6400"/>
                  </a:lnTo>
                  <a:lnTo>
                    <a:pt x="6400" y="10240"/>
                  </a:lnTo>
                  <a:close/>
                  <a:moveTo>
                    <a:pt x="7200" y="4160"/>
                  </a:moveTo>
                  <a:lnTo>
                    <a:pt x="7200" y="8640"/>
                  </a:lnTo>
                  <a:lnTo>
                    <a:pt x="10000" y="6400"/>
                  </a:lnTo>
                  <a:lnTo>
                    <a:pt x="7200" y="41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21" name="iconfont-11894-5689857"/>
            <p:cNvSpPr>
              <a:spLocks noChangeAspect="1"/>
            </p:cNvSpPr>
            <p:nvPr userDrawn="1"/>
          </p:nvSpPr>
          <p:spPr bwMode="auto">
            <a:xfrm>
              <a:off x="23311520" y="4594574"/>
              <a:ext cx="609685" cy="609685"/>
            </a:xfrm>
            <a:custGeom>
              <a:avLst/>
              <a:gdLst>
                <a:gd name="T0" fmla="*/ 12160 w 12960"/>
                <a:gd name="T1" fmla="*/ 0 h 12960"/>
                <a:gd name="T2" fmla="*/ 6800 w 12960"/>
                <a:gd name="T3" fmla="*/ 0 h 12960"/>
                <a:gd name="T4" fmla="*/ 5920 w 12960"/>
                <a:gd name="T5" fmla="*/ 640 h 12960"/>
                <a:gd name="T6" fmla="*/ 640 w 12960"/>
                <a:gd name="T7" fmla="*/ 5920 h 12960"/>
                <a:gd name="T8" fmla="*/ 640 w 12960"/>
                <a:gd name="T9" fmla="*/ 8240 h 12960"/>
                <a:gd name="T10" fmla="*/ 4720 w 12960"/>
                <a:gd name="T11" fmla="*/ 12320 h 12960"/>
                <a:gd name="T12" fmla="*/ 7040 w 12960"/>
                <a:gd name="T13" fmla="*/ 12320 h 12960"/>
                <a:gd name="T14" fmla="*/ 12320 w 12960"/>
                <a:gd name="T15" fmla="*/ 7040 h 12960"/>
                <a:gd name="T16" fmla="*/ 12960 w 12960"/>
                <a:gd name="T17" fmla="*/ 6080 h 12960"/>
                <a:gd name="T18" fmla="*/ 12960 w 12960"/>
                <a:gd name="T19" fmla="*/ 800 h 12960"/>
                <a:gd name="T20" fmla="*/ 12160 w 12960"/>
                <a:gd name="T21" fmla="*/ 0 h 12960"/>
                <a:gd name="T22" fmla="*/ 7120 w 12960"/>
                <a:gd name="T23" fmla="*/ 11120 h 12960"/>
                <a:gd name="T24" fmla="*/ 6560 w 12960"/>
                <a:gd name="T25" fmla="*/ 11680 h 12960"/>
                <a:gd name="T26" fmla="*/ 6560 w 12960"/>
                <a:gd name="T27" fmla="*/ 11680 h 12960"/>
                <a:gd name="T28" fmla="*/ 5360 w 12960"/>
                <a:gd name="T29" fmla="*/ 11680 h 12960"/>
                <a:gd name="T30" fmla="*/ 1280 w 12960"/>
                <a:gd name="T31" fmla="*/ 7600 h 12960"/>
                <a:gd name="T32" fmla="*/ 1280 w 12960"/>
                <a:gd name="T33" fmla="*/ 6400 h 12960"/>
                <a:gd name="T34" fmla="*/ 1840 w 12960"/>
                <a:gd name="T35" fmla="*/ 5840 h 12960"/>
                <a:gd name="T36" fmla="*/ 2400 w 12960"/>
                <a:gd name="T37" fmla="*/ 5280 h 12960"/>
                <a:gd name="T38" fmla="*/ 6480 w 12960"/>
                <a:gd name="T39" fmla="*/ 1200 h 12960"/>
                <a:gd name="T40" fmla="*/ 7200 w 12960"/>
                <a:gd name="T41" fmla="*/ 800 h 12960"/>
                <a:gd name="T42" fmla="*/ 11760 w 12960"/>
                <a:gd name="T43" fmla="*/ 800 h 12960"/>
                <a:gd name="T44" fmla="*/ 12160 w 12960"/>
                <a:gd name="T45" fmla="*/ 1120 h 12960"/>
                <a:gd name="T46" fmla="*/ 12160 w 12960"/>
                <a:gd name="T47" fmla="*/ 5680 h 12960"/>
                <a:gd name="T48" fmla="*/ 12160 w 12960"/>
                <a:gd name="T49" fmla="*/ 5680 h 12960"/>
                <a:gd name="T50" fmla="*/ 11760 w 12960"/>
                <a:gd name="T51" fmla="*/ 6400 h 12960"/>
                <a:gd name="T52" fmla="*/ 7680 w 12960"/>
                <a:gd name="T53" fmla="*/ 10480 h 12960"/>
                <a:gd name="T54" fmla="*/ 7120 w 12960"/>
                <a:gd name="T55" fmla="*/ 11120 h 12960"/>
                <a:gd name="T56" fmla="*/ 8000 w 12960"/>
                <a:gd name="T57" fmla="*/ 2640 h 12960"/>
                <a:gd name="T58" fmla="*/ 8000 w 12960"/>
                <a:gd name="T59" fmla="*/ 4960 h 12960"/>
                <a:gd name="T60" fmla="*/ 10320 w 12960"/>
                <a:gd name="T61" fmla="*/ 4960 h 12960"/>
                <a:gd name="T62" fmla="*/ 10320 w 12960"/>
                <a:gd name="T63" fmla="*/ 2640 h 12960"/>
                <a:gd name="T64" fmla="*/ 8000 w 12960"/>
                <a:gd name="T65" fmla="*/ 2640 h 12960"/>
                <a:gd name="T66" fmla="*/ 9760 w 12960"/>
                <a:gd name="T67" fmla="*/ 4400 h 12960"/>
                <a:gd name="T68" fmla="*/ 8560 w 12960"/>
                <a:gd name="T69" fmla="*/ 4400 h 12960"/>
                <a:gd name="T70" fmla="*/ 8560 w 12960"/>
                <a:gd name="T71" fmla="*/ 3200 h 12960"/>
                <a:gd name="T72" fmla="*/ 9760 w 12960"/>
                <a:gd name="T73" fmla="*/ 3200 h 12960"/>
                <a:gd name="T74" fmla="*/ 9760 w 12960"/>
                <a:gd name="T75" fmla="*/ 4400 h 12960"/>
                <a:gd name="T76" fmla="*/ 8357 w 12960"/>
                <a:gd name="T77" fmla="*/ 8327 h 12960"/>
                <a:gd name="T78" fmla="*/ 4680 w 12960"/>
                <a:gd name="T79" fmla="*/ 4651 h 12960"/>
                <a:gd name="T80" fmla="*/ 5472 w 12960"/>
                <a:gd name="T81" fmla="*/ 3859 h 12960"/>
                <a:gd name="T82" fmla="*/ 9149 w 12960"/>
                <a:gd name="T83" fmla="*/ 7536 h 12960"/>
                <a:gd name="T84" fmla="*/ 8357 w 12960"/>
                <a:gd name="T85" fmla="*/ 8327 h 12960"/>
                <a:gd name="T86" fmla="*/ 6739 w 12960"/>
                <a:gd name="T87" fmla="*/ 9999 h 12960"/>
                <a:gd name="T88" fmla="*/ 3062 w 12960"/>
                <a:gd name="T89" fmla="*/ 6322 h 12960"/>
                <a:gd name="T90" fmla="*/ 3854 w 12960"/>
                <a:gd name="T91" fmla="*/ 5530 h 12960"/>
                <a:gd name="T92" fmla="*/ 7531 w 12960"/>
                <a:gd name="T93" fmla="*/ 9207 h 12960"/>
                <a:gd name="T94" fmla="*/ 6739 w 12960"/>
                <a:gd name="T95" fmla="*/ 9999 h 12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960" h="12960">
                  <a:moveTo>
                    <a:pt x="12160" y="0"/>
                  </a:moveTo>
                  <a:lnTo>
                    <a:pt x="6800" y="0"/>
                  </a:lnTo>
                  <a:cubicBezTo>
                    <a:pt x="6400" y="0"/>
                    <a:pt x="6320" y="160"/>
                    <a:pt x="5920" y="640"/>
                  </a:cubicBezTo>
                  <a:lnTo>
                    <a:pt x="640" y="5920"/>
                  </a:lnTo>
                  <a:cubicBezTo>
                    <a:pt x="0" y="6560"/>
                    <a:pt x="0" y="7600"/>
                    <a:pt x="640" y="8240"/>
                  </a:cubicBezTo>
                  <a:lnTo>
                    <a:pt x="4720" y="12320"/>
                  </a:lnTo>
                  <a:cubicBezTo>
                    <a:pt x="5360" y="12960"/>
                    <a:pt x="6400" y="12960"/>
                    <a:pt x="7040" y="12320"/>
                  </a:cubicBezTo>
                  <a:lnTo>
                    <a:pt x="12320" y="7040"/>
                  </a:lnTo>
                  <a:cubicBezTo>
                    <a:pt x="12720" y="6720"/>
                    <a:pt x="12960" y="6560"/>
                    <a:pt x="12960" y="6080"/>
                  </a:cubicBezTo>
                  <a:lnTo>
                    <a:pt x="12960" y="800"/>
                  </a:lnTo>
                  <a:cubicBezTo>
                    <a:pt x="12960" y="320"/>
                    <a:pt x="12640" y="0"/>
                    <a:pt x="12160" y="0"/>
                  </a:cubicBezTo>
                  <a:close/>
                  <a:moveTo>
                    <a:pt x="7120" y="11120"/>
                  </a:moveTo>
                  <a:lnTo>
                    <a:pt x="6560" y="11680"/>
                  </a:lnTo>
                  <a:lnTo>
                    <a:pt x="6560" y="11680"/>
                  </a:lnTo>
                  <a:cubicBezTo>
                    <a:pt x="6240" y="12000"/>
                    <a:pt x="5680" y="12000"/>
                    <a:pt x="5360" y="11680"/>
                  </a:cubicBezTo>
                  <a:lnTo>
                    <a:pt x="1280" y="7600"/>
                  </a:lnTo>
                  <a:cubicBezTo>
                    <a:pt x="960" y="7280"/>
                    <a:pt x="960" y="6720"/>
                    <a:pt x="1280" y="6400"/>
                  </a:cubicBezTo>
                  <a:lnTo>
                    <a:pt x="1840" y="5840"/>
                  </a:lnTo>
                  <a:lnTo>
                    <a:pt x="2400" y="5280"/>
                  </a:lnTo>
                  <a:lnTo>
                    <a:pt x="6480" y="1200"/>
                  </a:lnTo>
                  <a:cubicBezTo>
                    <a:pt x="6720" y="1040"/>
                    <a:pt x="7040" y="800"/>
                    <a:pt x="7200" y="800"/>
                  </a:cubicBezTo>
                  <a:lnTo>
                    <a:pt x="11760" y="800"/>
                  </a:lnTo>
                  <a:cubicBezTo>
                    <a:pt x="12000" y="800"/>
                    <a:pt x="12160" y="960"/>
                    <a:pt x="12160" y="1120"/>
                  </a:cubicBezTo>
                  <a:lnTo>
                    <a:pt x="12160" y="5680"/>
                  </a:lnTo>
                  <a:lnTo>
                    <a:pt x="12160" y="5680"/>
                  </a:lnTo>
                  <a:cubicBezTo>
                    <a:pt x="12160" y="5920"/>
                    <a:pt x="12000" y="6240"/>
                    <a:pt x="11760" y="6400"/>
                  </a:cubicBezTo>
                  <a:lnTo>
                    <a:pt x="7680" y="10480"/>
                  </a:lnTo>
                  <a:lnTo>
                    <a:pt x="7120" y="11120"/>
                  </a:lnTo>
                  <a:close/>
                  <a:moveTo>
                    <a:pt x="8000" y="2640"/>
                  </a:moveTo>
                  <a:cubicBezTo>
                    <a:pt x="7360" y="3280"/>
                    <a:pt x="7360" y="4320"/>
                    <a:pt x="8000" y="4960"/>
                  </a:cubicBezTo>
                  <a:cubicBezTo>
                    <a:pt x="8640" y="5600"/>
                    <a:pt x="9680" y="5600"/>
                    <a:pt x="10320" y="4960"/>
                  </a:cubicBezTo>
                  <a:cubicBezTo>
                    <a:pt x="10960" y="4320"/>
                    <a:pt x="10960" y="3280"/>
                    <a:pt x="10320" y="2640"/>
                  </a:cubicBezTo>
                  <a:cubicBezTo>
                    <a:pt x="9680" y="2000"/>
                    <a:pt x="8640" y="2000"/>
                    <a:pt x="8000" y="2640"/>
                  </a:cubicBezTo>
                  <a:close/>
                  <a:moveTo>
                    <a:pt x="9760" y="4400"/>
                  </a:moveTo>
                  <a:cubicBezTo>
                    <a:pt x="9440" y="4720"/>
                    <a:pt x="8880" y="4720"/>
                    <a:pt x="8560" y="4400"/>
                  </a:cubicBezTo>
                  <a:cubicBezTo>
                    <a:pt x="8240" y="4080"/>
                    <a:pt x="8240" y="3520"/>
                    <a:pt x="8560" y="3200"/>
                  </a:cubicBezTo>
                  <a:cubicBezTo>
                    <a:pt x="8880" y="2880"/>
                    <a:pt x="9440" y="2880"/>
                    <a:pt x="9760" y="3200"/>
                  </a:cubicBezTo>
                  <a:cubicBezTo>
                    <a:pt x="10080" y="3600"/>
                    <a:pt x="10080" y="4080"/>
                    <a:pt x="9760" y="4400"/>
                  </a:cubicBezTo>
                  <a:close/>
                  <a:moveTo>
                    <a:pt x="8357" y="8327"/>
                  </a:moveTo>
                  <a:lnTo>
                    <a:pt x="4680" y="4651"/>
                  </a:lnTo>
                  <a:lnTo>
                    <a:pt x="5472" y="3859"/>
                  </a:lnTo>
                  <a:lnTo>
                    <a:pt x="9149" y="7536"/>
                  </a:lnTo>
                  <a:lnTo>
                    <a:pt x="8357" y="8327"/>
                  </a:lnTo>
                  <a:close/>
                  <a:moveTo>
                    <a:pt x="6739" y="9999"/>
                  </a:moveTo>
                  <a:lnTo>
                    <a:pt x="3062" y="6322"/>
                  </a:lnTo>
                  <a:lnTo>
                    <a:pt x="3854" y="5530"/>
                  </a:lnTo>
                  <a:lnTo>
                    <a:pt x="7531" y="9207"/>
                  </a:lnTo>
                  <a:lnTo>
                    <a:pt x="6739" y="999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20" name="iconfont-11894-5689857"/>
            <p:cNvSpPr>
              <a:spLocks noChangeAspect="1"/>
            </p:cNvSpPr>
            <p:nvPr userDrawn="1"/>
          </p:nvSpPr>
          <p:spPr bwMode="auto">
            <a:xfrm>
              <a:off x="24559690" y="4594574"/>
              <a:ext cx="552081" cy="609685"/>
            </a:xfrm>
            <a:custGeom>
              <a:avLst/>
              <a:gdLst>
                <a:gd name="T0" fmla="*/ 8880 w 11520"/>
                <a:gd name="T1" fmla="*/ 7520 h 12720"/>
                <a:gd name="T2" fmla="*/ 8720 w 11520"/>
                <a:gd name="T3" fmla="*/ 7520 h 12720"/>
                <a:gd name="T4" fmla="*/ 6240 w 11520"/>
                <a:gd name="T5" fmla="*/ 5280 h 12720"/>
                <a:gd name="T6" fmla="*/ 11360 w 11520"/>
                <a:gd name="T7" fmla="*/ 640 h 12720"/>
                <a:gd name="T8" fmla="*/ 10880 w 11520"/>
                <a:gd name="T9" fmla="*/ 80 h 12720"/>
                <a:gd name="T10" fmla="*/ 5680 w 11520"/>
                <a:gd name="T11" fmla="*/ 4720 h 12720"/>
                <a:gd name="T12" fmla="*/ 480 w 11520"/>
                <a:gd name="T13" fmla="*/ 0 h 12720"/>
                <a:gd name="T14" fmla="*/ 0 w 11520"/>
                <a:gd name="T15" fmla="*/ 560 h 12720"/>
                <a:gd name="T16" fmla="*/ 5120 w 11520"/>
                <a:gd name="T17" fmla="*/ 5200 h 12720"/>
                <a:gd name="T18" fmla="*/ 2640 w 11520"/>
                <a:gd name="T19" fmla="*/ 7440 h 12720"/>
                <a:gd name="T20" fmla="*/ 160 w 11520"/>
                <a:gd name="T21" fmla="*/ 10080 h 12720"/>
                <a:gd name="T22" fmla="*/ 2800 w 11520"/>
                <a:gd name="T23" fmla="*/ 12720 h 12720"/>
                <a:gd name="T24" fmla="*/ 5440 w 11520"/>
                <a:gd name="T25" fmla="*/ 10080 h 12720"/>
                <a:gd name="T26" fmla="*/ 3600 w 11520"/>
                <a:gd name="T27" fmla="*/ 7600 h 12720"/>
                <a:gd name="T28" fmla="*/ 5680 w 11520"/>
                <a:gd name="T29" fmla="*/ 5760 h 12720"/>
                <a:gd name="T30" fmla="*/ 7840 w 11520"/>
                <a:gd name="T31" fmla="*/ 7680 h 12720"/>
                <a:gd name="T32" fmla="*/ 6240 w 11520"/>
                <a:gd name="T33" fmla="*/ 10080 h 12720"/>
                <a:gd name="T34" fmla="*/ 8880 w 11520"/>
                <a:gd name="T35" fmla="*/ 12720 h 12720"/>
                <a:gd name="T36" fmla="*/ 11520 w 11520"/>
                <a:gd name="T37" fmla="*/ 10080 h 12720"/>
                <a:gd name="T38" fmla="*/ 8880 w 11520"/>
                <a:gd name="T39" fmla="*/ 7520 h 12720"/>
                <a:gd name="T40" fmla="*/ 4720 w 11520"/>
                <a:gd name="T41" fmla="*/ 10080 h 12720"/>
                <a:gd name="T42" fmla="*/ 2800 w 11520"/>
                <a:gd name="T43" fmla="*/ 12000 h 12720"/>
                <a:gd name="T44" fmla="*/ 880 w 11520"/>
                <a:gd name="T45" fmla="*/ 10080 h 12720"/>
                <a:gd name="T46" fmla="*/ 2800 w 11520"/>
                <a:gd name="T47" fmla="*/ 8160 h 12720"/>
                <a:gd name="T48" fmla="*/ 4720 w 11520"/>
                <a:gd name="T49" fmla="*/ 10080 h 12720"/>
                <a:gd name="T50" fmla="*/ 8880 w 11520"/>
                <a:gd name="T51" fmla="*/ 12000 h 12720"/>
                <a:gd name="T52" fmla="*/ 6960 w 11520"/>
                <a:gd name="T53" fmla="*/ 10080 h 12720"/>
                <a:gd name="T54" fmla="*/ 8880 w 11520"/>
                <a:gd name="T55" fmla="*/ 8160 h 12720"/>
                <a:gd name="T56" fmla="*/ 10800 w 11520"/>
                <a:gd name="T57" fmla="*/ 10080 h 12720"/>
                <a:gd name="T58" fmla="*/ 8880 w 11520"/>
                <a:gd name="T59" fmla="*/ 1200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20" h="12720">
                  <a:moveTo>
                    <a:pt x="8880" y="7520"/>
                  </a:moveTo>
                  <a:lnTo>
                    <a:pt x="8720" y="7520"/>
                  </a:lnTo>
                  <a:lnTo>
                    <a:pt x="6240" y="5280"/>
                  </a:lnTo>
                  <a:lnTo>
                    <a:pt x="11360" y="640"/>
                  </a:lnTo>
                  <a:lnTo>
                    <a:pt x="10880" y="80"/>
                  </a:lnTo>
                  <a:lnTo>
                    <a:pt x="5680" y="4720"/>
                  </a:lnTo>
                  <a:lnTo>
                    <a:pt x="480" y="0"/>
                  </a:lnTo>
                  <a:lnTo>
                    <a:pt x="0" y="560"/>
                  </a:lnTo>
                  <a:lnTo>
                    <a:pt x="5120" y="5200"/>
                  </a:lnTo>
                  <a:lnTo>
                    <a:pt x="2640" y="7440"/>
                  </a:lnTo>
                  <a:cubicBezTo>
                    <a:pt x="1280" y="7520"/>
                    <a:pt x="160" y="8640"/>
                    <a:pt x="160" y="10080"/>
                  </a:cubicBezTo>
                  <a:cubicBezTo>
                    <a:pt x="160" y="11520"/>
                    <a:pt x="1360" y="12720"/>
                    <a:pt x="2800" y="12720"/>
                  </a:cubicBezTo>
                  <a:cubicBezTo>
                    <a:pt x="4240" y="12720"/>
                    <a:pt x="5440" y="11520"/>
                    <a:pt x="5440" y="10080"/>
                  </a:cubicBezTo>
                  <a:cubicBezTo>
                    <a:pt x="5440" y="8880"/>
                    <a:pt x="4640" y="7920"/>
                    <a:pt x="3600" y="7600"/>
                  </a:cubicBezTo>
                  <a:lnTo>
                    <a:pt x="5680" y="5760"/>
                  </a:lnTo>
                  <a:lnTo>
                    <a:pt x="7840" y="7680"/>
                  </a:lnTo>
                  <a:cubicBezTo>
                    <a:pt x="6880" y="8080"/>
                    <a:pt x="6240" y="9040"/>
                    <a:pt x="6240" y="10080"/>
                  </a:cubicBezTo>
                  <a:cubicBezTo>
                    <a:pt x="6240" y="11520"/>
                    <a:pt x="7440" y="12720"/>
                    <a:pt x="8880" y="12720"/>
                  </a:cubicBezTo>
                  <a:cubicBezTo>
                    <a:pt x="10320" y="12720"/>
                    <a:pt x="11520" y="11520"/>
                    <a:pt x="11520" y="10080"/>
                  </a:cubicBezTo>
                  <a:cubicBezTo>
                    <a:pt x="11520" y="8640"/>
                    <a:pt x="10320" y="7520"/>
                    <a:pt x="8880" y="7520"/>
                  </a:cubicBezTo>
                  <a:close/>
                  <a:moveTo>
                    <a:pt x="4720" y="10080"/>
                  </a:moveTo>
                  <a:cubicBezTo>
                    <a:pt x="4720" y="11120"/>
                    <a:pt x="3840" y="12000"/>
                    <a:pt x="2800" y="12000"/>
                  </a:cubicBezTo>
                  <a:cubicBezTo>
                    <a:pt x="1760" y="12000"/>
                    <a:pt x="880" y="11120"/>
                    <a:pt x="880" y="10080"/>
                  </a:cubicBezTo>
                  <a:cubicBezTo>
                    <a:pt x="880" y="9040"/>
                    <a:pt x="1760" y="8160"/>
                    <a:pt x="2800" y="8160"/>
                  </a:cubicBezTo>
                  <a:cubicBezTo>
                    <a:pt x="3840" y="8160"/>
                    <a:pt x="4720" y="9040"/>
                    <a:pt x="4720" y="10080"/>
                  </a:cubicBezTo>
                  <a:close/>
                  <a:moveTo>
                    <a:pt x="8880" y="12000"/>
                  </a:moveTo>
                  <a:cubicBezTo>
                    <a:pt x="7840" y="12000"/>
                    <a:pt x="6960" y="11120"/>
                    <a:pt x="6960" y="10080"/>
                  </a:cubicBezTo>
                  <a:cubicBezTo>
                    <a:pt x="6960" y="9040"/>
                    <a:pt x="7840" y="8160"/>
                    <a:pt x="8880" y="8160"/>
                  </a:cubicBezTo>
                  <a:cubicBezTo>
                    <a:pt x="9920" y="8160"/>
                    <a:pt x="10800" y="9040"/>
                    <a:pt x="10800" y="10080"/>
                  </a:cubicBezTo>
                  <a:cubicBezTo>
                    <a:pt x="10800" y="11120"/>
                    <a:pt x="9920" y="12000"/>
                    <a:pt x="8880" y="120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37" name="iconfont-11894-5689857"/>
            <p:cNvSpPr>
              <a:spLocks noChangeAspect="1"/>
            </p:cNvSpPr>
            <p:nvPr userDrawn="1"/>
          </p:nvSpPr>
          <p:spPr bwMode="auto">
            <a:xfrm>
              <a:off x="25750259" y="4617762"/>
              <a:ext cx="609685" cy="563308"/>
            </a:xfrm>
            <a:custGeom>
              <a:avLst/>
              <a:gdLst>
                <a:gd name="T0" fmla="*/ 10230 w 11229"/>
                <a:gd name="T1" fmla="*/ 8212 h 10372"/>
                <a:gd name="T2" fmla="*/ 10167 w 11229"/>
                <a:gd name="T3" fmla="*/ 8205 h 10372"/>
                <a:gd name="T4" fmla="*/ 4884 w 11229"/>
                <a:gd name="T5" fmla="*/ 8205 h 10372"/>
                <a:gd name="T6" fmla="*/ 4649 w 11229"/>
                <a:gd name="T7" fmla="*/ 7316 h 10372"/>
                <a:gd name="T8" fmla="*/ 9093 w 11229"/>
                <a:gd name="T9" fmla="*/ 6985 h 10372"/>
                <a:gd name="T10" fmla="*/ 9388 w 11229"/>
                <a:gd name="T11" fmla="*/ 6673 h 10372"/>
                <a:gd name="T12" fmla="*/ 10234 w 11229"/>
                <a:gd name="T13" fmla="*/ 1982 h 10372"/>
                <a:gd name="T14" fmla="*/ 10236 w 11229"/>
                <a:gd name="T15" fmla="*/ 1875 h 10372"/>
                <a:gd name="T16" fmla="*/ 9917 w 11229"/>
                <a:gd name="T17" fmla="*/ 1593 h 10372"/>
                <a:gd name="T18" fmla="*/ 3134 w 11229"/>
                <a:gd name="T19" fmla="*/ 1593 h 10372"/>
                <a:gd name="T20" fmla="*/ 2792 w 11229"/>
                <a:gd name="T21" fmla="*/ 302 h 10372"/>
                <a:gd name="T22" fmla="*/ 2472 w 11229"/>
                <a:gd name="T23" fmla="*/ 0 h 10372"/>
                <a:gd name="T24" fmla="*/ 320 w 11229"/>
                <a:gd name="T25" fmla="*/ 0 h 10372"/>
                <a:gd name="T26" fmla="*/ 0 w 11229"/>
                <a:gd name="T27" fmla="*/ 309 h 10372"/>
                <a:gd name="T28" fmla="*/ 320 w 11229"/>
                <a:gd name="T29" fmla="*/ 619 h 10372"/>
                <a:gd name="T30" fmla="*/ 2216 w 11229"/>
                <a:gd name="T31" fmla="*/ 619 h 10372"/>
                <a:gd name="T32" fmla="*/ 4224 w 11229"/>
                <a:gd name="T33" fmla="*/ 8205 h 10372"/>
                <a:gd name="T34" fmla="*/ 3622 w 11229"/>
                <a:gd name="T35" fmla="*/ 8205 h 10372"/>
                <a:gd name="T36" fmla="*/ 3562 w 11229"/>
                <a:gd name="T37" fmla="*/ 8211 h 10372"/>
                <a:gd name="T38" fmla="*/ 3447 w 11229"/>
                <a:gd name="T39" fmla="*/ 8205 h 10372"/>
                <a:gd name="T40" fmla="*/ 2327 w 11229"/>
                <a:gd name="T41" fmla="*/ 9289 h 10372"/>
                <a:gd name="T42" fmla="*/ 3447 w 11229"/>
                <a:gd name="T43" fmla="*/ 10372 h 10372"/>
                <a:gd name="T44" fmla="*/ 4567 w 11229"/>
                <a:gd name="T45" fmla="*/ 9289 h 10372"/>
                <a:gd name="T46" fmla="*/ 4445 w 11229"/>
                <a:gd name="T47" fmla="*/ 8796 h 10372"/>
                <a:gd name="T48" fmla="*/ 4584 w 11229"/>
                <a:gd name="T49" fmla="*/ 8796 h 10372"/>
                <a:gd name="T50" fmla="*/ 4674 w 11229"/>
                <a:gd name="T51" fmla="*/ 8796 h 10372"/>
                <a:gd name="T52" fmla="*/ 9111 w 11229"/>
                <a:gd name="T53" fmla="*/ 8796 h 10372"/>
                <a:gd name="T54" fmla="*/ 8988 w 11229"/>
                <a:gd name="T55" fmla="*/ 9289 h 10372"/>
                <a:gd name="T56" fmla="*/ 10109 w 11229"/>
                <a:gd name="T57" fmla="*/ 10372 h 10372"/>
                <a:gd name="T58" fmla="*/ 11229 w 11229"/>
                <a:gd name="T59" fmla="*/ 9289 h 10372"/>
                <a:gd name="T60" fmla="*/ 10230 w 11229"/>
                <a:gd name="T61" fmla="*/ 8212 h 10372"/>
                <a:gd name="T62" fmla="*/ 3447 w 11229"/>
                <a:gd name="T63" fmla="*/ 9879 h 10372"/>
                <a:gd name="T64" fmla="*/ 2836 w 11229"/>
                <a:gd name="T65" fmla="*/ 9289 h 10372"/>
                <a:gd name="T66" fmla="*/ 3447 w 11229"/>
                <a:gd name="T67" fmla="*/ 8697 h 10372"/>
                <a:gd name="T68" fmla="*/ 4058 w 11229"/>
                <a:gd name="T69" fmla="*/ 9289 h 10372"/>
                <a:gd name="T70" fmla="*/ 3447 w 11229"/>
                <a:gd name="T71" fmla="*/ 9879 h 10372"/>
                <a:gd name="T72" fmla="*/ 4487 w 11229"/>
                <a:gd name="T73" fmla="*/ 6707 h 10372"/>
                <a:gd name="T74" fmla="*/ 3298 w 11229"/>
                <a:gd name="T75" fmla="*/ 2212 h 10372"/>
                <a:gd name="T76" fmla="*/ 9543 w 11229"/>
                <a:gd name="T77" fmla="*/ 2212 h 10372"/>
                <a:gd name="T78" fmla="*/ 8790 w 11229"/>
                <a:gd name="T79" fmla="*/ 6387 h 10372"/>
                <a:gd name="T80" fmla="*/ 4487 w 11229"/>
                <a:gd name="T81" fmla="*/ 6707 h 10372"/>
                <a:gd name="T82" fmla="*/ 10109 w 11229"/>
                <a:gd name="T83" fmla="*/ 9879 h 10372"/>
                <a:gd name="T84" fmla="*/ 9498 w 11229"/>
                <a:gd name="T85" fmla="*/ 9289 h 10372"/>
                <a:gd name="T86" fmla="*/ 10109 w 11229"/>
                <a:gd name="T87" fmla="*/ 8697 h 10372"/>
                <a:gd name="T88" fmla="*/ 10719 w 11229"/>
                <a:gd name="T89" fmla="*/ 9289 h 10372"/>
                <a:gd name="T90" fmla="*/ 10109 w 11229"/>
                <a:gd name="T91" fmla="*/ 9879 h 10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229" h="10372">
                  <a:moveTo>
                    <a:pt x="10230" y="8212"/>
                  </a:moveTo>
                  <a:cubicBezTo>
                    <a:pt x="10209" y="8207"/>
                    <a:pt x="10188" y="8205"/>
                    <a:pt x="10167" y="8205"/>
                  </a:cubicBezTo>
                  <a:lnTo>
                    <a:pt x="4884" y="8205"/>
                  </a:lnTo>
                  <a:lnTo>
                    <a:pt x="4649" y="7316"/>
                  </a:lnTo>
                  <a:lnTo>
                    <a:pt x="9093" y="6985"/>
                  </a:lnTo>
                  <a:cubicBezTo>
                    <a:pt x="9263" y="6973"/>
                    <a:pt x="9391" y="6835"/>
                    <a:pt x="9388" y="6673"/>
                  </a:cubicBezTo>
                  <a:lnTo>
                    <a:pt x="10234" y="1982"/>
                  </a:lnTo>
                  <a:cubicBezTo>
                    <a:pt x="10241" y="1945"/>
                    <a:pt x="10242" y="1909"/>
                    <a:pt x="10236" y="1875"/>
                  </a:cubicBezTo>
                  <a:cubicBezTo>
                    <a:pt x="10222" y="1717"/>
                    <a:pt x="10085" y="1593"/>
                    <a:pt x="9917" y="1593"/>
                  </a:cubicBezTo>
                  <a:lnTo>
                    <a:pt x="3134" y="1593"/>
                  </a:lnTo>
                  <a:lnTo>
                    <a:pt x="2792" y="302"/>
                  </a:lnTo>
                  <a:cubicBezTo>
                    <a:pt x="2788" y="134"/>
                    <a:pt x="2647" y="0"/>
                    <a:pt x="2472" y="0"/>
                  </a:cubicBezTo>
                  <a:lnTo>
                    <a:pt x="320" y="0"/>
                  </a:lnTo>
                  <a:cubicBezTo>
                    <a:pt x="143" y="0"/>
                    <a:pt x="0" y="138"/>
                    <a:pt x="0" y="309"/>
                  </a:cubicBezTo>
                  <a:cubicBezTo>
                    <a:pt x="0" y="480"/>
                    <a:pt x="143" y="619"/>
                    <a:pt x="320" y="619"/>
                  </a:cubicBezTo>
                  <a:lnTo>
                    <a:pt x="2216" y="619"/>
                  </a:lnTo>
                  <a:lnTo>
                    <a:pt x="4224" y="8205"/>
                  </a:lnTo>
                  <a:lnTo>
                    <a:pt x="3622" y="8205"/>
                  </a:lnTo>
                  <a:cubicBezTo>
                    <a:pt x="3601" y="8205"/>
                    <a:pt x="3581" y="8207"/>
                    <a:pt x="3562" y="8211"/>
                  </a:cubicBezTo>
                  <a:cubicBezTo>
                    <a:pt x="3524" y="8207"/>
                    <a:pt x="3486" y="8205"/>
                    <a:pt x="3447" y="8205"/>
                  </a:cubicBezTo>
                  <a:cubicBezTo>
                    <a:pt x="2828" y="8205"/>
                    <a:pt x="2327" y="8690"/>
                    <a:pt x="2327" y="9289"/>
                  </a:cubicBezTo>
                  <a:cubicBezTo>
                    <a:pt x="2327" y="9887"/>
                    <a:pt x="2828" y="10372"/>
                    <a:pt x="3447" y="10372"/>
                  </a:cubicBezTo>
                  <a:cubicBezTo>
                    <a:pt x="4066" y="10372"/>
                    <a:pt x="4567" y="9887"/>
                    <a:pt x="4567" y="9289"/>
                  </a:cubicBezTo>
                  <a:cubicBezTo>
                    <a:pt x="4567" y="9111"/>
                    <a:pt x="4523" y="8944"/>
                    <a:pt x="4445" y="8796"/>
                  </a:cubicBezTo>
                  <a:lnTo>
                    <a:pt x="4584" y="8796"/>
                  </a:lnTo>
                  <a:cubicBezTo>
                    <a:pt x="4613" y="8800"/>
                    <a:pt x="4643" y="8800"/>
                    <a:pt x="4674" y="8796"/>
                  </a:cubicBezTo>
                  <a:lnTo>
                    <a:pt x="9111" y="8796"/>
                  </a:lnTo>
                  <a:cubicBezTo>
                    <a:pt x="9032" y="8944"/>
                    <a:pt x="8988" y="9111"/>
                    <a:pt x="8988" y="9289"/>
                  </a:cubicBezTo>
                  <a:cubicBezTo>
                    <a:pt x="8988" y="9887"/>
                    <a:pt x="9490" y="10372"/>
                    <a:pt x="10109" y="10372"/>
                  </a:cubicBezTo>
                  <a:cubicBezTo>
                    <a:pt x="10727" y="10372"/>
                    <a:pt x="11229" y="9887"/>
                    <a:pt x="11229" y="9289"/>
                  </a:cubicBezTo>
                  <a:cubicBezTo>
                    <a:pt x="11228" y="8730"/>
                    <a:pt x="10791" y="8270"/>
                    <a:pt x="10230" y="8212"/>
                  </a:cubicBezTo>
                  <a:close/>
                  <a:moveTo>
                    <a:pt x="3447" y="9879"/>
                  </a:moveTo>
                  <a:cubicBezTo>
                    <a:pt x="3109" y="9879"/>
                    <a:pt x="2836" y="9615"/>
                    <a:pt x="2836" y="9289"/>
                  </a:cubicBezTo>
                  <a:cubicBezTo>
                    <a:pt x="2836" y="8962"/>
                    <a:pt x="3110" y="8697"/>
                    <a:pt x="3447" y="8697"/>
                  </a:cubicBezTo>
                  <a:cubicBezTo>
                    <a:pt x="3784" y="8697"/>
                    <a:pt x="4058" y="8962"/>
                    <a:pt x="4058" y="9289"/>
                  </a:cubicBezTo>
                  <a:cubicBezTo>
                    <a:pt x="4058" y="9615"/>
                    <a:pt x="3784" y="9879"/>
                    <a:pt x="3447" y="9879"/>
                  </a:cubicBezTo>
                  <a:close/>
                  <a:moveTo>
                    <a:pt x="4487" y="6707"/>
                  </a:moveTo>
                  <a:lnTo>
                    <a:pt x="3298" y="2212"/>
                  </a:lnTo>
                  <a:lnTo>
                    <a:pt x="9543" y="2212"/>
                  </a:lnTo>
                  <a:lnTo>
                    <a:pt x="8790" y="6387"/>
                  </a:lnTo>
                  <a:lnTo>
                    <a:pt x="4487" y="6707"/>
                  </a:lnTo>
                  <a:close/>
                  <a:moveTo>
                    <a:pt x="10109" y="9879"/>
                  </a:moveTo>
                  <a:cubicBezTo>
                    <a:pt x="9771" y="9879"/>
                    <a:pt x="9498" y="9615"/>
                    <a:pt x="9498" y="9289"/>
                  </a:cubicBezTo>
                  <a:cubicBezTo>
                    <a:pt x="9498" y="8962"/>
                    <a:pt x="9771" y="8697"/>
                    <a:pt x="10109" y="8697"/>
                  </a:cubicBezTo>
                  <a:cubicBezTo>
                    <a:pt x="10446" y="8697"/>
                    <a:pt x="10719" y="8962"/>
                    <a:pt x="10719" y="9289"/>
                  </a:cubicBezTo>
                  <a:cubicBezTo>
                    <a:pt x="10719" y="9615"/>
                    <a:pt x="10446" y="9879"/>
                    <a:pt x="10109" y="98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9" name="iconfont-11894-5689857"/>
            <p:cNvSpPr>
              <a:spLocks noChangeAspect="1"/>
            </p:cNvSpPr>
            <p:nvPr userDrawn="1"/>
          </p:nvSpPr>
          <p:spPr bwMode="auto">
            <a:xfrm>
              <a:off x="26998436" y="4594574"/>
              <a:ext cx="552081" cy="609685"/>
            </a:xfrm>
            <a:custGeom>
              <a:avLst/>
              <a:gdLst>
                <a:gd name="T0" fmla="*/ 8880 w 11520"/>
                <a:gd name="T1" fmla="*/ 7520 h 12720"/>
                <a:gd name="T2" fmla="*/ 8720 w 11520"/>
                <a:gd name="T3" fmla="*/ 7520 h 12720"/>
                <a:gd name="T4" fmla="*/ 6240 w 11520"/>
                <a:gd name="T5" fmla="*/ 5280 h 12720"/>
                <a:gd name="T6" fmla="*/ 11360 w 11520"/>
                <a:gd name="T7" fmla="*/ 640 h 12720"/>
                <a:gd name="T8" fmla="*/ 10880 w 11520"/>
                <a:gd name="T9" fmla="*/ 80 h 12720"/>
                <a:gd name="T10" fmla="*/ 5680 w 11520"/>
                <a:gd name="T11" fmla="*/ 4720 h 12720"/>
                <a:gd name="T12" fmla="*/ 480 w 11520"/>
                <a:gd name="T13" fmla="*/ 0 h 12720"/>
                <a:gd name="T14" fmla="*/ 0 w 11520"/>
                <a:gd name="T15" fmla="*/ 560 h 12720"/>
                <a:gd name="T16" fmla="*/ 5120 w 11520"/>
                <a:gd name="T17" fmla="*/ 5200 h 12720"/>
                <a:gd name="T18" fmla="*/ 2640 w 11520"/>
                <a:gd name="T19" fmla="*/ 7440 h 12720"/>
                <a:gd name="T20" fmla="*/ 160 w 11520"/>
                <a:gd name="T21" fmla="*/ 10080 h 12720"/>
                <a:gd name="T22" fmla="*/ 2800 w 11520"/>
                <a:gd name="T23" fmla="*/ 12720 h 12720"/>
                <a:gd name="T24" fmla="*/ 5440 w 11520"/>
                <a:gd name="T25" fmla="*/ 10080 h 12720"/>
                <a:gd name="T26" fmla="*/ 3600 w 11520"/>
                <a:gd name="T27" fmla="*/ 7600 h 12720"/>
                <a:gd name="T28" fmla="*/ 5680 w 11520"/>
                <a:gd name="T29" fmla="*/ 5760 h 12720"/>
                <a:gd name="T30" fmla="*/ 7840 w 11520"/>
                <a:gd name="T31" fmla="*/ 7680 h 12720"/>
                <a:gd name="T32" fmla="*/ 6240 w 11520"/>
                <a:gd name="T33" fmla="*/ 10080 h 12720"/>
                <a:gd name="T34" fmla="*/ 8880 w 11520"/>
                <a:gd name="T35" fmla="*/ 12720 h 12720"/>
                <a:gd name="T36" fmla="*/ 11520 w 11520"/>
                <a:gd name="T37" fmla="*/ 10080 h 12720"/>
                <a:gd name="T38" fmla="*/ 8880 w 11520"/>
                <a:gd name="T39" fmla="*/ 7520 h 12720"/>
                <a:gd name="T40" fmla="*/ 4720 w 11520"/>
                <a:gd name="T41" fmla="*/ 10080 h 12720"/>
                <a:gd name="T42" fmla="*/ 2800 w 11520"/>
                <a:gd name="T43" fmla="*/ 12000 h 12720"/>
                <a:gd name="T44" fmla="*/ 880 w 11520"/>
                <a:gd name="T45" fmla="*/ 10080 h 12720"/>
                <a:gd name="T46" fmla="*/ 2800 w 11520"/>
                <a:gd name="T47" fmla="*/ 8160 h 12720"/>
                <a:gd name="T48" fmla="*/ 4720 w 11520"/>
                <a:gd name="T49" fmla="*/ 10080 h 12720"/>
                <a:gd name="T50" fmla="*/ 8880 w 11520"/>
                <a:gd name="T51" fmla="*/ 12000 h 12720"/>
                <a:gd name="T52" fmla="*/ 6960 w 11520"/>
                <a:gd name="T53" fmla="*/ 10080 h 12720"/>
                <a:gd name="T54" fmla="*/ 8880 w 11520"/>
                <a:gd name="T55" fmla="*/ 8160 h 12720"/>
                <a:gd name="T56" fmla="*/ 10800 w 11520"/>
                <a:gd name="T57" fmla="*/ 10080 h 12720"/>
                <a:gd name="T58" fmla="*/ 8880 w 11520"/>
                <a:gd name="T59" fmla="*/ 1200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20" h="12720">
                  <a:moveTo>
                    <a:pt x="8880" y="7520"/>
                  </a:moveTo>
                  <a:lnTo>
                    <a:pt x="8720" y="7520"/>
                  </a:lnTo>
                  <a:lnTo>
                    <a:pt x="6240" y="5280"/>
                  </a:lnTo>
                  <a:lnTo>
                    <a:pt x="11360" y="640"/>
                  </a:lnTo>
                  <a:lnTo>
                    <a:pt x="10880" y="80"/>
                  </a:lnTo>
                  <a:lnTo>
                    <a:pt x="5680" y="4720"/>
                  </a:lnTo>
                  <a:lnTo>
                    <a:pt x="480" y="0"/>
                  </a:lnTo>
                  <a:lnTo>
                    <a:pt x="0" y="560"/>
                  </a:lnTo>
                  <a:lnTo>
                    <a:pt x="5120" y="5200"/>
                  </a:lnTo>
                  <a:lnTo>
                    <a:pt x="2640" y="7440"/>
                  </a:lnTo>
                  <a:cubicBezTo>
                    <a:pt x="1280" y="7520"/>
                    <a:pt x="160" y="8640"/>
                    <a:pt x="160" y="10080"/>
                  </a:cubicBezTo>
                  <a:cubicBezTo>
                    <a:pt x="160" y="11520"/>
                    <a:pt x="1360" y="12720"/>
                    <a:pt x="2800" y="12720"/>
                  </a:cubicBezTo>
                  <a:cubicBezTo>
                    <a:pt x="4240" y="12720"/>
                    <a:pt x="5440" y="11520"/>
                    <a:pt x="5440" y="10080"/>
                  </a:cubicBezTo>
                  <a:cubicBezTo>
                    <a:pt x="5440" y="8880"/>
                    <a:pt x="4640" y="7920"/>
                    <a:pt x="3600" y="7600"/>
                  </a:cubicBezTo>
                  <a:lnTo>
                    <a:pt x="5680" y="5760"/>
                  </a:lnTo>
                  <a:lnTo>
                    <a:pt x="7840" y="7680"/>
                  </a:lnTo>
                  <a:cubicBezTo>
                    <a:pt x="6880" y="8080"/>
                    <a:pt x="6240" y="9040"/>
                    <a:pt x="6240" y="10080"/>
                  </a:cubicBezTo>
                  <a:cubicBezTo>
                    <a:pt x="6240" y="11520"/>
                    <a:pt x="7440" y="12720"/>
                    <a:pt x="8880" y="12720"/>
                  </a:cubicBezTo>
                  <a:cubicBezTo>
                    <a:pt x="10320" y="12720"/>
                    <a:pt x="11520" y="11520"/>
                    <a:pt x="11520" y="10080"/>
                  </a:cubicBezTo>
                  <a:cubicBezTo>
                    <a:pt x="11520" y="8640"/>
                    <a:pt x="10320" y="7520"/>
                    <a:pt x="8880" y="7520"/>
                  </a:cubicBezTo>
                  <a:close/>
                  <a:moveTo>
                    <a:pt x="4720" y="10080"/>
                  </a:moveTo>
                  <a:cubicBezTo>
                    <a:pt x="4720" y="11120"/>
                    <a:pt x="3840" y="12000"/>
                    <a:pt x="2800" y="12000"/>
                  </a:cubicBezTo>
                  <a:cubicBezTo>
                    <a:pt x="1760" y="12000"/>
                    <a:pt x="880" y="11120"/>
                    <a:pt x="880" y="10080"/>
                  </a:cubicBezTo>
                  <a:cubicBezTo>
                    <a:pt x="880" y="9040"/>
                    <a:pt x="1760" y="8160"/>
                    <a:pt x="2800" y="8160"/>
                  </a:cubicBezTo>
                  <a:cubicBezTo>
                    <a:pt x="3840" y="8160"/>
                    <a:pt x="4720" y="9040"/>
                    <a:pt x="4720" y="10080"/>
                  </a:cubicBezTo>
                  <a:close/>
                  <a:moveTo>
                    <a:pt x="8880" y="12000"/>
                  </a:moveTo>
                  <a:cubicBezTo>
                    <a:pt x="7840" y="12000"/>
                    <a:pt x="6960" y="11120"/>
                    <a:pt x="6960" y="10080"/>
                  </a:cubicBezTo>
                  <a:cubicBezTo>
                    <a:pt x="6960" y="9040"/>
                    <a:pt x="7840" y="8160"/>
                    <a:pt x="8880" y="8160"/>
                  </a:cubicBezTo>
                  <a:cubicBezTo>
                    <a:pt x="9920" y="8160"/>
                    <a:pt x="10800" y="9040"/>
                    <a:pt x="10800" y="10080"/>
                  </a:cubicBezTo>
                  <a:cubicBezTo>
                    <a:pt x="10800" y="11120"/>
                    <a:pt x="9920" y="12000"/>
                    <a:pt x="8880" y="120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86" name="iconfont-11894-5689857"/>
            <p:cNvSpPr>
              <a:spLocks noChangeAspect="1"/>
            </p:cNvSpPr>
            <p:nvPr userDrawn="1"/>
          </p:nvSpPr>
          <p:spPr bwMode="auto">
            <a:xfrm>
              <a:off x="28188999" y="459457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88" name="iconfont-11894-5689857"/>
            <p:cNvSpPr>
              <a:spLocks noChangeAspect="1"/>
            </p:cNvSpPr>
            <p:nvPr userDrawn="1"/>
          </p:nvSpPr>
          <p:spPr bwMode="auto">
            <a:xfrm>
              <a:off x="13556559" y="6064991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89" name="iconfont-11894-5689857"/>
            <p:cNvSpPr>
              <a:spLocks noChangeAspect="1"/>
            </p:cNvSpPr>
            <p:nvPr userDrawn="1"/>
          </p:nvSpPr>
          <p:spPr bwMode="auto">
            <a:xfrm>
              <a:off x="14775929" y="6100660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90" name="iconfont-11894-5689857"/>
            <p:cNvSpPr>
              <a:spLocks noChangeAspect="1"/>
            </p:cNvSpPr>
            <p:nvPr userDrawn="1"/>
          </p:nvSpPr>
          <p:spPr bwMode="auto">
            <a:xfrm>
              <a:off x="15995299" y="6087662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1" name="iconfont-11894-5689857"/>
            <p:cNvSpPr>
              <a:spLocks noChangeAspect="1"/>
            </p:cNvSpPr>
            <p:nvPr userDrawn="1"/>
          </p:nvSpPr>
          <p:spPr bwMode="auto">
            <a:xfrm>
              <a:off x="17214969" y="6064991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2" name="iconfont-11894-5689857"/>
            <p:cNvSpPr>
              <a:spLocks noChangeAspect="1"/>
            </p:cNvSpPr>
            <p:nvPr userDrawn="1"/>
          </p:nvSpPr>
          <p:spPr bwMode="auto">
            <a:xfrm>
              <a:off x="18434538" y="6064991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3" name="iconfont-11894-5689857"/>
            <p:cNvSpPr>
              <a:spLocks noChangeAspect="1"/>
            </p:cNvSpPr>
            <p:nvPr userDrawn="1"/>
          </p:nvSpPr>
          <p:spPr bwMode="auto">
            <a:xfrm>
              <a:off x="19746077" y="6064991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4" name="iconfont-11894-5689857"/>
            <p:cNvSpPr>
              <a:spLocks noChangeAspect="1"/>
            </p:cNvSpPr>
            <p:nvPr userDrawn="1"/>
          </p:nvSpPr>
          <p:spPr bwMode="auto">
            <a:xfrm>
              <a:off x="20872779" y="6066472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5" name="iconfont-11894-5689857"/>
            <p:cNvSpPr>
              <a:spLocks noChangeAspect="1"/>
            </p:cNvSpPr>
            <p:nvPr userDrawn="1"/>
          </p:nvSpPr>
          <p:spPr bwMode="auto">
            <a:xfrm>
              <a:off x="22092150" y="6071390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6" name="iconfont-11894-5689857"/>
            <p:cNvSpPr>
              <a:spLocks noChangeAspect="1"/>
            </p:cNvSpPr>
            <p:nvPr userDrawn="1"/>
          </p:nvSpPr>
          <p:spPr bwMode="auto">
            <a:xfrm>
              <a:off x="23401954" y="6064991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7" name="iconfont-11894-5689857"/>
            <p:cNvSpPr>
              <a:spLocks noChangeAspect="1"/>
            </p:cNvSpPr>
            <p:nvPr userDrawn="1"/>
          </p:nvSpPr>
          <p:spPr bwMode="auto">
            <a:xfrm>
              <a:off x="24530889" y="6064991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98" name="iconfont-11894-5689857"/>
            <p:cNvSpPr>
              <a:spLocks noChangeAspect="1"/>
            </p:cNvSpPr>
            <p:nvPr userDrawn="1"/>
          </p:nvSpPr>
          <p:spPr bwMode="auto">
            <a:xfrm>
              <a:off x="25750260" y="6134244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99" name="iconfont-11894-5689857"/>
            <p:cNvSpPr>
              <a:spLocks noChangeAspect="1"/>
            </p:cNvSpPr>
            <p:nvPr userDrawn="1"/>
          </p:nvSpPr>
          <p:spPr bwMode="auto">
            <a:xfrm>
              <a:off x="26969630" y="6071093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00" name="iconfont-11894-5689857"/>
            <p:cNvSpPr>
              <a:spLocks noChangeAspect="1"/>
            </p:cNvSpPr>
            <p:nvPr userDrawn="1"/>
          </p:nvSpPr>
          <p:spPr bwMode="auto">
            <a:xfrm>
              <a:off x="28188999" y="6064991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pic>
        <p:nvPicPr>
          <p:cNvPr id="103" name="图片 102"/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1244749" y="4093641"/>
            <a:ext cx="13436749" cy="4529721"/>
          </a:xfrm>
          <a:prstGeom prst="rect">
            <a:avLst/>
          </a:prstGeom>
        </p:spPr>
      </p:pic>
      <p:sp>
        <p:nvSpPr>
          <p:cNvPr id="104" name="矩形 103"/>
          <p:cNvSpPr/>
          <p:nvPr userDrawn="1"/>
        </p:nvSpPr>
        <p:spPr>
          <a:xfrm>
            <a:off x="420914" y="288480"/>
            <a:ext cx="11350172" cy="6290564"/>
          </a:xfrm>
          <a:prstGeom prst="rect">
            <a:avLst/>
          </a:prstGeom>
          <a:solidFill>
            <a:schemeClr val="bg1"/>
          </a:solidFill>
          <a:ln w="263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5" name="矩形 104"/>
          <p:cNvSpPr/>
          <p:nvPr userDrawn="1"/>
        </p:nvSpPr>
        <p:spPr>
          <a:xfrm>
            <a:off x="0" y="442867"/>
            <a:ext cx="2044700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6" name="组合 105"/>
          <p:cNvGrpSpPr/>
          <p:nvPr userDrawn="1"/>
        </p:nvGrpSpPr>
        <p:grpSpPr>
          <a:xfrm>
            <a:off x="469392" y="527703"/>
            <a:ext cx="3334512" cy="338554"/>
            <a:chOff x="469392" y="694436"/>
            <a:chExt cx="3334512" cy="338554"/>
          </a:xfrm>
        </p:grpSpPr>
        <p:sp>
          <p:nvSpPr>
            <p:cNvPr id="107" name="平行四边形 106"/>
            <p:cNvSpPr/>
            <p:nvPr/>
          </p:nvSpPr>
          <p:spPr>
            <a:xfrm>
              <a:off x="469392" y="694436"/>
              <a:ext cx="3334512" cy="338554"/>
            </a:xfrm>
            <a:prstGeom prst="parallelogram">
              <a:avLst>
                <a:gd name="adj" fmla="val 0"/>
              </a:avLst>
            </a:prstGeom>
            <a:solidFill>
              <a:schemeClr val="accent1"/>
            </a:solidFill>
            <a:ln>
              <a:noFill/>
            </a:ln>
            <a:effectLst>
              <a:outerShdw blurRad="101600" dist="63500" dir="4800000" sx="104000" sy="104000" algn="tl" rotWithShape="0">
                <a:prstClr val="black">
                  <a:alpha val="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grpSp>
          <p:nvGrpSpPr>
            <p:cNvPr id="116" name="组合 115"/>
            <p:cNvGrpSpPr/>
            <p:nvPr/>
          </p:nvGrpSpPr>
          <p:grpSpPr>
            <a:xfrm>
              <a:off x="616349" y="748143"/>
              <a:ext cx="152400" cy="231140"/>
              <a:chOff x="378097" y="454660"/>
              <a:chExt cx="152400" cy="231140"/>
            </a:xfrm>
          </p:grpSpPr>
          <p:cxnSp>
            <p:nvCxnSpPr>
              <p:cNvPr id="120" name="直接连接符 119"/>
              <p:cNvCxnSpPr/>
              <p:nvPr/>
            </p:nvCxnSpPr>
            <p:spPr>
              <a:xfrm>
                <a:off x="378097" y="454660"/>
                <a:ext cx="0" cy="23114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直接连接符 120"/>
              <p:cNvCxnSpPr/>
              <p:nvPr/>
            </p:nvCxnSpPr>
            <p:spPr>
              <a:xfrm>
                <a:off x="454297" y="454660"/>
                <a:ext cx="0" cy="23114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直接连接符 121"/>
              <p:cNvCxnSpPr/>
              <p:nvPr/>
            </p:nvCxnSpPr>
            <p:spPr>
              <a:xfrm>
                <a:off x="530497" y="454660"/>
                <a:ext cx="0" cy="23114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8" decel="85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2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2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-32063822" y="52592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CCD1D4"/>
                </a:solidFill>
              </a:rPr>
              <a:t>8435759</a:t>
            </a:r>
            <a:endParaRPr lang="zh-CN" altLang="en-US" dirty="0">
              <a:solidFill>
                <a:srgbClr val="CCD1D4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" name="文本框 2"/>
          <p:cNvSpPr txBox="1"/>
          <p:nvPr userDrawn="1"/>
        </p:nvSpPr>
        <p:spPr>
          <a:xfrm>
            <a:off x="-32063822" y="52592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-34029696" y="0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6" name="文本框 5"/>
          <p:cNvSpPr txBox="1"/>
          <p:nvPr userDrawn="1"/>
        </p:nvSpPr>
        <p:spPr>
          <a:xfrm>
            <a:off x="-16011022" y="-212583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CCD1D4"/>
                </a:solidFill>
              </a:rPr>
              <a:t>8435759</a:t>
            </a:r>
            <a:endParaRPr lang="zh-CN" altLang="en-US" dirty="0">
              <a:solidFill>
                <a:srgbClr val="CCD1D4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3" name="文本框 2"/>
          <p:cNvSpPr txBox="1"/>
          <p:nvPr userDrawn="1"/>
        </p:nvSpPr>
        <p:spPr>
          <a:xfrm>
            <a:off x="2378578" y="-107935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CCD1D4"/>
                </a:solidFill>
              </a:rPr>
              <a:t>8435759</a:t>
            </a:r>
            <a:endParaRPr lang="zh-CN" altLang="en-US" dirty="0">
              <a:solidFill>
                <a:srgbClr val="CCD1D4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 userDrawn="1"/>
        </p:nvSpPr>
        <p:spPr>
          <a:xfrm>
            <a:off x="1591321" y="3733800"/>
            <a:ext cx="30568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zh-CN" altLang="en-US" sz="800" b="0" i="0" u="none" strike="noStrike" kern="1200" dirty="0">
                <a:solidFill>
                  <a:srgbClr val="E6E6E6">
                    <a:alpha val="0"/>
                  </a:srgbClr>
                </a:solidFill>
                <a:effectLst/>
                <a:latin typeface="+mn-lt"/>
                <a:ea typeface="+mn-ea"/>
                <a:cs typeface="+mn-cs"/>
              </a:rPr>
              <a:t> 千图</a:t>
            </a:r>
            <a:r>
              <a:rPr lang="en-US" altLang="zh-CN" sz="800" b="0" i="0" u="none" strike="noStrike" kern="1200" dirty="0">
                <a:solidFill>
                  <a:srgbClr val="E6E6E6">
                    <a:alpha val="0"/>
                  </a:srgbClr>
                </a:solidFill>
                <a:effectLst/>
                <a:latin typeface="+mn-lt"/>
                <a:ea typeface="+mn-ea"/>
                <a:cs typeface="+mn-cs"/>
              </a:rPr>
              <a:t>: Blu e Drago </a:t>
            </a:r>
            <a:r>
              <a:rPr lang="en-US" altLang="zh-CN" sz="800" b="0" i="0" u="none" strike="noStrike" kern="1200" dirty="0" err="1">
                <a:solidFill>
                  <a:srgbClr val="E6E6E6">
                    <a:alpha val="0"/>
                  </a:srgbClr>
                </a:solidFill>
                <a:effectLst/>
                <a:latin typeface="+mn-lt"/>
                <a:ea typeface="+mn-ea"/>
                <a:cs typeface="+mn-cs"/>
              </a:rPr>
              <a:t>nfly</a:t>
            </a:r>
            <a:endParaRPr lang="en-US" altLang="zh-CN" sz="800" b="0" i="0" u="none" strike="noStrike" kern="1200" dirty="0">
              <a:solidFill>
                <a:srgbClr val="E6E6E6">
                  <a:alpha val="0"/>
                </a:srgbClr>
              </a:solidFill>
              <a:effectLst/>
              <a:latin typeface="+mn-lt"/>
              <a:ea typeface="+mn-ea"/>
              <a:cs typeface="+mn-cs"/>
            </a:endParaRPr>
          </a:p>
          <a:p>
            <a:br>
              <a:rPr lang="en-US" altLang="zh-CN" sz="800" dirty="0">
                <a:solidFill>
                  <a:srgbClr val="E6E6E6">
                    <a:alpha val="0"/>
                  </a:srgbClr>
                </a:solidFill>
              </a:rPr>
            </a:br>
            <a:r>
              <a:rPr lang="en-US" altLang="zh-CN" sz="800" dirty="0">
                <a:solidFill>
                  <a:srgbClr val="E6E6E6">
                    <a:alpha val="0"/>
                  </a:srgbClr>
                </a:solidFill>
              </a:rPr>
              <a:t>DESIGN</a:t>
            </a:r>
            <a:endParaRPr lang="zh-CN" altLang="en-US" sz="800" dirty="0">
              <a:solidFill>
                <a:srgbClr val="E6E6E6">
                  <a:alpha val="0"/>
                </a:srgbClr>
              </a:solidFill>
            </a:endParaRPr>
          </a:p>
        </p:txBody>
      </p:sp>
      <p:sp>
        <p:nvSpPr>
          <p:cNvPr id="3" name="8435759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文本框 4"/>
          <p:cNvSpPr txBox="1"/>
          <p:nvPr userDrawn="1"/>
        </p:nvSpPr>
        <p:spPr>
          <a:xfrm>
            <a:off x="2378578" y="-107935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6" name="文本框 5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7" name="文本框 6"/>
          <p:cNvSpPr txBox="1"/>
          <p:nvPr userDrawn="1"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CCD1D4"/>
                </a:solidFill>
              </a:rPr>
              <a:t>8435759</a:t>
            </a:r>
            <a:endParaRPr lang="zh-CN" altLang="en-US" dirty="0">
              <a:solidFill>
                <a:srgbClr val="CCD1D4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2378578" y="-107935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3" name="文本框 2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CCD1D4"/>
                </a:solidFill>
              </a:rPr>
              <a:t>8435759</a:t>
            </a:r>
            <a:endParaRPr lang="zh-CN" altLang="en-US" dirty="0">
              <a:solidFill>
                <a:srgbClr val="CCD1D4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mplate from Qian t u 8 4 3 5 7 5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rgbClr val="E6E6E6"/>
              </a:solidFill>
            </a:endParaRPr>
          </a:p>
        </p:txBody>
      </p:sp>
      <p:sp>
        <p:nvSpPr>
          <p:cNvPr id="3" name="Template from Qian t u 8 4 3 5 7 5 9"/>
          <p:cNvSpPr txBox="1"/>
          <p:nvPr userDrawn="1"/>
        </p:nvSpPr>
        <p:spPr>
          <a:xfrm>
            <a:off x="-32063822" y="52592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4" name="Template from Qian t u 8 4 3 5 7 5 9"/>
          <p:cNvSpPr txBox="1"/>
          <p:nvPr userDrawn="1"/>
        </p:nvSpPr>
        <p:spPr>
          <a:xfrm>
            <a:off x="-34029696" y="0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6" name="文本框 5"/>
          <p:cNvSpPr txBox="1"/>
          <p:nvPr userDrawn="1"/>
        </p:nvSpPr>
        <p:spPr>
          <a:xfrm>
            <a:off x="-16011022" y="-212583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7" name="矩形 6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E6E6E6"/>
                </a:solidFill>
              </a:rPr>
              <a:t>8435759</a:t>
            </a:r>
            <a:endParaRPr lang="zh-CN" altLang="en-US" dirty="0">
              <a:solidFill>
                <a:srgbClr val="E6E6E6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rgbClr val="E6E6E6"/>
              </a:solidFill>
            </a:endParaRPr>
          </a:p>
        </p:txBody>
      </p:sp>
      <p:sp>
        <p:nvSpPr>
          <p:cNvPr id="3" name="文本框 2"/>
          <p:cNvSpPr txBox="1"/>
          <p:nvPr userDrawn="1"/>
        </p:nvSpPr>
        <p:spPr>
          <a:xfrm>
            <a:off x="2378578" y="-107935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5" name="文本框 4"/>
          <p:cNvSpPr txBox="1"/>
          <p:nvPr userDrawn="1"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E6E6E6"/>
                </a:solidFill>
              </a:rPr>
              <a:t>8435759</a:t>
            </a:r>
            <a:endParaRPr lang="zh-CN" altLang="en-US" dirty="0">
              <a:solidFill>
                <a:srgbClr val="E6E6E6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 userDrawn="1"/>
        </p:nvSpPr>
        <p:spPr>
          <a:xfrm>
            <a:off x="1591321" y="3733800"/>
            <a:ext cx="30568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zh-CN" altLang="en-US" sz="800" b="0" i="0" u="none" strike="noStrike" kern="1200" dirty="0">
                <a:solidFill>
                  <a:srgbClr val="E6E6E6"/>
                </a:solidFill>
                <a:effectLst/>
                <a:latin typeface="+mn-lt"/>
                <a:ea typeface="+mn-ea"/>
                <a:cs typeface="+mn-cs"/>
              </a:rPr>
              <a:t> 千图</a:t>
            </a:r>
            <a:r>
              <a:rPr lang="en-US" altLang="zh-CN" sz="800" b="0" i="0" u="none" strike="noStrike" kern="1200" dirty="0">
                <a:solidFill>
                  <a:srgbClr val="E6E6E6"/>
                </a:solidFill>
                <a:effectLst/>
                <a:latin typeface="+mn-lt"/>
                <a:ea typeface="+mn-ea"/>
                <a:cs typeface="+mn-cs"/>
              </a:rPr>
              <a:t>: Blu e Drago </a:t>
            </a:r>
            <a:r>
              <a:rPr lang="en-US" altLang="zh-CN" sz="800" b="0" i="0" u="none" strike="noStrike" kern="1200" dirty="0" err="1">
                <a:solidFill>
                  <a:srgbClr val="E6E6E6"/>
                </a:solidFill>
                <a:effectLst/>
                <a:latin typeface="+mn-lt"/>
                <a:ea typeface="+mn-ea"/>
                <a:cs typeface="+mn-cs"/>
              </a:rPr>
              <a:t>nfly</a:t>
            </a:r>
            <a:endParaRPr lang="en-US" altLang="zh-CN" sz="800" b="0" i="0" u="none" strike="noStrike" kern="1200" dirty="0">
              <a:solidFill>
                <a:srgbClr val="E6E6E6"/>
              </a:solidFill>
              <a:effectLst/>
              <a:latin typeface="+mn-lt"/>
              <a:ea typeface="+mn-ea"/>
              <a:cs typeface="+mn-cs"/>
            </a:endParaRPr>
          </a:p>
          <a:p>
            <a:br>
              <a:rPr lang="en-US" altLang="zh-CN" sz="800" dirty="0">
                <a:solidFill>
                  <a:srgbClr val="E6E6E6"/>
                </a:solidFill>
              </a:rPr>
            </a:br>
            <a:r>
              <a:rPr lang="en-US" altLang="zh-CN" sz="800" dirty="0">
                <a:solidFill>
                  <a:srgbClr val="E6E6E6"/>
                </a:solidFill>
              </a:rPr>
              <a:t>DESIGN</a:t>
            </a:r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3" name="8435759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6E6E6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5" name="文本框 4"/>
          <p:cNvSpPr txBox="1"/>
          <p:nvPr userDrawn="1"/>
        </p:nvSpPr>
        <p:spPr>
          <a:xfrm>
            <a:off x="2378578" y="-107935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6" name="文本框 5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7" name="文本框 6"/>
          <p:cNvSpPr txBox="1"/>
          <p:nvPr userDrawn="1"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8" name="矩形 7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E6E6E6"/>
                </a:solidFill>
              </a:rPr>
              <a:t>8435759</a:t>
            </a:r>
            <a:endParaRPr lang="zh-CN" altLang="en-US" dirty="0">
              <a:solidFill>
                <a:srgbClr val="E6E6E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 userDrawn="1"/>
        </p:nvSpPr>
        <p:spPr>
          <a:xfrm>
            <a:off x="2378578" y="-107935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3" name="文本框 2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4" name="文本框 3"/>
          <p:cNvSpPr txBox="1"/>
          <p:nvPr userDrawn="1"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>
          <a:xfrm>
            <a:off x="-150980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CCD1D4"/>
                </a:solidFill>
              </a:rPr>
              <a:t>8435759</a:t>
            </a:r>
            <a:endParaRPr lang="zh-CN" altLang="en-US" dirty="0">
              <a:solidFill>
                <a:srgbClr val="CCD1D4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3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rgbClr val="E6E6E6"/>
              </a:solidFill>
            </a:endParaRPr>
          </a:p>
        </p:txBody>
      </p:sp>
      <p:grpSp>
        <p:nvGrpSpPr>
          <p:cNvPr id="438" name="组合 437"/>
          <p:cNvGrpSpPr/>
          <p:nvPr userDrawn="1"/>
        </p:nvGrpSpPr>
        <p:grpSpPr>
          <a:xfrm rot="20715591">
            <a:off x="-2678010" y="-1722569"/>
            <a:ext cx="14438908" cy="11720996"/>
            <a:chOff x="13556559" y="-5698344"/>
            <a:chExt cx="15242125" cy="12373020"/>
          </a:xfrm>
        </p:grpSpPr>
        <p:sp>
          <p:nvSpPr>
            <p:cNvPr id="9" name="iconfont-11894-5689857"/>
            <p:cNvSpPr>
              <a:spLocks noChangeAspect="1"/>
            </p:cNvSpPr>
            <p:nvPr userDrawn="1"/>
          </p:nvSpPr>
          <p:spPr bwMode="auto">
            <a:xfrm>
              <a:off x="13556559" y="-569834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108" name="iconfont-11894-5689857"/>
            <p:cNvSpPr>
              <a:spLocks noChangeAspect="1"/>
            </p:cNvSpPr>
            <p:nvPr userDrawn="1"/>
          </p:nvSpPr>
          <p:spPr bwMode="auto">
            <a:xfrm>
              <a:off x="14775929" y="-5662675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09" name="iconfont-11894-5689857"/>
            <p:cNvSpPr>
              <a:spLocks noChangeAspect="1"/>
            </p:cNvSpPr>
            <p:nvPr userDrawn="1"/>
          </p:nvSpPr>
          <p:spPr bwMode="auto">
            <a:xfrm>
              <a:off x="15995299" y="-5675673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0" name="iconfont-11894-5689857"/>
            <p:cNvSpPr>
              <a:spLocks noChangeAspect="1"/>
            </p:cNvSpPr>
            <p:nvPr userDrawn="1"/>
          </p:nvSpPr>
          <p:spPr bwMode="auto">
            <a:xfrm>
              <a:off x="17214969" y="-569834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1" name="iconfont-11894-5689857"/>
            <p:cNvSpPr>
              <a:spLocks noChangeAspect="1"/>
            </p:cNvSpPr>
            <p:nvPr userDrawn="1"/>
          </p:nvSpPr>
          <p:spPr bwMode="auto">
            <a:xfrm>
              <a:off x="18434538" y="-5698344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2" name="iconfont-11894-5689857"/>
            <p:cNvSpPr>
              <a:spLocks noChangeAspect="1"/>
            </p:cNvSpPr>
            <p:nvPr userDrawn="1"/>
          </p:nvSpPr>
          <p:spPr bwMode="auto">
            <a:xfrm>
              <a:off x="19746077" y="-5698344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3" name="iconfont-11894-5689857"/>
            <p:cNvSpPr>
              <a:spLocks noChangeAspect="1"/>
            </p:cNvSpPr>
            <p:nvPr userDrawn="1"/>
          </p:nvSpPr>
          <p:spPr bwMode="auto">
            <a:xfrm>
              <a:off x="20872779" y="-5696863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4" name="iconfont-11894-5689857"/>
            <p:cNvSpPr>
              <a:spLocks noChangeAspect="1"/>
            </p:cNvSpPr>
            <p:nvPr userDrawn="1"/>
          </p:nvSpPr>
          <p:spPr bwMode="auto">
            <a:xfrm>
              <a:off x="22092150" y="-5691945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5" name="iconfont-11894-5689857"/>
            <p:cNvSpPr>
              <a:spLocks noChangeAspect="1"/>
            </p:cNvSpPr>
            <p:nvPr userDrawn="1"/>
          </p:nvSpPr>
          <p:spPr bwMode="auto">
            <a:xfrm>
              <a:off x="23401954" y="-5698344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0" name="iconfont-11894-5689857"/>
            <p:cNvSpPr>
              <a:spLocks noChangeAspect="1"/>
            </p:cNvSpPr>
            <p:nvPr userDrawn="1"/>
          </p:nvSpPr>
          <p:spPr bwMode="auto">
            <a:xfrm>
              <a:off x="24530889" y="-569834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117" name="iconfont-11894-5689857"/>
            <p:cNvSpPr>
              <a:spLocks noChangeAspect="1"/>
            </p:cNvSpPr>
            <p:nvPr userDrawn="1"/>
          </p:nvSpPr>
          <p:spPr bwMode="auto">
            <a:xfrm>
              <a:off x="25750260" y="-5629091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18" name="iconfont-11894-5689857"/>
            <p:cNvSpPr>
              <a:spLocks noChangeAspect="1"/>
            </p:cNvSpPr>
            <p:nvPr userDrawn="1"/>
          </p:nvSpPr>
          <p:spPr bwMode="auto">
            <a:xfrm>
              <a:off x="26969630" y="-5692242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9" name="iconfont-11894-5689857"/>
            <p:cNvSpPr>
              <a:spLocks noChangeAspect="1"/>
            </p:cNvSpPr>
            <p:nvPr userDrawn="1"/>
          </p:nvSpPr>
          <p:spPr bwMode="auto">
            <a:xfrm>
              <a:off x="28188999" y="-569834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0" name="iconfont-11894-5689857"/>
            <p:cNvSpPr>
              <a:spLocks noChangeAspect="1"/>
            </p:cNvSpPr>
            <p:nvPr userDrawn="1"/>
          </p:nvSpPr>
          <p:spPr bwMode="auto">
            <a:xfrm>
              <a:off x="13556559" y="-422792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291" name="iconfont-11894-5689857"/>
            <p:cNvSpPr>
              <a:spLocks noChangeAspect="1"/>
            </p:cNvSpPr>
            <p:nvPr userDrawn="1"/>
          </p:nvSpPr>
          <p:spPr bwMode="auto">
            <a:xfrm>
              <a:off x="14775929" y="-4192258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2" name="iconfont-11894-5689857"/>
            <p:cNvSpPr>
              <a:spLocks noChangeAspect="1"/>
            </p:cNvSpPr>
            <p:nvPr userDrawn="1"/>
          </p:nvSpPr>
          <p:spPr bwMode="auto">
            <a:xfrm>
              <a:off x="15995299" y="-4205256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3" name="iconfont-11894-5689857"/>
            <p:cNvSpPr>
              <a:spLocks noChangeAspect="1"/>
            </p:cNvSpPr>
            <p:nvPr userDrawn="1"/>
          </p:nvSpPr>
          <p:spPr bwMode="auto">
            <a:xfrm>
              <a:off x="17214969" y="-4227927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4" name="iconfont-11894-5689857"/>
            <p:cNvSpPr>
              <a:spLocks noChangeAspect="1"/>
            </p:cNvSpPr>
            <p:nvPr userDrawn="1"/>
          </p:nvSpPr>
          <p:spPr bwMode="auto">
            <a:xfrm>
              <a:off x="18434041" y="-4227927"/>
              <a:ext cx="609685" cy="609685"/>
            </a:xfrm>
            <a:custGeom>
              <a:avLst/>
              <a:gdLst>
                <a:gd name="T0" fmla="*/ 12800 w 12800"/>
                <a:gd name="T1" fmla="*/ 11680 h 12800"/>
                <a:gd name="T2" fmla="*/ 11680 w 12800"/>
                <a:gd name="T3" fmla="*/ 12800 h 12800"/>
                <a:gd name="T4" fmla="*/ 1120 w 12800"/>
                <a:gd name="T5" fmla="*/ 12800 h 12800"/>
                <a:gd name="T6" fmla="*/ 0 w 12800"/>
                <a:gd name="T7" fmla="*/ 11680 h 12800"/>
                <a:gd name="T8" fmla="*/ 0 w 12800"/>
                <a:gd name="T9" fmla="*/ 1120 h 12800"/>
                <a:gd name="T10" fmla="*/ 1120 w 12800"/>
                <a:gd name="T11" fmla="*/ 0 h 12800"/>
                <a:gd name="T12" fmla="*/ 11680 w 12800"/>
                <a:gd name="T13" fmla="*/ 0 h 12800"/>
                <a:gd name="T14" fmla="*/ 12800 w 12800"/>
                <a:gd name="T15" fmla="*/ 1120 h 12800"/>
                <a:gd name="T16" fmla="*/ 12800 w 12800"/>
                <a:gd name="T17" fmla="*/ 11680 h 12800"/>
                <a:gd name="T18" fmla="*/ 12005 w 12800"/>
                <a:gd name="T19" fmla="*/ 1366 h 12800"/>
                <a:gd name="T20" fmla="*/ 11466 w 12800"/>
                <a:gd name="T21" fmla="*/ 800 h 12800"/>
                <a:gd name="T22" fmla="*/ 1200 w 12800"/>
                <a:gd name="T23" fmla="*/ 800 h 12800"/>
                <a:gd name="T24" fmla="*/ 800 w 12800"/>
                <a:gd name="T25" fmla="*/ 1200 h 12800"/>
                <a:gd name="T26" fmla="*/ 800 w 12800"/>
                <a:gd name="T27" fmla="*/ 11500 h 12800"/>
                <a:gd name="T28" fmla="*/ 1300 w 12800"/>
                <a:gd name="T29" fmla="*/ 12000 h 12800"/>
                <a:gd name="T30" fmla="*/ 11500 w 12800"/>
                <a:gd name="T31" fmla="*/ 12000 h 12800"/>
                <a:gd name="T32" fmla="*/ 12005 w 12800"/>
                <a:gd name="T33" fmla="*/ 11434 h 12800"/>
                <a:gd name="T34" fmla="*/ 12000 w 12800"/>
                <a:gd name="T35" fmla="*/ 1200 h 12800"/>
                <a:gd name="T36" fmla="*/ 12005 w 12800"/>
                <a:gd name="T37" fmla="*/ 1366 h 12800"/>
                <a:gd name="T38" fmla="*/ 8800 w 12800"/>
                <a:gd name="T39" fmla="*/ 10400 h 12800"/>
                <a:gd name="T40" fmla="*/ 4000 w 12800"/>
                <a:gd name="T41" fmla="*/ 10400 h 12800"/>
                <a:gd name="T42" fmla="*/ 4000 w 12800"/>
                <a:gd name="T43" fmla="*/ 7200 h 12800"/>
                <a:gd name="T44" fmla="*/ 1600 w 12800"/>
                <a:gd name="T45" fmla="*/ 7200 h 12800"/>
                <a:gd name="T46" fmla="*/ 6400 w 12800"/>
                <a:gd name="T47" fmla="*/ 1562 h 12800"/>
                <a:gd name="T48" fmla="*/ 11200 w 12800"/>
                <a:gd name="T49" fmla="*/ 7200 h 12800"/>
                <a:gd name="T50" fmla="*/ 8800 w 12800"/>
                <a:gd name="T51" fmla="*/ 7200 h 12800"/>
                <a:gd name="T52" fmla="*/ 8800 w 12800"/>
                <a:gd name="T53" fmla="*/ 10400 h 12800"/>
                <a:gd name="T54" fmla="*/ 4800 w 12800"/>
                <a:gd name="T55" fmla="*/ 9600 h 12800"/>
                <a:gd name="T56" fmla="*/ 8000 w 12800"/>
                <a:gd name="T57" fmla="*/ 9600 h 12800"/>
                <a:gd name="T58" fmla="*/ 8000 w 12800"/>
                <a:gd name="T59" fmla="*/ 6400 h 12800"/>
                <a:gd name="T60" fmla="*/ 9566 w 12800"/>
                <a:gd name="T61" fmla="*/ 6400 h 12800"/>
                <a:gd name="T62" fmla="*/ 6400 w 12800"/>
                <a:gd name="T63" fmla="*/ 2900 h 12800"/>
                <a:gd name="T64" fmla="*/ 3280 w 12800"/>
                <a:gd name="T65" fmla="*/ 6400 h 12800"/>
                <a:gd name="T66" fmla="*/ 4800 w 12800"/>
                <a:gd name="T67" fmla="*/ 6400 h 12800"/>
                <a:gd name="T68" fmla="*/ 4800 w 12800"/>
                <a:gd name="T69" fmla="*/ 96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800" h="12800">
                  <a:moveTo>
                    <a:pt x="12800" y="11680"/>
                  </a:moveTo>
                  <a:cubicBezTo>
                    <a:pt x="12800" y="12298"/>
                    <a:pt x="12298" y="12800"/>
                    <a:pt x="11680" y="12800"/>
                  </a:cubicBezTo>
                  <a:lnTo>
                    <a:pt x="1120" y="12800"/>
                  </a:lnTo>
                  <a:cubicBezTo>
                    <a:pt x="502" y="12800"/>
                    <a:pt x="0" y="12298"/>
                    <a:pt x="0" y="11680"/>
                  </a:cubicBezTo>
                  <a:lnTo>
                    <a:pt x="0" y="1120"/>
                  </a:lnTo>
                  <a:cubicBezTo>
                    <a:pt x="0" y="502"/>
                    <a:pt x="502" y="0"/>
                    <a:pt x="1120" y="0"/>
                  </a:cubicBezTo>
                  <a:lnTo>
                    <a:pt x="11680" y="0"/>
                  </a:lnTo>
                  <a:cubicBezTo>
                    <a:pt x="12298" y="0"/>
                    <a:pt x="12800" y="502"/>
                    <a:pt x="12800" y="1120"/>
                  </a:cubicBezTo>
                  <a:lnTo>
                    <a:pt x="12800" y="11680"/>
                  </a:lnTo>
                  <a:close/>
                  <a:moveTo>
                    <a:pt x="12005" y="1366"/>
                  </a:moveTo>
                  <a:cubicBezTo>
                    <a:pt x="12005" y="1017"/>
                    <a:pt x="11706" y="800"/>
                    <a:pt x="11466" y="800"/>
                  </a:cubicBezTo>
                  <a:lnTo>
                    <a:pt x="1200" y="800"/>
                  </a:lnTo>
                  <a:cubicBezTo>
                    <a:pt x="1038" y="800"/>
                    <a:pt x="800" y="1001"/>
                    <a:pt x="800" y="1200"/>
                  </a:cubicBezTo>
                  <a:lnTo>
                    <a:pt x="800" y="11500"/>
                  </a:lnTo>
                  <a:cubicBezTo>
                    <a:pt x="800" y="11740"/>
                    <a:pt x="1060" y="12000"/>
                    <a:pt x="1300" y="12000"/>
                  </a:cubicBezTo>
                  <a:lnTo>
                    <a:pt x="11500" y="12000"/>
                  </a:lnTo>
                  <a:cubicBezTo>
                    <a:pt x="11740" y="12000"/>
                    <a:pt x="12005" y="11674"/>
                    <a:pt x="12005" y="11434"/>
                  </a:cubicBezTo>
                  <a:lnTo>
                    <a:pt x="12000" y="1200"/>
                  </a:lnTo>
                  <a:lnTo>
                    <a:pt x="12005" y="1366"/>
                  </a:lnTo>
                  <a:close/>
                  <a:moveTo>
                    <a:pt x="8800" y="10400"/>
                  </a:moveTo>
                  <a:lnTo>
                    <a:pt x="4000" y="10400"/>
                  </a:lnTo>
                  <a:lnTo>
                    <a:pt x="4000" y="7200"/>
                  </a:lnTo>
                  <a:lnTo>
                    <a:pt x="1600" y="7200"/>
                  </a:lnTo>
                  <a:lnTo>
                    <a:pt x="6400" y="1562"/>
                  </a:lnTo>
                  <a:lnTo>
                    <a:pt x="11200" y="7200"/>
                  </a:lnTo>
                  <a:lnTo>
                    <a:pt x="8800" y="7200"/>
                  </a:lnTo>
                  <a:lnTo>
                    <a:pt x="8800" y="10400"/>
                  </a:lnTo>
                  <a:close/>
                  <a:moveTo>
                    <a:pt x="4800" y="9600"/>
                  </a:moveTo>
                  <a:lnTo>
                    <a:pt x="8000" y="9600"/>
                  </a:lnTo>
                  <a:lnTo>
                    <a:pt x="8000" y="6400"/>
                  </a:lnTo>
                  <a:lnTo>
                    <a:pt x="9566" y="6400"/>
                  </a:lnTo>
                  <a:lnTo>
                    <a:pt x="6400" y="2900"/>
                  </a:lnTo>
                  <a:lnTo>
                    <a:pt x="3280" y="6400"/>
                  </a:lnTo>
                  <a:lnTo>
                    <a:pt x="4800" y="6400"/>
                  </a:lnTo>
                  <a:lnTo>
                    <a:pt x="4800" y="96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25" name="iconfont-11894-5689857"/>
            <p:cNvSpPr>
              <a:spLocks noChangeAspect="1"/>
            </p:cNvSpPr>
            <p:nvPr userDrawn="1"/>
          </p:nvSpPr>
          <p:spPr bwMode="auto">
            <a:xfrm>
              <a:off x="19653408" y="-4227927"/>
              <a:ext cx="609685" cy="609685"/>
            </a:xfrm>
            <a:custGeom>
              <a:avLst/>
              <a:gdLst>
                <a:gd name="T0" fmla="*/ 12800 w 12800"/>
                <a:gd name="T1" fmla="*/ 12800 h 12800"/>
                <a:gd name="T2" fmla="*/ 0 w 12800"/>
                <a:gd name="T3" fmla="*/ 12800 h 12800"/>
                <a:gd name="T4" fmla="*/ 0 w 12800"/>
                <a:gd name="T5" fmla="*/ 0 h 12800"/>
                <a:gd name="T6" fmla="*/ 800 w 12800"/>
                <a:gd name="T7" fmla="*/ 0 h 12800"/>
                <a:gd name="T8" fmla="*/ 800 w 12800"/>
                <a:gd name="T9" fmla="*/ 12000 h 12800"/>
                <a:gd name="T10" fmla="*/ 12800 w 12800"/>
                <a:gd name="T11" fmla="*/ 12000 h 12800"/>
                <a:gd name="T12" fmla="*/ 12800 w 12800"/>
                <a:gd name="T13" fmla="*/ 12800 h 12800"/>
                <a:gd name="T14" fmla="*/ 800 w 12800"/>
                <a:gd name="T15" fmla="*/ 12480 h 12800"/>
                <a:gd name="T16" fmla="*/ 0 w 12800"/>
                <a:gd name="T17" fmla="*/ 12240 h 12800"/>
                <a:gd name="T18" fmla="*/ 2720 w 12800"/>
                <a:gd name="T19" fmla="*/ 2320 h 12800"/>
                <a:gd name="T20" fmla="*/ 6080 w 12800"/>
                <a:gd name="T21" fmla="*/ 7600 h 12800"/>
                <a:gd name="T22" fmla="*/ 8400 w 12800"/>
                <a:gd name="T23" fmla="*/ 2400 h 12800"/>
                <a:gd name="T24" fmla="*/ 12800 w 12800"/>
                <a:gd name="T25" fmla="*/ 2400 h 12800"/>
                <a:gd name="T26" fmla="*/ 12800 w 12800"/>
                <a:gd name="T27" fmla="*/ 3200 h 12800"/>
                <a:gd name="T28" fmla="*/ 8960 w 12800"/>
                <a:gd name="T29" fmla="*/ 3200 h 12800"/>
                <a:gd name="T30" fmla="*/ 6240 w 12800"/>
                <a:gd name="T31" fmla="*/ 9280 h 12800"/>
                <a:gd name="T32" fmla="*/ 3040 w 12800"/>
                <a:gd name="T33" fmla="*/ 4400 h 12800"/>
                <a:gd name="T34" fmla="*/ 800 w 12800"/>
                <a:gd name="T35" fmla="*/ 1248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00" h="12800">
                  <a:moveTo>
                    <a:pt x="12800" y="12800"/>
                  </a:moveTo>
                  <a:lnTo>
                    <a:pt x="0" y="12800"/>
                  </a:lnTo>
                  <a:lnTo>
                    <a:pt x="0" y="0"/>
                  </a:lnTo>
                  <a:lnTo>
                    <a:pt x="800" y="0"/>
                  </a:lnTo>
                  <a:lnTo>
                    <a:pt x="800" y="12000"/>
                  </a:lnTo>
                  <a:lnTo>
                    <a:pt x="12800" y="12000"/>
                  </a:lnTo>
                  <a:lnTo>
                    <a:pt x="12800" y="12800"/>
                  </a:lnTo>
                  <a:close/>
                  <a:moveTo>
                    <a:pt x="800" y="12480"/>
                  </a:moveTo>
                  <a:lnTo>
                    <a:pt x="0" y="12240"/>
                  </a:lnTo>
                  <a:lnTo>
                    <a:pt x="2720" y="2320"/>
                  </a:lnTo>
                  <a:lnTo>
                    <a:pt x="6080" y="7600"/>
                  </a:lnTo>
                  <a:lnTo>
                    <a:pt x="8400" y="2400"/>
                  </a:lnTo>
                  <a:lnTo>
                    <a:pt x="12800" y="2400"/>
                  </a:lnTo>
                  <a:lnTo>
                    <a:pt x="12800" y="3200"/>
                  </a:lnTo>
                  <a:lnTo>
                    <a:pt x="8960" y="3200"/>
                  </a:lnTo>
                  <a:lnTo>
                    <a:pt x="6240" y="9280"/>
                  </a:lnTo>
                  <a:lnTo>
                    <a:pt x="3040" y="4400"/>
                  </a:lnTo>
                  <a:lnTo>
                    <a:pt x="800" y="1248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6" name="iconfont-11894-5689857"/>
            <p:cNvSpPr>
              <a:spLocks noChangeAspect="1"/>
            </p:cNvSpPr>
            <p:nvPr userDrawn="1"/>
          </p:nvSpPr>
          <p:spPr bwMode="auto">
            <a:xfrm>
              <a:off x="20872779" y="-4226446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" name="iconfont-11894-5689857"/>
            <p:cNvSpPr>
              <a:spLocks noChangeAspect="1"/>
            </p:cNvSpPr>
            <p:nvPr userDrawn="1"/>
          </p:nvSpPr>
          <p:spPr bwMode="auto">
            <a:xfrm>
              <a:off x="22092150" y="-4221528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9" name="iconfont-11894-5689857"/>
            <p:cNvSpPr>
              <a:spLocks noChangeAspect="1"/>
            </p:cNvSpPr>
            <p:nvPr userDrawn="1"/>
          </p:nvSpPr>
          <p:spPr bwMode="auto">
            <a:xfrm>
              <a:off x="23311520" y="-4227927"/>
              <a:ext cx="609685" cy="609685"/>
            </a:xfrm>
            <a:custGeom>
              <a:avLst/>
              <a:gdLst>
                <a:gd name="T0" fmla="*/ 0 w 12800"/>
                <a:gd name="T1" fmla="*/ 800 h 12800"/>
                <a:gd name="T2" fmla="*/ 0 w 12800"/>
                <a:gd name="T3" fmla="*/ 12000 h 12800"/>
                <a:gd name="T4" fmla="*/ 800 w 12800"/>
                <a:gd name="T5" fmla="*/ 12800 h 12800"/>
                <a:gd name="T6" fmla="*/ 4800 w 12800"/>
                <a:gd name="T7" fmla="*/ 12800 h 12800"/>
                <a:gd name="T8" fmla="*/ 4800 w 12800"/>
                <a:gd name="T9" fmla="*/ 12000 h 12800"/>
                <a:gd name="T10" fmla="*/ 8000 w 12800"/>
                <a:gd name="T11" fmla="*/ 12000 h 12800"/>
                <a:gd name="T12" fmla="*/ 8000 w 12800"/>
                <a:gd name="T13" fmla="*/ 12800 h 12800"/>
                <a:gd name="T14" fmla="*/ 12000 w 12800"/>
                <a:gd name="T15" fmla="*/ 12800 h 12800"/>
                <a:gd name="T16" fmla="*/ 12800 w 12800"/>
                <a:gd name="T17" fmla="*/ 12000 h 12800"/>
                <a:gd name="T18" fmla="*/ 12800 w 12800"/>
                <a:gd name="T19" fmla="*/ 800 h 12800"/>
                <a:gd name="T20" fmla="*/ 12000 w 12800"/>
                <a:gd name="T21" fmla="*/ 0 h 12800"/>
                <a:gd name="T22" fmla="*/ 800 w 12800"/>
                <a:gd name="T23" fmla="*/ 0 h 12800"/>
                <a:gd name="T24" fmla="*/ 0 w 12800"/>
                <a:gd name="T25" fmla="*/ 800 h 12800"/>
                <a:gd name="T26" fmla="*/ 8000 w 12800"/>
                <a:gd name="T27" fmla="*/ 11200 h 12800"/>
                <a:gd name="T28" fmla="*/ 4800 w 12800"/>
                <a:gd name="T29" fmla="*/ 11200 h 12800"/>
                <a:gd name="T30" fmla="*/ 4800 w 12800"/>
                <a:gd name="T31" fmla="*/ 10400 h 12800"/>
                <a:gd name="T32" fmla="*/ 8000 w 12800"/>
                <a:gd name="T33" fmla="*/ 10400 h 12800"/>
                <a:gd name="T34" fmla="*/ 8000 w 12800"/>
                <a:gd name="T35" fmla="*/ 11200 h 12800"/>
                <a:gd name="T36" fmla="*/ 11200 w 12800"/>
                <a:gd name="T37" fmla="*/ 12000 h 12800"/>
                <a:gd name="T38" fmla="*/ 8800 w 12800"/>
                <a:gd name="T39" fmla="*/ 12000 h 12800"/>
                <a:gd name="T40" fmla="*/ 8800 w 12800"/>
                <a:gd name="T41" fmla="*/ 9600 h 12800"/>
                <a:gd name="T42" fmla="*/ 4000 w 12800"/>
                <a:gd name="T43" fmla="*/ 9600 h 12800"/>
                <a:gd name="T44" fmla="*/ 4000 w 12800"/>
                <a:gd name="T45" fmla="*/ 12000 h 12800"/>
                <a:gd name="T46" fmla="*/ 1600 w 12800"/>
                <a:gd name="T47" fmla="*/ 12000 h 12800"/>
                <a:gd name="T48" fmla="*/ 800 w 12800"/>
                <a:gd name="T49" fmla="*/ 11200 h 12800"/>
                <a:gd name="T50" fmla="*/ 800 w 12800"/>
                <a:gd name="T51" fmla="*/ 1600 h 12800"/>
                <a:gd name="T52" fmla="*/ 1600 w 12800"/>
                <a:gd name="T53" fmla="*/ 800 h 12800"/>
                <a:gd name="T54" fmla="*/ 11200 w 12800"/>
                <a:gd name="T55" fmla="*/ 800 h 12800"/>
                <a:gd name="T56" fmla="*/ 12000 w 12800"/>
                <a:gd name="T57" fmla="*/ 1600 h 12800"/>
                <a:gd name="T58" fmla="*/ 12000 w 12800"/>
                <a:gd name="T59" fmla="*/ 11200 h 12800"/>
                <a:gd name="T60" fmla="*/ 11200 w 12800"/>
                <a:gd name="T61" fmla="*/ 12000 h 12800"/>
                <a:gd name="T62" fmla="*/ 4000 w 12800"/>
                <a:gd name="T63" fmla="*/ 4800 h 12800"/>
                <a:gd name="T64" fmla="*/ 8800 w 12800"/>
                <a:gd name="T65" fmla="*/ 4800 h 12800"/>
                <a:gd name="T66" fmla="*/ 8800 w 12800"/>
                <a:gd name="T67" fmla="*/ 6400 h 12800"/>
                <a:gd name="T68" fmla="*/ 4000 w 12800"/>
                <a:gd name="T69" fmla="*/ 6400 h 12800"/>
                <a:gd name="T70" fmla="*/ 4000 w 12800"/>
                <a:gd name="T71" fmla="*/ 4800 h 12800"/>
                <a:gd name="T72" fmla="*/ 4000 w 12800"/>
                <a:gd name="T73" fmla="*/ 2400 h 12800"/>
                <a:gd name="T74" fmla="*/ 8800 w 12800"/>
                <a:gd name="T75" fmla="*/ 2400 h 12800"/>
                <a:gd name="T76" fmla="*/ 8800 w 12800"/>
                <a:gd name="T77" fmla="*/ 4000 h 12800"/>
                <a:gd name="T78" fmla="*/ 4000 w 12800"/>
                <a:gd name="T79" fmla="*/ 4000 h 12800"/>
                <a:gd name="T80" fmla="*/ 4000 w 12800"/>
                <a:gd name="T81" fmla="*/ 2400 h 12800"/>
                <a:gd name="T82" fmla="*/ 4000 w 12800"/>
                <a:gd name="T83" fmla="*/ 7200 h 12800"/>
                <a:gd name="T84" fmla="*/ 8800 w 12800"/>
                <a:gd name="T85" fmla="*/ 7200 h 12800"/>
                <a:gd name="T86" fmla="*/ 8800 w 12800"/>
                <a:gd name="T87" fmla="*/ 8800 h 12800"/>
                <a:gd name="T88" fmla="*/ 4000 w 12800"/>
                <a:gd name="T89" fmla="*/ 8800 h 12800"/>
                <a:gd name="T90" fmla="*/ 4000 w 12800"/>
                <a:gd name="T91" fmla="*/ 72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00" h="12800">
                  <a:moveTo>
                    <a:pt x="0" y="800"/>
                  </a:moveTo>
                  <a:lnTo>
                    <a:pt x="0" y="12000"/>
                  </a:lnTo>
                  <a:cubicBezTo>
                    <a:pt x="0" y="12442"/>
                    <a:pt x="358" y="12800"/>
                    <a:pt x="800" y="12800"/>
                  </a:cubicBezTo>
                  <a:lnTo>
                    <a:pt x="4800" y="12800"/>
                  </a:lnTo>
                  <a:lnTo>
                    <a:pt x="4800" y="12000"/>
                  </a:lnTo>
                  <a:lnTo>
                    <a:pt x="8000" y="12000"/>
                  </a:lnTo>
                  <a:lnTo>
                    <a:pt x="8000" y="12800"/>
                  </a:lnTo>
                  <a:lnTo>
                    <a:pt x="12000" y="12800"/>
                  </a:lnTo>
                  <a:cubicBezTo>
                    <a:pt x="12442" y="12800"/>
                    <a:pt x="12800" y="12442"/>
                    <a:pt x="12800" y="12000"/>
                  </a:cubicBezTo>
                  <a:lnTo>
                    <a:pt x="12800" y="800"/>
                  </a:lnTo>
                  <a:cubicBezTo>
                    <a:pt x="12800" y="358"/>
                    <a:pt x="12442" y="0"/>
                    <a:pt x="12000" y="0"/>
                  </a:cubicBezTo>
                  <a:lnTo>
                    <a:pt x="800" y="0"/>
                  </a:lnTo>
                  <a:cubicBezTo>
                    <a:pt x="358" y="0"/>
                    <a:pt x="0" y="358"/>
                    <a:pt x="0" y="800"/>
                  </a:cubicBezTo>
                  <a:close/>
                  <a:moveTo>
                    <a:pt x="8000" y="11200"/>
                  </a:moveTo>
                  <a:lnTo>
                    <a:pt x="4800" y="11200"/>
                  </a:lnTo>
                  <a:lnTo>
                    <a:pt x="4800" y="10400"/>
                  </a:lnTo>
                  <a:lnTo>
                    <a:pt x="8000" y="10400"/>
                  </a:lnTo>
                  <a:lnTo>
                    <a:pt x="8000" y="11200"/>
                  </a:lnTo>
                  <a:close/>
                  <a:moveTo>
                    <a:pt x="11200" y="12000"/>
                  </a:moveTo>
                  <a:lnTo>
                    <a:pt x="8800" y="12000"/>
                  </a:lnTo>
                  <a:lnTo>
                    <a:pt x="8800" y="9600"/>
                  </a:lnTo>
                  <a:lnTo>
                    <a:pt x="4000" y="9600"/>
                  </a:lnTo>
                  <a:lnTo>
                    <a:pt x="4000" y="12000"/>
                  </a:lnTo>
                  <a:lnTo>
                    <a:pt x="1600" y="12000"/>
                  </a:lnTo>
                  <a:cubicBezTo>
                    <a:pt x="1158" y="12000"/>
                    <a:pt x="800" y="11642"/>
                    <a:pt x="800" y="11200"/>
                  </a:cubicBezTo>
                  <a:lnTo>
                    <a:pt x="800" y="1600"/>
                  </a:lnTo>
                  <a:cubicBezTo>
                    <a:pt x="800" y="1158"/>
                    <a:pt x="1158" y="800"/>
                    <a:pt x="1600" y="800"/>
                  </a:cubicBezTo>
                  <a:lnTo>
                    <a:pt x="11200" y="800"/>
                  </a:lnTo>
                  <a:cubicBezTo>
                    <a:pt x="11642" y="800"/>
                    <a:pt x="12000" y="1158"/>
                    <a:pt x="12000" y="1600"/>
                  </a:cubicBezTo>
                  <a:lnTo>
                    <a:pt x="12000" y="11200"/>
                  </a:lnTo>
                  <a:cubicBezTo>
                    <a:pt x="12000" y="11642"/>
                    <a:pt x="11642" y="12000"/>
                    <a:pt x="11200" y="12000"/>
                  </a:cubicBezTo>
                  <a:close/>
                  <a:moveTo>
                    <a:pt x="4000" y="4800"/>
                  </a:moveTo>
                  <a:lnTo>
                    <a:pt x="8800" y="4800"/>
                  </a:lnTo>
                  <a:lnTo>
                    <a:pt x="8800" y="6400"/>
                  </a:lnTo>
                  <a:lnTo>
                    <a:pt x="4000" y="6400"/>
                  </a:lnTo>
                  <a:lnTo>
                    <a:pt x="4000" y="4800"/>
                  </a:lnTo>
                  <a:close/>
                  <a:moveTo>
                    <a:pt x="4000" y="2400"/>
                  </a:moveTo>
                  <a:lnTo>
                    <a:pt x="8800" y="2400"/>
                  </a:lnTo>
                  <a:lnTo>
                    <a:pt x="8800" y="4000"/>
                  </a:lnTo>
                  <a:lnTo>
                    <a:pt x="4000" y="4000"/>
                  </a:lnTo>
                  <a:lnTo>
                    <a:pt x="4000" y="2400"/>
                  </a:lnTo>
                  <a:close/>
                  <a:moveTo>
                    <a:pt x="4000" y="7200"/>
                  </a:moveTo>
                  <a:lnTo>
                    <a:pt x="8800" y="7200"/>
                  </a:lnTo>
                  <a:lnTo>
                    <a:pt x="8800" y="8800"/>
                  </a:lnTo>
                  <a:lnTo>
                    <a:pt x="4000" y="8800"/>
                  </a:lnTo>
                  <a:lnTo>
                    <a:pt x="4000" y="72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9" name="iconfont-11894-5689857"/>
            <p:cNvSpPr>
              <a:spLocks noChangeAspect="1"/>
            </p:cNvSpPr>
            <p:nvPr userDrawn="1"/>
          </p:nvSpPr>
          <p:spPr bwMode="auto">
            <a:xfrm>
              <a:off x="24530889" y="-422792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300" name="iconfont-11894-5689857"/>
            <p:cNvSpPr>
              <a:spLocks noChangeAspect="1"/>
            </p:cNvSpPr>
            <p:nvPr userDrawn="1"/>
          </p:nvSpPr>
          <p:spPr bwMode="auto">
            <a:xfrm>
              <a:off x="25750260" y="-4158674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01" name="iconfont-11894-5689857"/>
            <p:cNvSpPr>
              <a:spLocks noChangeAspect="1"/>
            </p:cNvSpPr>
            <p:nvPr userDrawn="1"/>
          </p:nvSpPr>
          <p:spPr bwMode="auto">
            <a:xfrm>
              <a:off x="26969630" y="-4221825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2" name="iconfont-11894-5689857"/>
            <p:cNvSpPr>
              <a:spLocks noChangeAspect="1"/>
            </p:cNvSpPr>
            <p:nvPr userDrawn="1"/>
          </p:nvSpPr>
          <p:spPr bwMode="auto">
            <a:xfrm>
              <a:off x="28188999" y="-4227927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04" name="iconfont-11894-5689857"/>
            <p:cNvSpPr>
              <a:spLocks noChangeAspect="1"/>
            </p:cNvSpPr>
            <p:nvPr userDrawn="1"/>
          </p:nvSpPr>
          <p:spPr bwMode="auto">
            <a:xfrm>
              <a:off x="13556559" y="-2757510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305" name="iconfont-11894-5689857"/>
            <p:cNvSpPr>
              <a:spLocks noChangeAspect="1"/>
            </p:cNvSpPr>
            <p:nvPr userDrawn="1"/>
          </p:nvSpPr>
          <p:spPr bwMode="auto">
            <a:xfrm>
              <a:off x="14775929" y="-2721841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06" name="iconfont-11894-5689857"/>
            <p:cNvSpPr>
              <a:spLocks noChangeAspect="1"/>
            </p:cNvSpPr>
            <p:nvPr userDrawn="1"/>
          </p:nvSpPr>
          <p:spPr bwMode="auto">
            <a:xfrm>
              <a:off x="15995299" y="-2734839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" name="iconfont-11894-5689857"/>
            <p:cNvSpPr>
              <a:spLocks noChangeAspect="1"/>
            </p:cNvSpPr>
            <p:nvPr userDrawn="1"/>
          </p:nvSpPr>
          <p:spPr bwMode="auto">
            <a:xfrm>
              <a:off x="17214969" y="-2757510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8" name="iconfont-11894-5689857"/>
            <p:cNvSpPr>
              <a:spLocks noChangeAspect="1"/>
            </p:cNvSpPr>
            <p:nvPr userDrawn="1"/>
          </p:nvSpPr>
          <p:spPr bwMode="auto">
            <a:xfrm>
              <a:off x="18434538" y="-2757510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9" name="iconfont-11894-5689857"/>
            <p:cNvSpPr>
              <a:spLocks noChangeAspect="1"/>
            </p:cNvSpPr>
            <p:nvPr userDrawn="1"/>
          </p:nvSpPr>
          <p:spPr bwMode="auto">
            <a:xfrm>
              <a:off x="19746077" y="-2757510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6" name="iconfont-11894-5689857"/>
            <p:cNvSpPr>
              <a:spLocks noChangeAspect="1"/>
            </p:cNvSpPr>
            <p:nvPr userDrawn="1"/>
          </p:nvSpPr>
          <p:spPr bwMode="auto">
            <a:xfrm>
              <a:off x="20905719" y="-2757510"/>
              <a:ext cx="543805" cy="609685"/>
            </a:xfrm>
            <a:custGeom>
              <a:avLst/>
              <a:gdLst>
                <a:gd name="T0" fmla="*/ 10400 w 11417"/>
                <a:gd name="T1" fmla="*/ 4000 h 12800"/>
                <a:gd name="T2" fmla="*/ 6400 w 11417"/>
                <a:gd name="T3" fmla="*/ 4000 h 12800"/>
                <a:gd name="T4" fmla="*/ 6400 w 11417"/>
                <a:gd name="T5" fmla="*/ 800 h 12800"/>
                <a:gd name="T6" fmla="*/ 7200 w 11417"/>
                <a:gd name="T7" fmla="*/ 800 h 12800"/>
                <a:gd name="T8" fmla="*/ 7200 w 11417"/>
                <a:gd name="T9" fmla="*/ 3200 h 12800"/>
                <a:gd name="T10" fmla="*/ 10400 w 11417"/>
                <a:gd name="T11" fmla="*/ 3200 h 12800"/>
                <a:gd name="T12" fmla="*/ 10400 w 11417"/>
                <a:gd name="T13" fmla="*/ 4000 h 12800"/>
                <a:gd name="T14" fmla="*/ 9087 w 11417"/>
                <a:gd name="T15" fmla="*/ 9425 h 12800"/>
                <a:gd name="T16" fmla="*/ 11417 w 11417"/>
                <a:gd name="T17" fmla="*/ 11755 h 12800"/>
                <a:gd name="T18" fmla="*/ 10908 w 11417"/>
                <a:gd name="T19" fmla="*/ 12264 h 12800"/>
                <a:gd name="T20" fmla="*/ 8578 w 11417"/>
                <a:gd name="T21" fmla="*/ 9934 h 12800"/>
                <a:gd name="T22" fmla="*/ 9087 w 11417"/>
                <a:gd name="T23" fmla="*/ 9425 h 12800"/>
                <a:gd name="T24" fmla="*/ 7782 w 11417"/>
                <a:gd name="T25" fmla="*/ 10560 h 12800"/>
                <a:gd name="T26" fmla="*/ 5862 w 11417"/>
                <a:gd name="T27" fmla="*/ 8640 h 12800"/>
                <a:gd name="T28" fmla="*/ 7782 w 11417"/>
                <a:gd name="T29" fmla="*/ 6720 h 12800"/>
                <a:gd name="T30" fmla="*/ 9702 w 11417"/>
                <a:gd name="T31" fmla="*/ 8640 h 12800"/>
                <a:gd name="T32" fmla="*/ 7782 w 11417"/>
                <a:gd name="T33" fmla="*/ 10560 h 12800"/>
                <a:gd name="T34" fmla="*/ 7782 w 11417"/>
                <a:gd name="T35" fmla="*/ 7520 h 12800"/>
                <a:gd name="T36" fmla="*/ 6662 w 11417"/>
                <a:gd name="T37" fmla="*/ 8640 h 12800"/>
                <a:gd name="T38" fmla="*/ 7782 w 11417"/>
                <a:gd name="T39" fmla="*/ 9760 h 12800"/>
                <a:gd name="T40" fmla="*/ 8902 w 11417"/>
                <a:gd name="T41" fmla="*/ 8640 h 12800"/>
                <a:gd name="T42" fmla="*/ 7782 w 11417"/>
                <a:gd name="T43" fmla="*/ 7520 h 12800"/>
                <a:gd name="T44" fmla="*/ 7200 w 11417"/>
                <a:gd name="T45" fmla="*/ 12800 h 12800"/>
                <a:gd name="T46" fmla="*/ 1542 w 11417"/>
                <a:gd name="T47" fmla="*/ 12800 h 12800"/>
                <a:gd name="T48" fmla="*/ 0 w 11417"/>
                <a:gd name="T49" fmla="*/ 10880 h 12800"/>
                <a:gd name="T50" fmla="*/ 0 w 11417"/>
                <a:gd name="T51" fmla="*/ 1615 h 12800"/>
                <a:gd name="T52" fmla="*/ 1542 w 11417"/>
                <a:gd name="T53" fmla="*/ 0 h 12800"/>
                <a:gd name="T54" fmla="*/ 7062 w 11417"/>
                <a:gd name="T55" fmla="*/ 0 h 12800"/>
                <a:gd name="T56" fmla="*/ 11200 w 11417"/>
                <a:gd name="T57" fmla="*/ 3120 h 12800"/>
                <a:gd name="T58" fmla="*/ 11200 w 11417"/>
                <a:gd name="T59" fmla="*/ 8000 h 12800"/>
                <a:gd name="T60" fmla="*/ 10400 w 11417"/>
                <a:gd name="T61" fmla="*/ 8000 h 12800"/>
                <a:gd name="T62" fmla="*/ 10400 w 11417"/>
                <a:gd name="T63" fmla="*/ 3440 h 12800"/>
                <a:gd name="T64" fmla="*/ 6822 w 11417"/>
                <a:gd name="T65" fmla="*/ 800 h 12800"/>
                <a:gd name="T66" fmla="*/ 1542 w 11417"/>
                <a:gd name="T67" fmla="*/ 800 h 12800"/>
                <a:gd name="T68" fmla="*/ 800 w 11417"/>
                <a:gd name="T69" fmla="*/ 1668 h 12800"/>
                <a:gd name="T70" fmla="*/ 800 w 11417"/>
                <a:gd name="T71" fmla="*/ 10960 h 12800"/>
                <a:gd name="T72" fmla="*/ 1542 w 11417"/>
                <a:gd name="T73" fmla="*/ 12000 h 12800"/>
                <a:gd name="T74" fmla="*/ 7200 w 11417"/>
                <a:gd name="T75" fmla="*/ 12000 h 12800"/>
                <a:gd name="T76" fmla="*/ 7200 w 11417"/>
                <a:gd name="T77" fmla="*/ 12800 h 12800"/>
                <a:gd name="T78" fmla="*/ 1600 w 11417"/>
                <a:gd name="T79" fmla="*/ 2400 h 12800"/>
                <a:gd name="T80" fmla="*/ 4800 w 11417"/>
                <a:gd name="T81" fmla="*/ 2400 h 12800"/>
                <a:gd name="T82" fmla="*/ 4800 w 11417"/>
                <a:gd name="T83" fmla="*/ 3200 h 12800"/>
                <a:gd name="T84" fmla="*/ 1600 w 11417"/>
                <a:gd name="T85" fmla="*/ 3200 h 12800"/>
                <a:gd name="T86" fmla="*/ 1600 w 11417"/>
                <a:gd name="T87" fmla="*/ 2400 h 12800"/>
                <a:gd name="T88" fmla="*/ 1600 w 11417"/>
                <a:gd name="T89" fmla="*/ 4000 h 12800"/>
                <a:gd name="T90" fmla="*/ 5600 w 11417"/>
                <a:gd name="T91" fmla="*/ 4000 h 12800"/>
                <a:gd name="T92" fmla="*/ 5600 w 11417"/>
                <a:gd name="T93" fmla="*/ 4800 h 12800"/>
                <a:gd name="T94" fmla="*/ 1600 w 11417"/>
                <a:gd name="T95" fmla="*/ 4800 h 12800"/>
                <a:gd name="T96" fmla="*/ 1600 w 11417"/>
                <a:gd name="T97" fmla="*/ 4000 h 12800"/>
                <a:gd name="T98" fmla="*/ 1600 w 11417"/>
                <a:gd name="T99" fmla="*/ 5600 h 12800"/>
                <a:gd name="T100" fmla="*/ 6400 w 11417"/>
                <a:gd name="T101" fmla="*/ 5600 h 12800"/>
                <a:gd name="T102" fmla="*/ 6400 w 11417"/>
                <a:gd name="T103" fmla="*/ 6400 h 12800"/>
                <a:gd name="T104" fmla="*/ 1600 w 11417"/>
                <a:gd name="T105" fmla="*/ 6400 h 12800"/>
                <a:gd name="T106" fmla="*/ 1600 w 11417"/>
                <a:gd name="T107" fmla="*/ 56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417" h="12800">
                  <a:moveTo>
                    <a:pt x="10400" y="4000"/>
                  </a:moveTo>
                  <a:lnTo>
                    <a:pt x="6400" y="4000"/>
                  </a:lnTo>
                  <a:lnTo>
                    <a:pt x="6400" y="800"/>
                  </a:lnTo>
                  <a:lnTo>
                    <a:pt x="7200" y="800"/>
                  </a:lnTo>
                  <a:lnTo>
                    <a:pt x="7200" y="3200"/>
                  </a:lnTo>
                  <a:lnTo>
                    <a:pt x="10400" y="3200"/>
                  </a:lnTo>
                  <a:lnTo>
                    <a:pt x="10400" y="4000"/>
                  </a:lnTo>
                  <a:close/>
                  <a:moveTo>
                    <a:pt x="9087" y="9425"/>
                  </a:moveTo>
                  <a:lnTo>
                    <a:pt x="11417" y="11755"/>
                  </a:lnTo>
                  <a:lnTo>
                    <a:pt x="10908" y="12264"/>
                  </a:lnTo>
                  <a:lnTo>
                    <a:pt x="8578" y="9934"/>
                  </a:lnTo>
                  <a:lnTo>
                    <a:pt x="9087" y="9425"/>
                  </a:lnTo>
                  <a:close/>
                  <a:moveTo>
                    <a:pt x="7782" y="10560"/>
                  </a:moveTo>
                  <a:cubicBezTo>
                    <a:pt x="6742" y="10560"/>
                    <a:pt x="5862" y="9680"/>
                    <a:pt x="5862" y="8640"/>
                  </a:cubicBezTo>
                  <a:cubicBezTo>
                    <a:pt x="5862" y="7600"/>
                    <a:pt x="6742" y="6720"/>
                    <a:pt x="7782" y="6720"/>
                  </a:cubicBezTo>
                  <a:cubicBezTo>
                    <a:pt x="8822" y="6720"/>
                    <a:pt x="9702" y="7600"/>
                    <a:pt x="9702" y="8640"/>
                  </a:cubicBezTo>
                  <a:cubicBezTo>
                    <a:pt x="9622" y="9680"/>
                    <a:pt x="8822" y="10560"/>
                    <a:pt x="7782" y="10560"/>
                  </a:cubicBezTo>
                  <a:close/>
                  <a:moveTo>
                    <a:pt x="7782" y="7520"/>
                  </a:moveTo>
                  <a:cubicBezTo>
                    <a:pt x="7142" y="7520"/>
                    <a:pt x="6662" y="8000"/>
                    <a:pt x="6662" y="8640"/>
                  </a:cubicBezTo>
                  <a:cubicBezTo>
                    <a:pt x="6662" y="9280"/>
                    <a:pt x="7142" y="9760"/>
                    <a:pt x="7782" y="9760"/>
                  </a:cubicBezTo>
                  <a:cubicBezTo>
                    <a:pt x="8422" y="9760"/>
                    <a:pt x="8902" y="9280"/>
                    <a:pt x="8902" y="8640"/>
                  </a:cubicBezTo>
                  <a:cubicBezTo>
                    <a:pt x="8902" y="8000"/>
                    <a:pt x="8342" y="7520"/>
                    <a:pt x="7782" y="7520"/>
                  </a:cubicBezTo>
                  <a:close/>
                  <a:moveTo>
                    <a:pt x="7200" y="12800"/>
                  </a:moveTo>
                  <a:lnTo>
                    <a:pt x="1542" y="12800"/>
                  </a:lnTo>
                  <a:cubicBezTo>
                    <a:pt x="582" y="12800"/>
                    <a:pt x="0" y="11920"/>
                    <a:pt x="0" y="10880"/>
                  </a:cubicBezTo>
                  <a:lnTo>
                    <a:pt x="0" y="1615"/>
                  </a:lnTo>
                  <a:cubicBezTo>
                    <a:pt x="0" y="683"/>
                    <a:pt x="582" y="0"/>
                    <a:pt x="1542" y="0"/>
                  </a:cubicBezTo>
                  <a:lnTo>
                    <a:pt x="7062" y="0"/>
                  </a:lnTo>
                  <a:lnTo>
                    <a:pt x="11200" y="3120"/>
                  </a:lnTo>
                  <a:lnTo>
                    <a:pt x="11200" y="8000"/>
                  </a:lnTo>
                  <a:lnTo>
                    <a:pt x="10400" y="8000"/>
                  </a:lnTo>
                  <a:lnTo>
                    <a:pt x="10400" y="3440"/>
                  </a:lnTo>
                  <a:lnTo>
                    <a:pt x="6822" y="800"/>
                  </a:lnTo>
                  <a:lnTo>
                    <a:pt x="1542" y="800"/>
                  </a:lnTo>
                  <a:cubicBezTo>
                    <a:pt x="982" y="800"/>
                    <a:pt x="800" y="1222"/>
                    <a:pt x="800" y="1668"/>
                  </a:cubicBezTo>
                  <a:lnTo>
                    <a:pt x="800" y="10960"/>
                  </a:lnTo>
                  <a:cubicBezTo>
                    <a:pt x="800" y="11520"/>
                    <a:pt x="982" y="12000"/>
                    <a:pt x="1542" y="12000"/>
                  </a:cubicBezTo>
                  <a:lnTo>
                    <a:pt x="7200" y="12000"/>
                  </a:lnTo>
                  <a:lnTo>
                    <a:pt x="7200" y="12800"/>
                  </a:lnTo>
                  <a:close/>
                  <a:moveTo>
                    <a:pt x="1600" y="2400"/>
                  </a:moveTo>
                  <a:lnTo>
                    <a:pt x="4800" y="2400"/>
                  </a:lnTo>
                  <a:lnTo>
                    <a:pt x="4800" y="3200"/>
                  </a:lnTo>
                  <a:lnTo>
                    <a:pt x="1600" y="3200"/>
                  </a:lnTo>
                  <a:lnTo>
                    <a:pt x="1600" y="2400"/>
                  </a:lnTo>
                  <a:close/>
                  <a:moveTo>
                    <a:pt x="1600" y="4000"/>
                  </a:moveTo>
                  <a:lnTo>
                    <a:pt x="5600" y="4000"/>
                  </a:lnTo>
                  <a:lnTo>
                    <a:pt x="5600" y="4800"/>
                  </a:lnTo>
                  <a:lnTo>
                    <a:pt x="1600" y="4800"/>
                  </a:lnTo>
                  <a:lnTo>
                    <a:pt x="1600" y="4000"/>
                  </a:lnTo>
                  <a:close/>
                  <a:moveTo>
                    <a:pt x="1600" y="5600"/>
                  </a:moveTo>
                  <a:lnTo>
                    <a:pt x="6400" y="5600"/>
                  </a:lnTo>
                  <a:lnTo>
                    <a:pt x="6400" y="6400"/>
                  </a:lnTo>
                  <a:lnTo>
                    <a:pt x="1600" y="6400"/>
                  </a:lnTo>
                  <a:lnTo>
                    <a:pt x="1600" y="56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11" name="iconfont-11894-5689857"/>
            <p:cNvSpPr>
              <a:spLocks noChangeAspect="1"/>
            </p:cNvSpPr>
            <p:nvPr userDrawn="1"/>
          </p:nvSpPr>
          <p:spPr bwMode="auto">
            <a:xfrm>
              <a:off x="22092150" y="-2751111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2" name="iconfont-11894-5689857"/>
            <p:cNvSpPr>
              <a:spLocks noChangeAspect="1"/>
            </p:cNvSpPr>
            <p:nvPr userDrawn="1"/>
          </p:nvSpPr>
          <p:spPr bwMode="auto">
            <a:xfrm>
              <a:off x="23401954" y="-2757510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30" name="iconfont-11894-5689857"/>
            <p:cNvSpPr>
              <a:spLocks noChangeAspect="1"/>
            </p:cNvSpPr>
            <p:nvPr userDrawn="1"/>
          </p:nvSpPr>
          <p:spPr bwMode="auto">
            <a:xfrm>
              <a:off x="24530945" y="-2757510"/>
              <a:ext cx="609571" cy="609685"/>
            </a:xfrm>
            <a:custGeom>
              <a:avLst/>
              <a:gdLst>
                <a:gd name="T0" fmla="*/ 0 w 11163"/>
                <a:gd name="T1" fmla="*/ 5582 h 11163"/>
                <a:gd name="T2" fmla="*/ 11163 w 11163"/>
                <a:gd name="T3" fmla="*/ 5582 h 11163"/>
                <a:gd name="T4" fmla="*/ 5581 w 11163"/>
                <a:gd name="T5" fmla="*/ 9964 h 11163"/>
                <a:gd name="T6" fmla="*/ 5581 w 11163"/>
                <a:gd name="T7" fmla="*/ 1200 h 11163"/>
                <a:gd name="T8" fmla="*/ 5581 w 11163"/>
                <a:gd name="T9" fmla="*/ 9964 h 11163"/>
                <a:gd name="T10" fmla="*/ 1699 w 11163"/>
                <a:gd name="T11" fmla="*/ 5582 h 11163"/>
                <a:gd name="T12" fmla="*/ 9464 w 11163"/>
                <a:gd name="T13" fmla="*/ 5582 h 11163"/>
                <a:gd name="T14" fmla="*/ 8410 w 11163"/>
                <a:gd name="T15" fmla="*/ 6786 h 11163"/>
                <a:gd name="T16" fmla="*/ 6994 w 11163"/>
                <a:gd name="T17" fmla="*/ 5848 h 11163"/>
                <a:gd name="T18" fmla="*/ 6994 w 11163"/>
                <a:gd name="T19" fmla="*/ 5315 h 11163"/>
                <a:gd name="T20" fmla="*/ 8410 w 11163"/>
                <a:gd name="T21" fmla="*/ 4377 h 11163"/>
                <a:gd name="T22" fmla="*/ 8410 w 11163"/>
                <a:gd name="T23" fmla="*/ 6786 h 11163"/>
                <a:gd name="T24" fmla="*/ 8012 w 11163"/>
                <a:gd name="T25" fmla="*/ 3714 h 11163"/>
                <a:gd name="T26" fmla="*/ 6069 w 11163"/>
                <a:gd name="T27" fmla="*/ 4233 h 11163"/>
                <a:gd name="T28" fmla="*/ 5980 w 11163"/>
                <a:gd name="T29" fmla="*/ 2534 h 11163"/>
                <a:gd name="T30" fmla="*/ 5580 w 11163"/>
                <a:gd name="T31" fmla="*/ 6267 h 11163"/>
                <a:gd name="T32" fmla="*/ 5580 w 11163"/>
                <a:gd name="T33" fmla="*/ 4897 h 11163"/>
                <a:gd name="T34" fmla="*/ 5580 w 11163"/>
                <a:gd name="T35" fmla="*/ 6267 h 11163"/>
                <a:gd name="T36" fmla="*/ 5205 w 11163"/>
                <a:gd name="T37" fmla="*/ 2542 h 11163"/>
                <a:gd name="T38" fmla="*/ 4646 w 11163"/>
                <a:gd name="T39" fmla="*/ 4493 h 11163"/>
                <a:gd name="T40" fmla="*/ 3127 w 11163"/>
                <a:gd name="T41" fmla="*/ 3735 h 11163"/>
                <a:gd name="T42" fmla="*/ 2741 w 11163"/>
                <a:gd name="T43" fmla="*/ 4405 h 11163"/>
                <a:gd name="T44" fmla="*/ 4165 w 11163"/>
                <a:gd name="T45" fmla="*/ 5329 h 11163"/>
                <a:gd name="T46" fmla="*/ 4165 w 11163"/>
                <a:gd name="T47" fmla="*/ 5834 h 11163"/>
                <a:gd name="T48" fmla="*/ 2741 w 11163"/>
                <a:gd name="T49" fmla="*/ 6759 h 11163"/>
                <a:gd name="T50" fmla="*/ 2741 w 11163"/>
                <a:gd name="T51" fmla="*/ 4405 h 11163"/>
                <a:gd name="T52" fmla="*/ 3135 w 11163"/>
                <a:gd name="T53" fmla="*/ 7426 h 11163"/>
                <a:gd name="T54" fmla="*/ 5105 w 11163"/>
                <a:gd name="T55" fmla="*/ 6934 h 11163"/>
                <a:gd name="T56" fmla="*/ 5208 w 11163"/>
                <a:gd name="T57" fmla="*/ 8632 h 11163"/>
                <a:gd name="T58" fmla="*/ 5981 w 11163"/>
                <a:gd name="T59" fmla="*/ 8629 h 11163"/>
                <a:gd name="T60" fmla="*/ 6069 w 11163"/>
                <a:gd name="T61" fmla="*/ 6931 h 11163"/>
                <a:gd name="T62" fmla="*/ 8013 w 11163"/>
                <a:gd name="T63" fmla="*/ 7450 h 11163"/>
                <a:gd name="T64" fmla="*/ 5981 w 11163"/>
                <a:gd name="T65" fmla="*/ 8629 h 1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163" h="11163">
                  <a:moveTo>
                    <a:pt x="5581" y="0"/>
                  </a:moveTo>
                  <a:cubicBezTo>
                    <a:pt x="2498" y="0"/>
                    <a:pt x="0" y="2499"/>
                    <a:pt x="0" y="5582"/>
                  </a:cubicBezTo>
                  <a:cubicBezTo>
                    <a:pt x="0" y="8664"/>
                    <a:pt x="2498" y="11163"/>
                    <a:pt x="5581" y="11163"/>
                  </a:cubicBezTo>
                  <a:cubicBezTo>
                    <a:pt x="8664" y="11163"/>
                    <a:pt x="11163" y="8664"/>
                    <a:pt x="11163" y="5582"/>
                  </a:cubicBezTo>
                  <a:cubicBezTo>
                    <a:pt x="11163" y="2499"/>
                    <a:pt x="8664" y="0"/>
                    <a:pt x="5581" y="0"/>
                  </a:cubicBezTo>
                  <a:close/>
                  <a:moveTo>
                    <a:pt x="5581" y="9964"/>
                  </a:moveTo>
                  <a:cubicBezTo>
                    <a:pt x="3164" y="9964"/>
                    <a:pt x="1199" y="7998"/>
                    <a:pt x="1199" y="5582"/>
                  </a:cubicBezTo>
                  <a:cubicBezTo>
                    <a:pt x="1199" y="3165"/>
                    <a:pt x="3164" y="1200"/>
                    <a:pt x="5581" y="1200"/>
                  </a:cubicBezTo>
                  <a:cubicBezTo>
                    <a:pt x="7998" y="1200"/>
                    <a:pt x="9964" y="3165"/>
                    <a:pt x="9964" y="5582"/>
                  </a:cubicBezTo>
                  <a:cubicBezTo>
                    <a:pt x="9964" y="7998"/>
                    <a:pt x="7998" y="9964"/>
                    <a:pt x="5581" y="9964"/>
                  </a:cubicBezTo>
                  <a:close/>
                  <a:moveTo>
                    <a:pt x="5581" y="1699"/>
                  </a:moveTo>
                  <a:cubicBezTo>
                    <a:pt x="3436" y="1699"/>
                    <a:pt x="1699" y="3437"/>
                    <a:pt x="1699" y="5582"/>
                  </a:cubicBezTo>
                  <a:cubicBezTo>
                    <a:pt x="1699" y="7726"/>
                    <a:pt x="3436" y="9464"/>
                    <a:pt x="5581" y="9464"/>
                  </a:cubicBezTo>
                  <a:cubicBezTo>
                    <a:pt x="7726" y="9464"/>
                    <a:pt x="9464" y="7726"/>
                    <a:pt x="9464" y="5582"/>
                  </a:cubicBezTo>
                  <a:cubicBezTo>
                    <a:pt x="9464" y="3437"/>
                    <a:pt x="7726" y="1699"/>
                    <a:pt x="5581" y="1699"/>
                  </a:cubicBezTo>
                  <a:close/>
                  <a:moveTo>
                    <a:pt x="8410" y="6786"/>
                  </a:moveTo>
                  <a:cubicBezTo>
                    <a:pt x="8407" y="6784"/>
                    <a:pt x="8404" y="6779"/>
                    <a:pt x="8401" y="6777"/>
                  </a:cubicBezTo>
                  <a:lnTo>
                    <a:pt x="6994" y="5848"/>
                  </a:lnTo>
                  <a:cubicBezTo>
                    <a:pt x="7010" y="5761"/>
                    <a:pt x="7021" y="5673"/>
                    <a:pt x="7021" y="5582"/>
                  </a:cubicBezTo>
                  <a:cubicBezTo>
                    <a:pt x="7021" y="5491"/>
                    <a:pt x="7011" y="5402"/>
                    <a:pt x="6994" y="5315"/>
                  </a:cubicBezTo>
                  <a:lnTo>
                    <a:pt x="8401" y="4386"/>
                  </a:lnTo>
                  <a:cubicBezTo>
                    <a:pt x="8404" y="4384"/>
                    <a:pt x="8407" y="4379"/>
                    <a:pt x="8410" y="4377"/>
                  </a:cubicBezTo>
                  <a:cubicBezTo>
                    <a:pt x="8568" y="4747"/>
                    <a:pt x="8656" y="5154"/>
                    <a:pt x="8656" y="5582"/>
                  </a:cubicBezTo>
                  <a:cubicBezTo>
                    <a:pt x="8656" y="6009"/>
                    <a:pt x="8568" y="6416"/>
                    <a:pt x="8410" y="6786"/>
                  </a:cubicBezTo>
                  <a:close/>
                  <a:moveTo>
                    <a:pt x="8018" y="3712"/>
                  </a:moveTo>
                  <a:cubicBezTo>
                    <a:pt x="8016" y="3713"/>
                    <a:pt x="8014" y="3713"/>
                    <a:pt x="8012" y="3714"/>
                  </a:cubicBezTo>
                  <a:lnTo>
                    <a:pt x="6503" y="4485"/>
                  </a:lnTo>
                  <a:cubicBezTo>
                    <a:pt x="6375" y="4377"/>
                    <a:pt x="6229" y="4291"/>
                    <a:pt x="6069" y="4233"/>
                  </a:cubicBezTo>
                  <a:lnTo>
                    <a:pt x="5982" y="2542"/>
                  </a:lnTo>
                  <a:cubicBezTo>
                    <a:pt x="5982" y="2540"/>
                    <a:pt x="5980" y="2537"/>
                    <a:pt x="5980" y="2534"/>
                  </a:cubicBezTo>
                  <a:cubicBezTo>
                    <a:pt x="6808" y="2643"/>
                    <a:pt x="7532" y="3081"/>
                    <a:pt x="8018" y="3712"/>
                  </a:cubicBezTo>
                  <a:close/>
                  <a:moveTo>
                    <a:pt x="5580" y="6267"/>
                  </a:moveTo>
                  <a:cubicBezTo>
                    <a:pt x="5202" y="6267"/>
                    <a:pt x="4895" y="5960"/>
                    <a:pt x="4895" y="5582"/>
                  </a:cubicBezTo>
                  <a:cubicBezTo>
                    <a:pt x="4895" y="5204"/>
                    <a:pt x="5202" y="4897"/>
                    <a:pt x="5580" y="4897"/>
                  </a:cubicBezTo>
                  <a:cubicBezTo>
                    <a:pt x="5958" y="4897"/>
                    <a:pt x="6264" y="5204"/>
                    <a:pt x="6264" y="5582"/>
                  </a:cubicBezTo>
                  <a:cubicBezTo>
                    <a:pt x="6264" y="5960"/>
                    <a:pt x="5958" y="6267"/>
                    <a:pt x="5580" y="6267"/>
                  </a:cubicBezTo>
                  <a:close/>
                  <a:moveTo>
                    <a:pt x="5208" y="2531"/>
                  </a:moveTo>
                  <a:cubicBezTo>
                    <a:pt x="5207" y="2534"/>
                    <a:pt x="5205" y="2539"/>
                    <a:pt x="5205" y="2542"/>
                  </a:cubicBezTo>
                  <a:lnTo>
                    <a:pt x="5104" y="4229"/>
                  </a:lnTo>
                  <a:cubicBezTo>
                    <a:pt x="4934" y="4289"/>
                    <a:pt x="4780" y="4379"/>
                    <a:pt x="4646" y="4493"/>
                  </a:cubicBezTo>
                  <a:lnTo>
                    <a:pt x="3135" y="3738"/>
                  </a:lnTo>
                  <a:cubicBezTo>
                    <a:pt x="3132" y="3737"/>
                    <a:pt x="3129" y="3737"/>
                    <a:pt x="3127" y="3735"/>
                  </a:cubicBezTo>
                  <a:cubicBezTo>
                    <a:pt x="3618" y="3085"/>
                    <a:pt x="4359" y="2634"/>
                    <a:pt x="5208" y="2531"/>
                  </a:cubicBezTo>
                  <a:close/>
                  <a:moveTo>
                    <a:pt x="2741" y="4405"/>
                  </a:moveTo>
                  <a:cubicBezTo>
                    <a:pt x="2742" y="4406"/>
                    <a:pt x="2744" y="4409"/>
                    <a:pt x="2746" y="4410"/>
                  </a:cubicBezTo>
                  <a:lnTo>
                    <a:pt x="4165" y="5329"/>
                  </a:lnTo>
                  <a:cubicBezTo>
                    <a:pt x="4151" y="5411"/>
                    <a:pt x="4140" y="5495"/>
                    <a:pt x="4140" y="5582"/>
                  </a:cubicBezTo>
                  <a:cubicBezTo>
                    <a:pt x="4140" y="5668"/>
                    <a:pt x="4150" y="5752"/>
                    <a:pt x="4165" y="5834"/>
                  </a:cubicBezTo>
                  <a:lnTo>
                    <a:pt x="2746" y="6753"/>
                  </a:lnTo>
                  <a:cubicBezTo>
                    <a:pt x="2745" y="6754"/>
                    <a:pt x="2742" y="6757"/>
                    <a:pt x="2741" y="6759"/>
                  </a:cubicBezTo>
                  <a:cubicBezTo>
                    <a:pt x="2590" y="6396"/>
                    <a:pt x="2505" y="5999"/>
                    <a:pt x="2505" y="5582"/>
                  </a:cubicBezTo>
                  <a:cubicBezTo>
                    <a:pt x="2506" y="5165"/>
                    <a:pt x="2590" y="4768"/>
                    <a:pt x="2741" y="4405"/>
                  </a:cubicBezTo>
                  <a:close/>
                  <a:moveTo>
                    <a:pt x="3128" y="7428"/>
                  </a:moveTo>
                  <a:cubicBezTo>
                    <a:pt x="3129" y="7428"/>
                    <a:pt x="3133" y="7427"/>
                    <a:pt x="3135" y="7426"/>
                  </a:cubicBezTo>
                  <a:lnTo>
                    <a:pt x="4647" y="6670"/>
                  </a:lnTo>
                  <a:cubicBezTo>
                    <a:pt x="4781" y="6786"/>
                    <a:pt x="4934" y="6875"/>
                    <a:pt x="5105" y="6934"/>
                  </a:cubicBezTo>
                  <a:lnTo>
                    <a:pt x="5205" y="8622"/>
                  </a:lnTo>
                  <a:cubicBezTo>
                    <a:pt x="5205" y="8625"/>
                    <a:pt x="5208" y="8629"/>
                    <a:pt x="5208" y="8632"/>
                  </a:cubicBezTo>
                  <a:cubicBezTo>
                    <a:pt x="4359" y="8530"/>
                    <a:pt x="3618" y="8079"/>
                    <a:pt x="3128" y="7428"/>
                  </a:cubicBezTo>
                  <a:close/>
                  <a:moveTo>
                    <a:pt x="5981" y="8629"/>
                  </a:moveTo>
                  <a:cubicBezTo>
                    <a:pt x="5981" y="8626"/>
                    <a:pt x="5982" y="8624"/>
                    <a:pt x="5982" y="8622"/>
                  </a:cubicBezTo>
                  <a:lnTo>
                    <a:pt x="6069" y="6931"/>
                  </a:lnTo>
                  <a:cubicBezTo>
                    <a:pt x="6229" y="6872"/>
                    <a:pt x="6375" y="6786"/>
                    <a:pt x="6503" y="6678"/>
                  </a:cubicBezTo>
                  <a:lnTo>
                    <a:pt x="8013" y="7450"/>
                  </a:lnTo>
                  <a:cubicBezTo>
                    <a:pt x="8014" y="7450"/>
                    <a:pt x="8016" y="7451"/>
                    <a:pt x="8018" y="7451"/>
                  </a:cubicBezTo>
                  <a:cubicBezTo>
                    <a:pt x="7532" y="8083"/>
                    <a:pt x="6808" y="8520"/>
                    <a:pt x="5981" y="8629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4" name="iconfont-11894-5689857"/>
            <p:cNvSpPr>
              <a:spLocks noChangeAspect="1"/>
            </p:cNvSpPr>
            <p:nvPr userDrawn="1"/>
          </p:nvSpPr>
          <p:spPr bwMode="auto">
            <a:xfrm>
              <a:off x="25750260" y="-2688257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8" name="iconfont-11894-5689857"/>
            <p:cNvSpPr>
              <a:spLocks noChangeAspect="1"/>
            </p:cNvSpPr>
            <p:nvPr userDrawn="1"/>
          </p:nvSpPr>
          <p:spPr bwMode="auto">
            <a:xfrm>
              <a:off x="26978856" y="-2757510"/>
              <a:ext cx="591237" cy="609685"/>
            </a:xfrm>
            <a:custGeom>
              <a:avLst/>
              <a:gdLst>
                <a:gd name="T0" fmla="*/ 5719 w 12417"/>
                <a:gd name="T1" fmla="*/ 2264 h 12804"/>
                <a:gd name="T2" fmla="*/ 5719 w 12417"/>
                <a:gd name="T3" fmla="*/ 5366 h 12804"/>
                <a:gd name="T4" fmla="*/ 5720 w 12417"/>
                <a:gd name="T5" fmla="*/ 2816 h 12804"/>
                <a:gd name="T6" fmla="*/ 4596 w 12417"/>
                <a:gd name="T7" fmla="*/ 3938 h 12804"/>
                <a:gd name="T8" fmla="*/ 5720 w 12417"/>
                <a:gd name="T9" fmla="*/ 5917 h 12804"/>
                <a:gd name="T10" fmla="*/ 7700 w 12417"/>
                <a:gd name="T11" fmla="*/ 6211 h 12804"/>
                <a:gd name="T12" fmla="*/ 5034 w 12417"/>
                <a:gd name="T13" fmla="*/ 5462 h 12804"/>
                <a:gd name="T14" fmla="*/ 5871 w 12417"/>
                <a:gd name="T15" fmla="*/ 8460 h 12804"/>
                <a:gd name="T16" fmla="*/ 5763 w 12417"/>
                <a:gd name="T17" fmla="*/ 5268 h 12804"/>
                <a:gd name="T18" fmla="*/ 6409 w 12417"/>
                <a:gd name="T19" fmla="*/ 5466 h 12804"/>
                <a:gd name="T20" fmla="*/ 8933 w 12417"/>
                <a:gd name="T21" fmla="*/ 10332 h 12804"/>
                <a:gd name="T22" fmla="*/ 9845 w 12417"/>
                <a:gd name="T23" fmla="*/ 9087 h 12804"/>
                <a:gd name="T24" fmla="*/ 12413 w 12417"/>
                <a:gd name="T25" fmla="*/ 9743 h 12804"/>
                <a:gd name="T26" fmla="*/ 11727 w 12417"/>
                <a:gd name="T27" fmla="*/ 9056 h 12804"/>
                <a:gd name="T28" fmla="*/ 11732 w 12417"/>
                <a:gd name="T29" fmla="*/ 7666 h 12804"/>
                <a:gd name="T30" fmla="*/ 10925 w 12417"/>
                <a:gd name="T31" fmla="*/ 6943 h 12804"/>
                <a:gd name="T32" fmla="*/ 9988 w 12417"/>
                <a:gd name="T33" fmla="*/ 7193 h 12804"/>
                <a:gd name="T34" fmla="*/ 9357 w 12417"/>
                <a:gd name="T35" fmla="*/ 6463 h 12804"/>
                <a:gd name="T36" fmla="*/ 8670 w 12417"/>
                <a:gd name="T37" fmla="*/ 7149 h 12804"/>
                <a:gd name="T38" fmla="*/ 7758 w 12417"/>
                <a:gd name="T39" fmla="*/ 6832 h 12804"/>
                <a:gd name="T40" fmla="*/ 7508 w 12417"/>
                <a:gd name="T41" fmla="*/ 7768 h 12804"/>
                <a:gd name="T42" fmla="*/ 6559 w 12417"/>
                <a:gd name="T43" fmla="*/ 7950 h 12804"/>
                <a:gd name="T44" fmla="*/ 6526 w 12417"/>
                <a:gd name="T45" fmla="*/ 8658 h 12804"/>
                <a:gd name="T46" fmla="*/ 6079 w 12417"/>
                <a:gd name="T47" fmla="*/ 9519 h 12804"/>
                <a:gd name="T48" fmla="*/ 6766 w 12417"/>
                <a:gd name="T49" fmla="*/ 10205 h 12804"/>
                <a:gd name="T50" fmla="*/ 6614 w 12417"/>
                <a:gd name="T51" fmla="*/ 10934 h 12804"/>
                <a:gd name="T52" fmla="*/ 7385 w 12417"/>
                <a:gd name="T53" fmla="*/ 11368 h 12804"/>
                <a:gd name="T54" fmla="*/ 8074 w 12417"/>
                <a:gd name="T55" fmla="*/ 12575 h 12804"/>
                <a:gd name="T56" fmla="*/ 9133 w 12417"/>
                <a:gd name="T57" fmla="*/ 12798 h 12804"/>
                <a:gd name="T58" fmla="*/ 9819 w 12417"/>
                <a:gd name="T59" fmla="*/ 12112 h 12804"/>
                <a:gd name="T60" fmla="*/ 11209 w 12417"/>
                <a:gd name="T61" fmla="*/ 12118 h 12804"/>
                <a:gd name="T62" fmla="*/ 11932 w 12417"/>
                <a:gd name="T63" fmla="*/ 11312 h 12804"/>
                <a:gd name="T64" fmla="*/ 11774 w 12417"/>
                <a:gd name="T65" fmla="*/ 9929 h 12804"/>
                <a:gd name="T66" fmla="*/ 7604 w 12417"/>
                <a:gd name="T67" fmla="*/ 10422 h 12804"/>
                <a:gd name="T68" fmla="*/ 8454 w 12417"/>
                <a:gd name="T69" fmla="*/ 7988 h 12804"/>
                <a:gd name="T70" fmla="*/ 10356 w 12417"/>
                <a:gd name="T71" fmla="*/ 8175 h 12804"/>
                <a:gd name="T72" fmla="*/ 4705 w 12417"/>
                <a:gd name="T73" fmla="*/ 9599 h 12804"/>
                <a:gd name="T74" fmla="*/ 800 w 12417"/>
                <a:gd name="T75" fmla="*/ 1920 h 12804"/>
                <a:gd name="T76" fmla="*/ 9600 w 12417"/>
                <a:gd name="T77" fmla="*/ 1920 h 12804"/>
                <a:gd name="T78" fmla="*/ 10400 w 12417"/>
                <a:gd name="T79" fmla="*/ 1600 h 12804"/>
                <a:gd name="T80" fmla="*/ 0 w 12417"/>
                <a:gd name="T81" fmla="*/ 1600 h 12804"/>
                <a:gd name="T82" fmla="*/ 4827 w 12417"/>
                <a:gd name="T83" fmla="*/ 10399 h 12804"/>
                <a:gd name="T84" fmla="*/ 1351 w 12417"/>
                <a:gd name="T85" fmla="*/ 7983 h 12804"/>
                <a:gd name="T86" fmla="*/ 4119 w 12417"/>
                <a:gd name="T87" fmla="*/ 4940 h 12804"/>
                <a:gd name="T88" fmla="*/ 4120 w 12417"/>
                <a:gd name="T89" fmla="*/ 5331 h 12804"/>
                <a:gd name="T90" fmla="*/ 4120 w 12417"/>
                <a:gd name="T91" fmla="*/ 2856 h 12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417" h="12804">
                  <a:moveTo>
                    <a:pt x="6404" y="5462"/>
                  </a:moveTo>
                  <a:cubicBezTo>
                    <a:pt x="6986" y="5200"/>
                    <a:pt x="7394" y="4616"/>
                    <a:pt x="7394" y="3938"/>
                  </a:cubicBezTo>
                  <a:cubicBezTo>
                    <a:pt x="7394" y="3015"/>
                    <a:pt x="6642" y="2264"/>
                    <a:pt x="5719" y="2264"/>
                  </a:cubicBezTo>
                  <a:cubicBezTo>
                    <a:pt x="4796" y="2264"/>
                    <a:pt x="4045" y="3014"/>
                    <a:pt x="4045" y="3938"/>
                  </a:cubicBezTo>
                  <a:cubicBezTo>
                    <a:pt x="4045" y="4616"/>
                    <a:pt x="4452" y="5200"/>
                    <a:pt x="5034" y="5462"/>
                  </a:cubicBezTo>
                  <a:cubicBezTo>
                    <a:pt x="5254" y="5405"/>
                    <a:pt x="5482" y="5366"/>
                    <a:pt x="5719" y="5366"/>
                  </a:cubicBezTo>
                  <a:cubicBezTo>
                    <a:pt x="5958" y="5366"/>
                    <a:pt x="6184" y="5405"/>
                    <a:pt x="6404" y="5462"/>
                  </a:cubicBezTo>
                  <a:close/>
                  <a:moveTo>
                    <a:pt x="4596" y="3938"/>
                  </a:moveTo>
                  <a:cubicBezTo>
                    <a:pt x="4596" y="3318"/>
                    <a:pt x="5100" y="2816"/>
                    <a:pt x="5720" y="2816"/>
                  </a:cubicBezTo>
                  <a:cubicBezTo>
                    <a:pt x="6339" y="2816"/>
                    <a:pt x="6843" y="3319"/>
                    <a:pt x="6843" y="3938"/>
                  </a:cubicBezTo>
                  <a:cubicBezTo>
                    <a:pt x="6843" y="4557"/>
                    <a:pt x="6339" y="5062"/>
                    <a:pt x="5720" y="5062"/>
                  </a:cubicBezTo>
                  <a:cubicBezTo>
                    <a:pt x="5100" y="5062"/>
                    <a:pt x="4596" y="4556"/>
                    <a:pt x="4596" y="3938"/>
                  </a:cubicBezTo>
                  <a:close/>
                  <a:moveTo>
                    <a:pt x="6230" y="7859"/>
                  </a:moveTo>
                  <a:lnTo>
                    <a:pt x="3518" y="7859"/>
                  </a:lnTo>
                  <a:cubicBezTo>
                    <a:pt x="3655" y="6766"/>
                    <a:pt x="4590" y="5917"/>
                    <a:pt x="5720" y="5917"/>
                  </a:cubicBezTo>
                  <a:cubicBezTo>
                    <a:pt x="6300" y="5917"/>
                    <a:pt x="6826" y="6143"/>
                    <a:pt x="7221" y="6508"/>
                  </a:cubicBezTo>
                  <a:cubicBezTo>
                    <a:pt x="7341" y="6424"/>
                    <a:pt x="7460" y="6336"/>
                    <a:pt x="7584" y="6271"/>
                  </a:cubicBezTo>
                  <a:lnTo>
                    <a:pt x="7700" y="6211"/>
                  </a:lnTo>
                  <a:cubicBezTo>
                    <a:pt x="7350" y="5851"/>
                    <a:pt x="6905" y="5591"/>
                    <a:pt x="6404" y="5461"/>
                  </a:cubicBezTo>
                  <a:cubicBezTo>
                    <a:pt x="6195" y="5556"/>
                    <a:pt x="5964" y="5612"/>
                    <a:pt x="5720" y="5612"/>
                  </a:cubicBezTo>
                  <a:cubicBezTo>
                    <a:pt x="5476" y="5612"/>
                    <a:pt x="5244" y="5556"/>
                    <a:pt x="5034" y="5462"/>
                  </a:cubicBezTo>
                  <a:cubicBezTo>
                    <a:pt x="3840" y="5768"/>
                    <a:pt x="2951" y="6846"/>
                    <a:pt x="2951" y="8135"/>
                  </a:cubicBezTo>
                  <a:cubicBezTo>
                    <a:pt x="2951" y="8287"/>
                    <a:pt x="3075" y="8411"/>
                    <a:pt x="3226" y="8411"/>
                  </a:cubicBezTo>
                  <a:lnTo>
                    <a:pt x="5871" y="8460"/>
                  </a:lnTo>
                  <a:cubicBezTo>
                    <a:pt x="5871" y="8460"/>
                    <a:pt x="6198" y="7930"/>
                    <a:pt x="6230" y="7859"/>
                  </a:cubicBezTo>
                  <a:close/>
                  <a:moveTo>
                    <a:pt x="6409" y="5466"/>
                  </a:moveTo>
                  <a:cubicBezTo>
                    <a:pt x="6224" y="5268"/>
                    <a:pt x="6001" y="5268"/>
                    <a:pt x="5763" y="5268"/>
                  </a:cubicBezTo>
                  <a:cubicBezTo>
                    <a:pt x="5526" y="5268"/>
                    <a:pt x="5210" y="5268"/>
                    <a:pt x="5038" y="5466"/>
                  </a:cubicBezTo>
                  <a:cubicBezTo>
                    <a:pt x="5249" y="5570"/>
                    <a:pt x="5480" y="5632"/>
                    <a:pt x="5724" y="5632"/>
                  </a:cubicBezTo>
                  <a:cubicBezTo>
                    <a:pt x="5969" y="5632"/>
                    <a:pt x="6199" y="5570"/>
                    <a:pt x="6409" y="5466"/>
                  </a:cubicBezTo>
                  <a:close/>
                  <a:moveTo>
                    <a:pt x="9621" y="8916"/>
                  </a:moveTo>
                  <a:cubicBezTo>
                    <a:pt x="9231" y="8727"/>
                    <a:pt x="8760" y="8889"/>
                    <a:pt x="8569" y="9280"/>
                  </a:cubicBezTo>
                  <a:cubicBezTo>
                    <a:pt x="8380" y="9671"/>
                    <a:pt x="8542" y="10142"/>
                    <a:pt x="8933" y="10332"/>
                  </a:cubicBezTo>
                  <a:cubicBezTo>
                    <a:pt x="9005" y="10367"/>
                    <a:pt x="9079" y="10378"/>
                    <a:pt x="9154" y="10390"/>
                  </a:cubicBezTo>
                  <a:cubicBezTo>
                    <a:pt x="9488" y="10442"/>
                    <a:pt x="9830" y="10288"/>
                    <a:pt x="9986" y="9969"/>
                  </a:cubicBezTo>
                  <a:cubicBezTo>
                    <a:pt x="10132" y="9666"/>
                    <a:pt x="10064" y="9319"/>
                    <a:pt x="9845" y="9087"/>
                  </a:cubicBezTo>
                  <a:cubicBezTo>
                    <a:pt x="9782" y="9020"/>
                    <a:pt x="9709" y="8959"/>
                    <a:pt x="9621" y="8916"/>
                  </a:cubicBezTo>
                  <a:close/>
                  <a:moveTo>
                    <a:pt x="11774" y="9929"/>
                  </a:moveTo>
                  <a:cubicBezTo>
                    <a:pt x="12032" y="9864"/>
                    <a:pt x="12245" y="9802"/>
                    <a:pt x="12413" y="9743"/>
                  </a:cubicBezTo>
                  <a:cubicBezTo>
                    <a:pt x="12417" y="9570"/>
                    <a:pt x="12412" y="9394"/>
                    <a:pt x="12386" y="9218"/>
                  </a:cubicBezTo>
                  <a:cubicBezTo>
                    <a:pt x="12385" y="9203"/>
                    <a:pt x="12383" y="9187"/>
                    <a:pt x="12381" y="9172"/>
                  </a:cubicBezTo>
                  <a:cubicBezTo>
                    <a:pt x="12207" y="9131"/>
                    <a:pt x="11991" y="9092"/>
                    <a:pt x="11727" y="9056"/>
                  </a:cubicBezTo>
                  <a:cubicBezTo>
                    <a:pt x="11692" y="8906"/>
                    <a:pt x="11644" y="8762"/>
                    <a:pt x="11586" y="8623"/>
                  </a:cubicBezTo>
                  <a:cubicBezTo>
                    <a:pt x="11776" y="8439"/>
                    <a:pt x="11929" y="8279"/>
                    <a:pt x="12044" y="8143"/>
                  </a:cubicBezTo>
                  <a:cubicBezTo>
                    <a:pt x="11953" y="7974"/>
                    <a:pt x="11848" y="7814"/>
                    <a:pt x="11732" y="7666"/>
                  </a:cubicBezTo>
                  <a:cubicBezTo>
                    <a:pt x="11560" y="7717"/>
                    <a:pt x="11352" y="7792"/>
                    <a:pt x="11106" y="7893"/>
                  </a:cubicBezTo>
                  <a:cubicBezTo>
                    <a:pt x="11004" y="7781"/>
                    <a:pt x="10889" y="7680"/>
                    <a:pt x="10768" y="7589"/>
                  </a:cubicBezTo>
                  <a:cubicBezTo>
                    <a:pt x="10840" y="7334"/>
                    <a:pt x="10892" y="7119"/>
                    <a:pt x="10925" y="6943"/>
                  </a:cubicBezTo>
                  <a:cubicBezTo>
                    <a:pt x="10764" y="6843"/>
                    <a:pt x="10592" y="6756"/>
                    <a:pt x="10417" y="6684"/>
                  </a:cubicBezTo>
                  <a:cubicBezTo>
                    <a:pt x="10398" y="6705"/>
                    <a:pt x="10375" y="6732"/>
                    <a:pt x="10355" y="6753"/>
                  </a:cubicBezTo>
                  <a:cubicBezTo>
                    <a:pt x="10246" y="6874"/>
                    <a:pt x="10126" y="7015"/>
                    <a:pt x="9988" y="7193"/>
                  </a:cubicBezTo>
                  <a:cubicBezTo>
                    <a:pt x="9941" y="7179"/>
                    <a:pt x="9892" y="7175"/>
                    <a:pt x="9845" y="7163"/>
                  </a:cubicBezTo>
                  <a:cubicBezTo>
                    <a:pt x="9745" y="7139"/>
                    <a:pt x="9646" y="7112"/>
                    <a:pt x="9544" y="7099"/>
                  </a:cubicBezTo>
                  <a:cubicBezTo>
                    <a:pt x="9478" y="6843"/>
                    <a:pt x="9417" y="6630"/>
                    <a:pt x="9357" y="6463"/>
                  </a:cubicBezTo>
                  <a:cubicBezTo>
                    <a:pt x="9184" y="6457"/>
                    <a:pt x="9009" y="6464"/>
                    <a:pt x="8833" y="6488"/>
                  </a:cubicBezTo>
                  <a:cubicBezTo>
                    <a:pt x="8815" y="6490"/>
                    <a:pt x="8801" y="6492"/>
                    <a:pt x="8785" y="6495"/>
                  </a:cubicBezTo>
                  <a:cubicBezTo>
                    <a:pt x="8746" y="6668"/>
                    <a:pt x="8705" y="6885"/>
                    <a:pt x="8670" y="7149"/>
                  </a:cubicBezTo>
                  <a:cubicBezTo>
                    <a:pt x="8531" y="7180"/>
                    <a:pt x="8397" y="7227"/>
                    <a:pt x="8269" y="7280"/>
                  </a:cubicBezTo>
                  <a:cubicBezTo>
                    <a:pt x="8258" y="7284"/>
                    <a:pt x="8248" y="7285"/>
                    <a:pt x="8238" y="7290"/>
                  </a:cubicBezTo>
                  <a:cubicBezTo>
                    <a:pt x="8053" y="7099"/>
                    <a:pt x="7894" y="6946"/>
                    <a:pt x="7758" y="6832"/>
                  </a:cubicBezTo>
                  <a:cubicBezTo>
                    <a:pt x="7657" y="6884"/>
                    <a:pt x="7568" y="6954"/>
                    <a:pt x="7474" y="7017"/>
                  </a:cubicBezTo>
                  <a:cubicBezTo>
                    <a:pt x="7410" y="7061"/>
                    <a:pt x="7341" y="7095"/>
                    <a:pt x="7281" y="7143"/>
                  </a:cubicBezTo>
                  <a:cubicBezTo>
                    <a:pt x="7332" y="7315"/>
                    <a:pt x="7407" y="7522"/>
                    <a:pt x="7508" y="7768"/>
                  </a:cubicBezTo>
                  <a:cubicBezTo>
                    <a:pt x="7402" y="7868"/>
                    <a:pt x="7305" y="7977"/>
                    <a:pt x="7218" y="8092"/>
                  </a:cubicBezTo>
                  <a:lnTo>
                    <a:pt x="7150" y="8092"/>
                  </a:lnTo>
                  <a:cubicBezTo>
                    <a:pt x="6921" y="8028"/>
                    <a:pt x="6721" y="7979"/>
                    <a:pt x="6559" y="7950"/>
                  </a:cubicBezTo>
                  <a:cubicBezTo>
                    <a:pt x="6531" y="7995"/>
                    <a:pt x="6513" y="8046"/>
                    <a:pt x="6487" y="8092"/>
                  </a:cubicBezTo>
                  <a:cubicBezTo>
                    <a:pt x="6420" y="8212"/>
                    <a:pt x="6352" y="8332"/>
                    <a:pt x="6301" y="8459"/>
                  </a:cubicBezTo>
                  <a:cubicBezTo>
                    <a:pt x="6366" y="8521"/>
                    <a:pt x="6441" y="8587"/>
                    <a:pt x="6526" y="8658"/>
                  </a:cubicBezTo>
                  <a:cubicBezTo>
                    <a:pt x="6610" y="8729"/>
                    <a:pt x="6705" y="8805"/>
                    <a:pt x="6810" y="8886"/>
                  </a:cubicBezTo>
                  <a:cubicBezTo>
                    <a:pt x="6768" y="9031"/>
                    <a:pt x="6734" y="9179"/>
                    <a:pt x="6718" y="9332"/>
                  </a:cubicBezTo>
                  <a:cubicBezTo>
                    <a:pt x="6460" y="9396"/>
                    <a:pt x="6247" y="9459"/>
                    <a:pt x="6079" y="9519"/>
                  </a:cubicBezTo>
                  <a:cubicBezTo>
                    <a:pt x="6073" y="9691"/>
                    <a:pt x="6082" y="9866"/>
                    <a:pt x="6104" y="10042"/>
                  </a:cubicBezTo>
                  <a:cubicBezTo>
                    <a:pt x="6106" y="10058"/>
                    <a:pt x="6109" y="10074"/>
                    <a:pt x="6111" y="10089"/>
                  </a:cubicBezTo>
                  <a:cubicBezTo>
                    <a:pt x="6284" y="10130"/>
                    <a:pt x="6502" y="10168"/>
                    <a:pt x="6766" y="10205"/>
                  </a:cubicBezTo>
                  <a:cubicBezTo>
                    <a:pt x="6783" y="10280"/>
                    <a:pt x="6814" y="10350"/>
                    <a:pt x="6837" y="10422"/>
                  </a:cubicBezTo>
                  <a:cubicBezTo>
                    <a:pt x="6860" y="10494"/>
                    <a:pt x="6877" y="10568"/>
                    <a:pt x="6906" y="10637"/>
                  </a:cubicBezTo>
                  <a:cubicBezTo>
                    <a:pt x="6795" y="10745"/>
                    <a:pt x="6700" y="10842"/>
                    <a:pt x="6614" y="10934"/>
                  </a:cubicBezTo>
                  <a:cubicBezTo>
                    <a:pt x="6552" y="10998"/>
                    <a:pt x="6494" y="11061"/>
                    <a:pt x="6446" y="11117"/>
                  </a:cubicBezTo>
                  <a:cubicBezTo>
                    <a:pt x="6537" y="11287"/>
                    <a:pt x="6641" y="11446"/>
                    <a:pt x="6759" y="11597"/>
                  </a:cubicBezTo>
                  <a:cubicBezTo>
                    <a:pt x="6929" y="11546"/>
                    <a:pt x="7139" y="11469"/>
                    <a:pt x="7385" y="11368"/>
                  </a:cubicBezTo>
                  <a:cubicBezTo>
                    <a:pt x="7487" y="11480"/>
                    <a:pt x="7602" y="11581"/>
                    <a:pt x="7723" y="11672"/>
                  </a:cubicBezTo>
                  <a:cubicBezTo>
                    <a:pt x="7650" y="11926"/>
                    <a:pt x="7597" y="12142"/>
                    <a:pt x="7566" y="12318"/>
                  </a:cubicBezTo>
                  <a:cubicBezTo>
                    <a:pt x="7726" y="12418"/>
                    <a:pt x="7897" y="12505"/>
                    <a:pt x="8074" y="12575"/>
                  </a:cubicBezTo>
                  <a:cubicBezTo>
                    <a:pt x="8197" y="12447"/>
                    <a:pt x="8338" y="12278"/>
                    <a:pt x="8501" y="12067"/>
                  </a:cubicBezTo>
                  <a:cubicBezTo>
                    <a:pt x="8646" y="12112"/>
                    <a:pt x="8794" y="12142"/>
                    <a:pt x="8947" y="12161"/>
                  </a:cubicBezTo>
                  <a:cubicBezTo>
                    <a:pt x="9012" y="12418"/>
                    <a:pt x="9074" y="12630"/>
                    <a:pt x="9133" y="12798"/>
                  </a:cubicBezTo>
                  <a:cubicBezTo>
                    <a:pt x="9305" y="12804"/>
                    <a:pt x="9481" y="12796"/>
                    <a:pt x="9658" y="12773"/>
                  </a:cubicBezTo>
                  <a:cubicBezTo>
                    <a:pt x="9673" y="12771"/>
                    <a:pt x="9689" y="12769"/>
                    <a:pt x="9705" y="12767"/>
                  </a:cubicBezTo>
                  <a:cubicBezTo>
                    <a:pt x="9745" y="12593"/>
                    <a:pt x="9784" y="12376"/>
                    <a:pt x="9819" y="12112"/>
                  </a:cubicBezTo>
                  <a:cubicBezTo>
                    <a:pt x="9969" y="12078"/>
                    <a:pt x="10113" y="12030"/>
                    <a:pt x="10251" y="11971"/>
                  </a:cubicBezTo>
                  <a:cubicBezTo>
                    <a:pt x="10436" y="12162"/>
                    <a:pt x="10596" y="12315"/>
                    <a:pt x="10732" y="12430"/>
                  </a:cubicBezTo>
                  <a:cubicBezTo>
                    <a:pt x="10902" y="12340"/>
                    <a:pt x="11061" y="12235"/>
                    <a:pt x="11209" y="12118"/>
                  </a:cubicBezTo>
                  <a:cubicBezTo>
                    <a:pt x="11160" y="11947"/>
                    <a:pt x="11084" y="11738"/>
                    <a:pt x="10982" y="11492"/>
                  </a:cubicBezTo>
                  <a:cubicBezTo>
                    <a:pt x="11093" y="11389"/>
                    <a:pt x="11194" y="11274"/>
                    <a:pt x="11285" y="11154"/>
                  </a:cubicBezTo>
                  <a:cubicBezTo>
                    <a:pt x="11540" y="11227"/>
                    <a:pt x="11756" y="11279"/>
                    <a:pt x="11932" y="11312"/>
                  </a:cubicBezTo>
                  <a:cubicBezTo>
                    <a:pt x="12032" y="11151"/>
                    <a:pt x="12120" y="10981"/>
                    <a:pt x="12190" y="10802"/>
                  </a:cubicBezTo>
                  <a:cubicBezTo>
                    <a:pt x="12060" y="10680"/>
                    <a:pt x="11891" y="10538"/>
                    <a:pt x="11680" y="10374"/>
                  </a:cubicBezTo>
                  <a:cubicBezTo>
                    <a:pt x="11726" y="10230"/>
                    <a:pt x="11757" y="10082"/>
                    <a:pt x="11774" y="9929"/>
                  </a:cubicBezTo>
                  <a:close/>
                  <a:moveTo>
                    <a:pt x="9484" y="11445"/>
                  </a:moveTo>
                  <a:cubicBezTo>
                    <a:pt x="8905" y="11521"/>
                    <a:pt x="8358" y="11312"/>
                    <a:pt x="7970" y="10933"/>
                  </a:cubicBezTo>
                  <a:cubicBezTo>
                    <a:pt x="7820" y="10786"/>
                    <a:pt x="7697" y="10615"/>
                    <a:pt x="7604" y="10422"/>
                  </a:cubicBezTo>
                  <a:cubicBezTo>
                    <a:pt x="7521" y="10251"/>
                    <a:pt x="7457" y="10068"/>
                    <a:pt x="7430" y="9868"/>
                  </a:cubicBezTo>
                  <a:cubicBezTo>
                    <a:pt x="7372" y="9428"/>
                    <a:pt x="7484" y="9007"/>
                    <a:pt x="7704" y="8658"/>
                  </a:cubicBezTo>
                  <a:cubicBezTo>
                    <a:pt x="7885" y="8371"/>
                    <a:pt x="8142" y="8139"/>
                    <a:pt x="8454" y="7988"/>
                  </a:cubicBezTo>
                  <a:cubicBezTo>
                    <a:pt x="8626" y="7906"/>
                    <a:pt x="8809" y="7841"/>
                    <a:pt x="9008" y="7815"/>
                  </a:cubicBezTo>
                  <a:cubicBezTo>
                    <a:pt x="9301" y="7776"/>
                    <a:pt x="9585" y="7817"/>
                    <a:pt x="9846" y="7908"/>
                  </a:cubicBezTo>
                  <a:cubicBezTo>
                    <a:pt x="10029" y="7973"/>
                    <a:pt x="10203" y="8059"/>
                    <a:pt x="10356" y="8175"/>
                  </a:cubicBezTo>
                  <a:cubicBezTo>
                    <a:pt x="10730" y="8460"/>
                    <a:pt x="10996" y="8889"/>
                    <a:pt x="11062" y="9392"/>
                  </a:cubicBezTo>
                  <a:cubicBezTo>
                    <a:pt x="11193" y="10394"/>
                    <a:pt x="10485" y="11314"/>
                    <a:pt x="9484" y="11445"/>
                  </a:cubicBezTo>
                  <a:close/>
                  <a:moveTo>
                    <a:pt x="4705" y="9599"/>
                  </a:moveTo>
                  <a:lnTo>
                    <a:pt x="1920" y="9599"/>
                  </a:lnTo>
                  <a:cubicBezTo>
                    <a:pt x="1302" y="9599"/>
                    <a:pt x="800" y="9098"/>
                    <a:pt x="800" y="8479"/>
                  </a:cubicBezTo>
                  <a:lnTo>
                    <a:pt x="800" y="1920"/>
                  </a:lnTo>
                  <a:cubicBezTo>
                    <a:pt x="800" y="1302"/>
                    <a:pt x="1302" y="800"/>
                    <a:pt x="1920" y="800"/>
                  </a:cubicBezTo>
                  <a:lnTo>
                    <a:pt x="8480" y="800"/>
                  </a:lnTo>
                  <a:cubicBezTo>
                    <a:pt x="9098" y="800"/>
                    <a:pt x="9600" y="1302"/>
                    <a:pt x="9600" y="1920"/>
                  </a:cubicBezTo>
                  <a:lnTo>
                    <a:pt x="9600" y="4872"/>
                  </a:lnTo>
                  <a:cubicBezTo>
                    <a:pt x="9600" y="4902"/>
                    <a:pt x="10182" y="4948"/>
                    <a:pt x="10400" y="5012"/>
                  </a:cubicBezTo>
                  <a:lnTo>
                    <a:pt x="10400" y="1600"/>
                  </a:lnTo>
                  <a:cubicBezTo>
                    <a:pt x="10400" y="716"/>
                    <a:pt x="9684" y="0"/>
                    <a:pt x="8800" y="0"/>
                  </a:cubicBezTo>
                  <a:lnTo>
                    <a:pt x="1600" y="0"/>
                  </a:lnTo>
                  <a:cubicBezTo>
                    <a:pt x="716" y="0"/>
                    <a:pt x="0" y="716"/>
                    <a:pt x="0" y="1600"/>
                  </a:cubicBezTo>
                  <a:lnTo>
                    <a:pt x="0" y="8799"/>
                  </a:lnTo>
                  <a:cubicBezTo>
                    <a:pt x="0" y="9683"/>
                    <a:pt x="716" y="10399"/>
                    <a:pt x="1600" y="10399"/>
                  </a:cubicBezTo>
                  <a:lnTo>
                    <a:pt x="4827" y="10399"/>
                  </a:lnTo>
                  <a:cubicBezTo>
                    <a:pt x="4771" y="10181"/>
                    <a:pt x="4727" y="9599"/>
                    <a:pt x="4705" y="9599"/>
                  </a:cubicBezTo>
                  <a:close/>
                  <a:moveTo>
                    <a:pt x="4119" y="4940"/>
                  </a:moveTo>
                  <a:cubicBezTo>
                    <a:pt x="4119" y="4940"/>
                    <a:pt x="1349" y="4791"/>
                    <a:pt x="1351" y="7983"/>
                  </a:cubicBezTo>
                  <a:lnTo>
                    <a:pt x="1901" y="7983"/>
                  </a:lnTo>
                  <a:cubicBezTo>
                    <a:pt x="1901" y="7983"/>
                    <a:pt x="1726" y="5700"/>
                    <a:pt x="4120" y="5492"/>
                  </a:cubicBezTo>
                  <a:lnTo>
                    <a:pt x="4119" y="4940"/>
                  </a:lnTo>
                  <a:close/>
                  <a:moveTo>
                    <a:pt x="4120" y="2395"/>
                  </a:moveTo>
                  <a:cubicBezTo>
                    <a:pt x="4120" y="2395"/>
                    <a:pt x="2651" y="2395"/>
                    <a:pt x="2651" y="3863"/>
                  </a:cubicBezTo>
                  <a:cubicBezTo>
                    <a:pt x="2651" y="3863"/>
                    <a:pt x="2651" y="5232"/>
                    <a:pt x="4120" y="5331"/>
                  </a:cubicBezTo>
                  <a:lnTo>
                    <a:pt x="4120" y="4831"/>
                  </a:lnTo>
                  <a:cubicBezTo>
                    <a:pt x="4120" y="4831"/>
                    <a:pt x="3265" y="4758"/>
                    <a:pt x="3190" y="3863"/>
                  </a:cubicBezTo>
                  <a:cubicBezTo>
                    <a:pt x="3190" y="3863"/>
                    <a:pt x="3151" y="2931"/>
                    <a:pt x="4120" y="2856"/>
                  </a:cubicBezTo>
                  <a:lnTo>
                    <a:pt x="4120" y="239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16" name="iconfont-11894-5689857"/>
            <p:cNvSpPr>
              <a:spLocks noChangeAspect="1"/>
            </p:cNvSpPr>
            <p:nvPr userDrawn="1"/>
          </p:nvSpPr>
          <p:spPr bwMode="auto">
            <a:xfrm>
              <a:off x="28188999" y="-2757510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18" name="iconfont-11894-5689857"/>
            <p:cNvSpPr>
              <a:spLocks noChangeAspect="1"/>
            </p:cNvSpPr>
            <p:nvPr userDrawn="1"/>
          </p:nvSpPr>
          <p:spPr bwMode="auto">
            <a:xfrm>
              <a:off x="13556559" y="-1287093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319" name="iconfont-11894-5689857"/>
            <p:cNvSpPr>
              <a:spLocks noChangeAspect="1"/>
            </p:cNvSpPr>
            <p:nvPr userDrawn="1"/>
          </p:nvSpPr>
          <p:spPr bwMode="auto">
            <a:xfrm>
              <a:off x="14775929" y="-1251424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3" name="iconfont-11894-5689857"/>
            <p:cNvSpPr>
              <a:spLocks noChangeAspect="1"/>
            </p:cNvSpPr>
            <p:nvPr userDrawn="1"/>
          </p:nvSpPr>
          <p:spPr bwMode="auto">
            <a:xfrm>
              <a:off x="15995895" y="-1287093"/>
              <a:ext cx="608494" cy="609685"/>
            </a:xfrm>
            <a:custGeom>
              <a:avLst/>
              <a:gdLst>
                <a:gd name="T0" fmla="*/ 3993 w 12776"/>
                <a:gd name="T1" fmla="*/ 3219 h 12800"/>
                <a:gd name="T2" fmla="*/ 1078 w 12776"/>
                <a:gd name="T3" fmla="*/ 3243 h 12800"/>
                <a:gd name="T4" fmla="*/ 0 w 12776"/>
                <a:gd name="T5" fmla="*/ 4361 h 12800"/>
                <a:gd name="T6" fmla="*/ 0 w 12776"/>
                <a:gd name="T7" fmla="*/ 11682 h 12800"/>
                <a:gd name="T8" fmla="*/ 1118 w 12776"/>
                <a:gd name="T9" fmla="*/ 12800 h 12800"/>
                <a:gd name="T10" fmla="*/ 7670 w 12776"/>
                <a:gd name="T11" fmla="*/ 12800 h 12800"/>
                <a:gd name="T12" fmla="*/ 8783 w 12776"/>
                <a:gd name="T13" fmla="*/ 12002 h 12800"/>
                <a:gd name="T14" fmla="*/ 8783 w 12776"/>
                <a:gd name="T15" fmla="*/ 9606 h 12800"/>
                <a:gd name="T16" fmla="*/ 12776 w 12776"/>
                <a:gd name="T17" fmla="*/ 9606 h 12800"/>
                <a:gd name="T18" fmla="*/ 12776 w 12776"/>
                <a:gd name="T19" fmla="*/ 25 h 12800"/>
                <a:gd name="T20" fmla="*/ 3993 w 12776"/>
                <a:gd name="T21" fmla="*/ 0 h 12800"/>
                <a:gd name="T22" fmla="*/ 3993 w 12776"/>
                <a:gd name="T23" fmla="*/ 3219 h 12800"/>
                <a:gd name="T24" fmla="*/ 7985 w 12776"/>
                <a:gd name="T25" fmla="*/ 11602 h 12800"/>
                <a:gd name="T26" fmla="*/ 7586 w 12776"/>
                <a:gd name="T27" fmla="*/ 12002 h 12800"/>
                <a:gd name="T28" fmla="*/ 1198 w 12776"/>
                <a:gd name="T29" fmla="*/ 12002 h 12800"/>
                <a:gd name="T30" fmla="*/ 799 w 12776"/>
                <a:gd name="T31" fmla="*/ 11602 h 12800"/>
                <a:gd name="T32" fmla="*/ 799 w 12776"/>
                <a:gd name="T33" fmla="*/ 4416 h 12800"/>
                <a:gd name="T34" fmla="*/ 1198 w 12776"/>
                <a:gd name="T35" fmla="*/ 4017 h 12800"/>
                <a:gd name="T36" fmla="*/ 7586 w 12776"/>
                <a:gd name="T37" fmla="*/ 4017 h 12800"/>
                <a:gd name="T38" fmla="*/ 7985 w 12776"/>
                <a:gd name="T39" fmla="*/ 4416 h 12800"/>
                <a:gd name="T40" fmla="*/ 7985 w 12776"/>
                <a:gd name="T41" fmla="*/ 11602 h 12800"/>
                <a:gd name="T42" fmla="*/ 11977 w 12776"/>
                <a:gd name="T43" fmla="*/ 743 h 12800"/>
                <a:gd name="T44" fmla="*/ 11977 w 12776"/>
                <a:gd name="T45" fmla="*/ 8808 h 12800"/>
                <a:gd name="T46" fmla="*/ 8783 w 12776"/>
                <a:gd name="T47" fmla="*/ 8808 h 12800"/>
                <a:gd name="T48" fmla="*/ 8783 w 12776"/>
                <a:gd name="T49" fmla="*/ 4017 h 12800"/>
                <a:gd name="T50" fmla="*/ 7590 w 12776"/>
                <a:gd name="T51" fmla="*/ 3243 h 12800"/>
                <a:gd name="T52" fmla="*/ 4791 w 12776"/>
                <a:gd name="T53" fmla="*/ 3219 h 12800"/>
                <a:gd name="T54" fmla="*/ 4791 w 12776"/>
                <a:gd name="T55" fmla="*/ 719 h 12800"/>
                <a:gd name="T56" fmla="*/ 11977 w 12776"/>
                <a:gd name="T57" fmla="*/ 7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776" h="12800">
                  <a:moveTo>
                    <a:pt x="3993" y="3219"/>
                  </a:moveTo>
                  <a:lnTo>
                    <a:pt x="1078" y="3243"/>
                  </a:lnTo>
                  <a:cubicBezTo>
                    <a:pt x="440" y="3243"/>
                    <a:pt x="0" y="3722"/>
                    <a:pt x="0" y="4361"/>
                  </a:cubicBezTo>
                  <a:lnTo>
                    <a:pt x="0" y="11682"/>
                  </a:lnTo>
                  <a:cubicBezTo>
                    <a:pt x="0" y="12321"/>
                    <a:pt x="479" y="12800"/>
                    <a:pt x="1118" y="12800"/>
                  </a:cubicBezTo>
                  <a:lnTo>
                    <a:pt x="7670" y="12800"/>
                  </a:lnTo>
                  <a:cubicBezTo>
                    <a:pt x="8309" y="12800"/>
                    <a:pt x="8783" y="12640"/>
                    <a:pt x="8783" y="12002"/>
                  </a:cubicBezTo>
                  <a:lnTo>
                    <a:pt x="8783" y="9606"/>
                  </a:lnTo>
                  <a:lnTo>
                    <a:pt x="12776" y="9606"/>
                  </a:lnTo>
                  <a:lnTo>
                    <a:pt x="12776" y="25"/>
                  </a:lnTo>
                  <a:lnTo>
                    <a:pt x="3993" y="0"/>
                  </a:lnTo>
                  <a:lnTo>
                    <a:pt x="3993" y="3219"/>
                  </a:lnTo>
                  <a:close/>
                  <a:moveTo>
                    <a:pt x="7985" y="11602"/>
                  </a:moveTo>
                  <a:cubicBezTo>
                    <a:pt x="7985" y="11823"/>
                    <a:pt x="7806" y="12002"/>
                    <a:pt x="7586" y="12002"/>
                  </a:cubicBezTo>
                  <a:lnTo>
                    <a:pt x="1198" y="12002"/>
                  </a:lnTo>
                  <a:cubicBezTo>
                    <a:pt x="978" y="12002"/>
                    <a:pt x="799" y="11823"/>
                    <a:pt x="799" y="11602"/>
                  </a:cubicBezTo>
                  <a:lnTo>
                    <a:pt x="799" y="4416"/>
                  </a:lnTo>
                  <a:cubicBezTo>
                    <a:pt x="799" y="4196"/>
                    <a:pt x="978" y="4017"/>
                    <a:pt x="1198" y="4017"/>
                  </a:cubicBezTo>
                  <a:lnTo>
                    <a:pt x="7586" y="4017"/>
                  </a:lnTo>
                  <a:cubicBezTo>
                    <a:pt x="7806" y="4017"/>
                    <a:pt x="7985" y="4196"/>
                    <a:pt x="7985" y="4416"/>
                  </a:cubicBezTo>
                  <a:lnTo>
                    <a:pt x="7985" y="11602"/>
                  </a:lnTo>
                  <a:close/>
                  <a:moveTo>
                    <a:pt x="11977" y="743"/>
                  </a:moveTo>
                  <a:lnTo>
                    <a:pt x="11977" y="8808"/>
                  </a:lnTo>
                  <a:lnTo>
                    <a:pt x="8783" y="8808"/>
                  </a:lnTo>
                  <a:lnTo>
                    <a:pt x="8783" y="4017"/>
                  </a:lnTo>
                  <a:cubicBezTo>
                    <a:pt x="8783" y="3378"/>
                    <a:pt x="8229" y="3243"/>
                    <a:pt x="7590" y="3243"/>
                  </a:cubicBezTo>
                  <a:lnTo>
                    <a:pt x="4791" y="3219"/>
                  </a:lnTo>
                  <a:lnTo>
                    <a:pt x="4791" y="719"/>
                  </a:lnTo>
                  <a:lnTo>
                    <a:pt x="11977" y="7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21" name="iconfont-11894-5689857"/>
            <p:cNvSpPr>
              <a:spLocks noChangeAspect="1"/>
            </p:cNvSpPr>
            <p:nvPr userDrawn="1"/>
          </p:nvSpPr>
          <p:spPr bwMode="auto">
            <a:xfrm>
              <a:off x="17214969" y="-1287093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5" name="iconfont-11894-5689857"/>
            <p:cNvSpPr>
              <a:spLocks noChangeAspect="1"/>
            </p:cNvSpPr>
            <p:nvPr userDrawn="1"/>
          </p:nvSpPr>
          <p:spPr bwMode="auto">
            <a:xfrm>
              <a:off x="18434041" y="-1287093"/>
              <a:ext cx="609685" cy="609685"/>
            </a:xfrm>
            <a:custGeom>
              <a:avLst/>
              <a:gdLst>
                <a:gd name="T0" fmla="*/ 12800 w 12800"/>
                <a:gd name="T1" fmla="*/ 11360 h 12800"/>
                <a:gd name="T2" fmla="*/ 11360 w 12800"/>
                <a:gd name="T3" fmla="*/ 12800 h 12800"/>
                <a:gd name="T4" fmla="*/ 1440 w 12800"/>
                <a:gd name="T5" fmla="*/ 12800 h 12800"/>
                <a:gd name="T6" fmla="*/ 0 w 12800"/>
                <a:gd name="T7" fmla="*/ 11360 h 12800"/>
                <a:gd name="T8" fmla="*/ 0 w 12800"/>
                <a:gd name="T9" fmla="*/ 1440 h 12800"/>
                <a:gd name="T10" fmla="*/ 1440 w 12800"/>
                <a:gd name="T11" fmla="*/ 0 h 12800"/>
                <a:gd name="T12" fmla="*/ 11360 w 12800"/>
                <a:gd name="T13" fmla="*/ 0 h 12800"/>
                <a:gd name="T14" fmla="*/ 12800 w 12800"/>
                <a:gd name="T15" fmla="*/ 1440 h 12800"/>
                <a:gd name="T16" fmla="*/ 12800 w 12800"/>
                <a:gd name="T17" fmla="*/ 11360 h 12800"/>
                <a:gd name="T18" fmla="*/ 1600 w 12800"/>
                <a:gd name="T19" fmla="*/ 800 h 12800"/>
                <a:gd name="T20" fmla="*/ 800 w 12800"/>
                <a:gd name="T21" fmla="*/ 1600 h 12800"/>
                <a:gd name="T22" fmla="*/ 800 w 12800"/>
                <a:gd name="T23" fmla="*/ 11200 h 12800"/>
                <a:gd name="T24" fmla="*/ 1680 w 12800"/>
                <a:gd name="T25" fmla="*/ 12000 h 12800"/>
                <a:gd name="T26" fmla="*/ 11200 w 12800"/>
                <a:gd name="T27" fmla="*/ 12000 h 12800"/>
                <a:gd name="T28" fmla="*/ 12000 w 12800"/>
                <a:gd name="T29" fmla="*/ 11280 h 12800"/>
                <a:gd name="T30" fmla="*/ 12000 w 12800"/>
                <a:gd name="T31" fmla="*/ 1600 h 12800"/>
                <a:gd name="T32" fmla="*/ 11200 w 12800"/>
                <a:gd name="T33" fmla="*/ 800 h 12800"/>
                <a:gd name="T34" fmla="*/ 1600 w 12800"/>
                <a:gd name="T35" fmla="*/ 800 h 12800"/>
                <a:gd name="T36" fmla="*/ 6400 w 12800"/>
                <a:gd name="T37" fmla="*/ 10560 h 12800"/>
                <a:gd name="T38" fmla="*/ 2240 w 12800"/>
                <a:gd name="T39" fmla="*/ 6400 h 12800"/>
                <a:gd name="T40" fmla="*/ 6400 w 12800"/>
                <a:gd name="T41" fmla="*/ 2240 h 12800"/>
                <a:gd name="T42" fmla="*/ 10560 w 12800"/>
                <a:gd name="T43" fmla="*/ 6400 h 12800"/>
                <a:gd name="T44" fmla="*/ 6400 w 12800"/>
                <a:gd name="T45" fmla="*/ 10560 h 12800"/>
                <a:gd name="T46" fmla="*/ 6400 w 12800"/>
                <a:gd name="T47" fmla="*/ 3040 h 12800"/>
                <a:gd name="T48" fmla="*/ 3040 w 12800"/>
                <a:gd name="T49" fmla="*/ 6400 h 12800"/>
                <a:gd name="T50" fmla="*/ 6400 w 12800"/>
                <a:gd name="T51" fmla="*/ 9760 h 12800"/>
                <a:gd name="T52" fmla="*/ 9760 w 12800"/>
                <a:gd name="T53" fmla="*/ 6400 h 12800"/>
                <a:gd name="T54" fmla="*/ 6400 w 12800"/>
                <a:gd name="T55" fmla="*/ 3040 h 12800"/>
                <a:gd name="T56" fmla="*/ 8289 w 12800"/>
                <a:gd name="T57" fmla="*/ 8798 h 12800"/>
                <a:gd name="T58" fmla="*/ 4499 w 12800"/>
                <a:gd name="T59" fmla="*/ 4250 h 12800"/>
                <a:gd name="T60" fmla="*/ 5052 w 12800"/>
                <a:gd name="T61" fmla="*/ 3789 h 12800"/>
                <a:gd name="T62" fmla="*/ 8842 w 12800"/>
                <a:gd name="T63" fmla="*/ 8337 h 12800"/>
                <a:gd name="T64" fmla="*/ 8289 w 12800"/>
                <a:gd name="T65" fmla="*/ 879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800">
                  <a:moveTo>
                    <a:pt x="12800" y="11360"/>
                  </a:moveTo>
                  <a:cubicBezTo>
                    <a:pt x="12800" y="12155"/>
                    <a:pt x="12155" y="12800"/>
                    <a:pt x="11360" y="12800"/>
                  </a:cubicBezTo>
                  <a:lnTo>
                    <a:pt x="1440" y="12800"/>
                  </a:lnTo>
                  <a:cubicBezTo>
                    <a:pt x="645" y="12800"/>
                    <a:pt x="0" y="12155"/>
                    <a:pt x="0" y="11360"/>
                  </a:cubicBezTo>
                  <a:lnTo>
                    <a:pt x="0" y="1440"/>
                  </a:lnTo>
                  <a:cubicBezTo>
                    <a:pt x="0" y="645"/>
                    <a:pt x="645" y="0"/>
                    <a:pt x="1440" y="0"/>
                  </a:cubicBezTo>
                  <a:lnTo>
                    <a:pt x="11360" y="0"/>
                  </a:lnTo>
                  <a:cubicBezTo>
                    <a:pt x="12155" y="0"/>
                    <a:pt x="12800" y="645"/>
                    <a:pt x="12800" y="1440"/>
                  </a:cubicBezTo>
                  <a:lnTo>
                    <a:pt x="12800" y="11360"/>
                  </a:lnTo>
                  <a:close/>
                  <a:moveTo>
                    <a:pt x="1600" y="800"/>
                  </a:moveTo>
                  <a:cubicBezTo>
                    <a:pt x="1120" y="800"/>
                    <a:pt x="800" y="1120"/>
                    <a:pt x="800" y="1600"/>
                  </a:cubicBezTo>
                  <a:lnTo>
                    <a:pt x="800" y="11200"/>
                  </a:lnTo>
                  <a:cubicBezTo>
                    <a:pt x="800" y="11680"/>
                    <a:pt x="1120" y="12000"/>
                    <a:pt x="1680" y="12000"/>
                  </a:cubicBezTo>
                  <a:lnTo>
                    <a:pt x="11200" y="12000"/>
                  </a:lnTo>
                  <a:cubicBezTo>
                    <a:pt x="11680" y="12000"/>
                    <a:pt x="12000" y="11760"/>
                    <a:pt x="12000" y="11280"/>
                  </a:cubicBezTo>
                  <a:lnTo>
                    <a:pt x="12000" y="1600"/>
                  </a:lnTo>
                  <a:cubicBezTo>
                    <a:pt x="12000" y="1120"/>
                    <a:pt x="11680" y="800"/>
                    <a:pt x="11200" y="800"/>
                  </a:cubicBezTo>
                  <a:lnTo>
                    <a:pt x="1600" y="800"/>
                  </a:lnTo>
                  <a:close/>
                  <a:moveTo>
                    <a:pt x="6400" y="10560"/>
                  </a:moveTo>
                  <a:cubicBezTo>
                    <a:pt x="4080" y="10560"/>
                    <a:pt x="2240" y="8720"/>
                    <a:pt x="2240" y="6400"/>
                  </a:cubicBezTo>
                  <a:cubicBezTo>
                    <a:pt x="2240" y="4080"/>
                    <a:pt x="4080" y="2240"/>
                    <a:pt x="6400" y="2240"/>
                  </a:cubicBezTo>
                  <a:cubicBezTo>
                    <a:pt x="8720" y="2240"/>
                    <a:pt x="10560" y="4080"/>
                    <a:pt x="10560" y="6400"/>
                  </a:cubicBezTo>
                  <a:cubicBezTo>
                    <a:pt x="10480" y="8720"/>
                    <a:pt x="8640" y="10560"/>
                    <a:pt x="6400" y="10560"/>
                  </a:cubicBezTo>
                  <a:close/>
                  <a:moveTo>
                    <a:pt x="6400" y="3040"/>
                  </a:moveTo>
                  <a:cubicBezTo>
                    <a:pt x="4560" y="3040"/>
                    <a:pt x="3040" y="4560"/>
                    <a:pt x="3040" y="6400"/>
                  </a:cubicBezTo>
                  <a:cubicBezTo>
                    <a:pt x="3040" y="8240"/>
                    <a:pt x="4560" y="9760"/>
                    <a:pt x="6400" y="9760"/>
                  </a:cubicBezTo>
                  <a:cubicBezTo>
                    <a:pt x="8240" y="9760"/>
                    <a:pt x="9760" y="8240"/>
                    <a:pt x="9760" y="6400"/>
                  </a:cubicBezTo>
                  <a:cubicBezTo>
                    <a:pt x="9760" y="4560"/>
                    <a:pt x="8240" y="3040"/>
                    <a:pt x="6400" y="3040"/>
                  </a:cubicBezTo>
                  <a:close/>
                  <a:moveTo>
                    <a:pt x="8289" y="8798"/>
                  </a:moveTo>
                  <a:lnTo>
                    <a:pt x="4499" y="4250"/>
                  </a:lnTo>
                  <a:lnTo>
                    <a:pt x="5052" y="3789"/>
                  </a:lnTo>
                  <a:lnTo>
                    <a:pt x="8842" y="8337"/>
                  </a:lnTo>
                  <a:lnTo>
                    <a:pt x="8289" y="879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7" name="iconfont-11894-5689857"/>
            <p:cNvSpPr>
              <a:spLocks noChangeAspect="1"/>
            </p:cNvSpPr>
            <p:nvPr userDrawn="1"/>
          </p:nvSpPr>
          <p:spPr bwMode="auto">
            <a:xfrm>
              <a:off x="26969631" y="-1285208"/>
              <a:ext cx="609685" cy="605914"/>
            </a:xfrm>
            <a:custGeom>
              <a:avLst/>
              <a:gdLst>
                <a:gd name="T0" fmla="*/ 8000 w 12800"/>
                <a:gd name="T1" fmla="*/ 9520 h 12720"/>
                <a:gd name="T2" fmla="*/ 4800 w 12800"/>
                <a:gd name="T3" fmla="*/ 9520 h 12720"/>
                <a:gd name="T4" fmla="*/ 4800 w 12800"/>
                <a:gd name="T5" fmla="*/ 5520 h 12720"/>
                <a:gd name="T6" fmla="*/ 1873 w 12800"/>
                <a:gd name="T7" fmla="*/ 5520 h 12720"/>
                <a:gd name="T8" fmla="*/ 6433 w 12800"/>
                <a:gd name="T9" fmla="*/ 0 h 12720"/>
                <a:gd name="T10" fmla="*/ 10993 w 12800"/>
                <a:gd name="T11" fmla="*/ 5520 h 12720"/>
                <a:gd name="T12" fmla="*/ 8000 w 12800"/>
                <a:gd name="T13" fmla="*/ 5520 h 12720"/>
                <a:gd name="T14" fmla="*/ 8000 w 12800"/>
                <a:gd name="T15" fmla="*/ 9520 h 12720"/>
                <a:gd name="T16" fmla="*/ 5600 w 12800"/>
                <a:gd name="T17" fmla="*/ 8720 h 12720"/>
                <a:gd name="T18" fmla="*/ 7200 w 12800"/>
                <a:gd name="T19" fmla="*/ 8720 h 12720"/>
                <a:gd name="T20" fmla="*/ 7200 w 12800"/>
                <a:gd name="T21" fmla="*/ 4720 h 12720"/>
                <a:gd name="T22" fmla="*/ 9393 w 12800"/>
                <a:gd name="T23" fmla="*/ 4720 h 12720"/>
                <a:gd name="T24" fmla="*/ 6433 w 12800"/>
                <a:gd name="T25" fmla="*/ 1200 h 12720"/>
                <a:gd name="T26" fmla="*/ 3473 w 12800"/>
                <a:gd name="T27" fmla="*/ 4720 h 12720"/>
                <a:gd name="T28" fmla="*/ 5600 w 12800"/>
                <a:gd name="T29" fmla="*/ 4720 h 12720"/>
                <a:gd name="T30" fmla="*/ 5600 w 12800"/>
                <a:gd name="T31" fmla="*/ 8720 h 12720"/>
                <a:gd name="T32" fmla="*/ 10922 w 12800"/>
                <a:gd name="T33" fmla="*/ 12720 h 12720"/>
                <a:gd name="T34" fmla="*/ 1878 w 12800"/>
                <a:gd name="T35" fmla="*/ 12720 h 12720"/>
                <a:gd name="T36" fmla="*/ 0 w 12800"/>
                <a:gd name="T37" fmla="*/ 10539 h 12720"/>
                <a:gd name="T38" fmla="*/ 0 w 12800"/>
                <a:gd name="T39" fmla="*/ 5210 h 12720"/>
                <a:gd name="T40" fmla="*/ 1600 w 12800"/>
                <a:gd name="T41" fmla="*/ 3271 h 12720"/>
                <a:gd name="T42" fmla="*/ 1600 w 12800"/>
                <a:gd name="T43" fmla="*/ 3998 h 12720"/>
                <a:gd name="T44" fmla="*/ 800 w 12800"/>
                <a:gd name="T45" fmla="*/ 5129 h 12720"/>
                <a:gd name="T46" fmla="*/ 800 w 12800"/>
                <a:gd name="T47" fmla="*/ 10458 h 12720"/>
                <a:gd name="T48" fmla="*/ 1878 w 12800"/>
                <a:gd name="T49" fmla="*/ 11920 h 12720"/>
                <a:gd name="T50" fmla="*/ 10922 w 12800"/>
                <a:gd name="T51" fmla="*/ 11920 h 12720"/>
                <a:gd name="T52" fmla="*/ 12000 w 12800"/>
                <a:gd name="T53" fmla="*/ 10539 h 12720"/>
                <a:gd name="T54" fmla="*/ 12000 w 12800"/>
                <a:gd name="T55" fmla="*/ 5210 h 12720"/>
                <a:gd name="T56" fmla="*/ 11200 w 12800"/>
                <a:gd name="T57" fmla="*/ 4079 h 12720"/>
                <a:gd name="T58" fmla="*/ 11200 w 12800"/>
                <a:gd name="T59" fmla="*/ 3352 h 12720"/>
                <a:gd name="T60" fmla="*/ 12800 w 12800"/>
                <a:gd name="T61" fmla="*/ 5290 h 12720"/>
                <a:gd name="T62" fmla="*/ 12800 w 12800"/>
                <a:gd name="T63" fmla="*/ 10620 h 12720"/>
                <a:gd name="T64" fmla="*/ 10922 w 12800"/>
                <a:gd name="T65" fmla="*/ 1272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720">
                  <a:moveTo>
                    <a:pt x="8000" y="9520"/>
                  </a:moveTo>
                  <a:lnTo>
                    <a:pt x="4800" y="9520"/>
                  </a:lnTo>
                  <a:lnTo>
                    <a:pt x="4800" y="5520"/>
                  </a:lnTo>
                  <a:lnTo>
                    <a:pt x="1873" y="5520"/>
                  </a:lnTo>
                  <a:lnTo>
                    <a:pt x="6433" y="0"/>
                  </a:lnTo>
                  <a:lnTo>
                    <a:pt x="10993" y="5520"/>
                  </a:lnTo>
                  <a:lnTo>
                    <a:pt x="8000" y="5520"/>
                  </a:lnTo>
                  <a:lnTo>
                    <a:pt x="8000" y="9520"/>
                  </a:lnTo>
                  <a:close/>
                  <a:moveTo>
                    <a:pt x="5600" y="8720"/>
                  </a:moveTo>
                  <a:lnTo>
                    <a:pt x="7200" y="8720"/>
                  </a:lnTo>
                  <a:lnTo>
                    <a:pt x="7200" y="4720"/>
                  </a:lnTo>
                  <a:lnTo>
                    <a:pt x="9393" y="4720"/>
                  </a:lnTo>
                  <a:lnTo>
                    <a:pt x="6433" y="1200"/>
                  </a:lnTo>
                  <a:lnTo>
                    <a:pt x="3473" y="4720"/>
                  </a:lnTo>
                  <a:lnTo>
                    <a:pt x="5600" y="4720"/>
                  </a:lnTo>
                  <a:lnTo>
                    <a:pt x="5600" y="8720"/>
                  </a:lnTo>
                  <a:close/>
                  <a:moveTo>
                    <a:pt x="10922" y="12720"/>
                  </a:moveTo>
                  <a:lnTo>
                    <a:pt x="1878" y="12720"/>
                  </a:lnTo>
                  <a:cubicBezTo>
                    <a:pt x="828" y="12720"/>
                    <a:pt x="0" y="11590"/>
                    <a:pt x="0" y="10539"/>
                  </a:cubicBezTo>
                  <a:lnTo>
                    <a:pt x="0" y="5210"/>
                  </a:lnTo>
                  <a:cubicBezTo>
                    <a:pt x="0" y="4160"/>
                    <a:pt x="800" y="3271"/>
                    <a:pt x="1600" y="3271"/>
                  </a:cubicBezTo>
                  <a:lnTo>
                    <a:pt x="1600" y="3998"/>
                  </a:lnTo>
                  <a:cubicBezTo>
                    <a:pt x="1600" y="3998"/>
                    <a:pt x="800" y="4483"/>
                    <a:pt x="800" y="5129"/>
                  </a:cubicBezTo>
                  <a:lnTo>
                    <a:pt x="800" y="10458"/>
                  </a:lnTo>
                  <a:cubicBezTo>
                    <a:pt x="800" y="11105"/>
                    <a:pt x="1231" y="11920"/>
                    <a:pt x="1878" y="11920"/>
                  </a:cubicBezTo>
                  <a:lnTo>
                    <a:pt x="10922" y="11920"/>
                  </a:lnTo>
                  <a:cubicBezTo>
                    <a:pt x="11569" y="11920"/>
                    <a:pt x="12000" y="11186"/>
                    <a:pt x="12000" y="10539"/>
                  </a:cubicBezTo>
                  <a:lnTo>
                    <a:pt x="12000" y="5210"/>
                  </a:lnTo>
                  <a:cubicBezTo>
                    <a:pt x="12000" y="4563"/>
                    <a:pt x="11200" y="4079"/>
                    <a:pt x="11200" y="4079"/>
                  </a:cubicBezTo>
                  <a:lnTo>
                    <a:pt x="11200" y="3352"/>
                  </a:lnTo>
                  <a:cubicBezTo>
                    <a:pt x="12000" y="3352"/>
                    <a:pt x="12800" y="4240"/>
                    <a:pt x="12800" y="5290"/>
                  </a:cubicBezTo>
                  <a:lnTo>
                    <a:pt x="12800" y="10620"/>
                  </a:lnTo>
                  <a:cubicBezTo>
                    <a:pt x="12800" y="11590"/>
                    <a:pt x="11972" y="12720"/>
                    <a:pt x="10922" y="1272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6" name="iconfont-11894-5689857"/>
            <p:cNvSpPr>
              <a:spLocks noChangeAspect="1"/>
            </p:cNvSpPr>
            <p:nvPr userDrawn="1"/>
          </p:nvSpPr>
          <p:spPr bwMode="auto">
            <a:xfrm>
              <a:off x="28254992" y="-1287093"/>
              <a:ext cx="477702" cy="609685"/>
            </a:xfrm>
            <a:custGeom>
              <a:avLst/>
              <a:gdLst>
                <a:gd name="T0" fmla="*/ 7249 w 8777"/>
                <a:gd name="T1" fmla="*/ 11201 h 11201"/>
                <a:gd name="T2" fmla="*/ 1528 w 8777"/>
                <a:gd name="T3" fmla="*/ 11201 h 11201"/>
                <a:gd name="T4" fmla="*/ 0 w 8777"/>
                <a:gd name="T5" fmla="*/ 9713 h 11201"/>
                <a:gd name="T6" fmla="*/ 0 w 8777"/>
                <a:gd name="T7" fmla="*/ 2231 h 11201"/>
                <a:gd name="T8" fmla="*/ 1528 w 8777"/>
                <a:gd name="T9" fmla="*/ 744 h 11201"/>
                <a:gd name="T10" fmla="*/ 1528 w 8777"/>
                <a:gd name="T11" fmla="*/ 0 h 11201"/>
                <a:gd name="T12" fmla="*/ 2291 w 8777"/>
                <a:gd name="T13" fmla="*/ 0 h 11201"/>
                <a:gd name="T14" fmla="*/ 2291 w 8777"/>
                <a:gd name="T15" fmla="*/ 744 h 11201"/>
                <a:gd name="T16" fmla="*/ 3832 w 8777"/>
                <a:gd name="T17" fmla="*/ 744 h 11201"/>
                <a:gd name="T18" fmla="*/ 3832 w 8777"/>
                <a:gd name="T19" fmla="*/ 0 h 11201"/>
                <a:gd name="T20" fmla="*/ 4595 w 8777"/>
                <a:gd name="T21" fmla="*/ 0 h 11201"/>
                <a:gd name="T22" fmla="*/ 4595 w 8777"/>
                <a:gd name="T23" fmla="*/ 744 h 11201"/>
                <a:gd name="T24" fmla="*/ 6485 w 8777"/>
                <a:gd name="T25" fmla="*/ 744 h 11201"/>
                <a:gd name="T26" fmla="*/ 6485 w 8777"/>
                <a:gd name="T27" fmla="*/ 0 h 11201"/>
                <a:gd name="T28" fmla="*/ 7249 w 8777"/>
                <a:gd name="T29" fmla="*/ 0 h 11201"/>
                <a:gd name="T30" fmla="*/ 7249 w 8777"/>
                <a:gd name="T31" fmla="*/ 744 h 11201"/>
                <a:gd name="T32" fmla="*/ 8777 w 8777"/>
                <a:gd name="T33" fmla="*/ 2231 h 11201"/>
                <a:gd name="T34" fmla="*/ 8777 w 8777"/>
                <a:gd name="T35" fmla="*/ 9713 h 11201"/>
                <a:gd name="T36" fmla="*/ 7249 w 8777"/>
                <a:gd name="T37" fmla="*/ 11201 h 11201"/>
                <a:gd name="T38" fmla="*/ 8013 w 8777"/>
                <a:gd name="T39" fmla="*/ 2231 h 11201"/>
                <a:gd name="T40" fmla="*/ 7249 w 8777"/>
                <a:gd name="T41" fmla="*/ 1488 h 11201"/>
                <a:gd name="T42" fmla="*/ 1528 w 8777"/>
                <a:gd name="T43" fmla="*/ 1488 h 11201"/>
                <a:gd name="T44" fmla="*/ 764 w 8777"/>
                <a:gd name="T45" fmla="*/ 2231 h 11201"/>
                <a:gd name="T46" fmla="*/ 764 w 8777"/>
                <a:gd name="T47" fmla="*/ 9713 h 11201"/>
                <a:gd name="T48" fmla="*/ 1528 w 8777"/>
                <a:gd name="T49" fmla="*/ 10457 h 11201"/>
                <a:gd name="T50" fmla="*/ 7249 w 8777"/>
                <a:gd name="T51" fmla="*/ 10457 h 11201"/>
                <a:gd name="T52" fmla="*/ 8013 w 8777"/>
                <a:gd name="T53" fmla="*/ 9713 h 11201"/>
                <a:gd name="T54" fmla="*/ 8013 w 8777"/>
                <a:gd name="T55" fmla="*/ 2231 h 11201"/>
                <a:gd name="T56" fmla="*/ 6867 w 8777"/>
                <a:gd name="T57" fmla="*/ 8926 h 11201"/>
                <a:gd name="T58" fmla="*/ 1910 w 8777"/>
                <a:gd name="T59" fmla="*/ 8926 h 11201"/>
                <a:gd name="T60" fmla="*/ 1528 w 8777"/>
                <a:gd name="T61" fmla="*/ 8554 h 11201"/>
                <a:gd name="T62" fmla="*/ 1910 w 8777"/>
                <a:gd name="T63" fmla="*/ 8182 h 11201"/>
                <a:gd name="T64" fmla="*/ 6867 w 8777"/>
                <a:gd name="T65" fmla="*/ 8182 h 11201"/>
                <a:gd name="T66" fmla="*/ 7249 w 8777"/>
                <a:gd name="T67" fmla="*/ 8554 h 11201"/>
                <a:gd name="T68" fmla="*/ 6867 w 8777"/>
                <a:gd name="T69" fmla="*/ 8926 h 11201"/>
                <a:gd name="T70" fmla="*/ 6867 w 8777"/>
                <a:gd name="T71" fmla="*/ 6694 h 11201"/>
                <a:gd name="T72" fmla="*/ 1910 w 8777"/>
                <a:gd name="T73" fmla="*/ 6694 h 11201"/>
                <a:gd name="T74" fmla="*/ 1528 w 8777"/>
                <a:gd name="T75" fmla="*/ 6322 h 11201"/>
                <a:gd name="T76" fmla="*/ 1910 w 8777"/>
                <a:gd name="T77" fmla="*/ 5950 h 11201"/>
                <a:gd name="T78" fmla="*/ 6867 w 8777"/>
                <a:gd name="T79" fmla="*/ 5950 h 11201"/>
                <a:gd name="T80" fmla="*/ 7249 w 8777"/>
                <a:gd name="T81" fmla="*/ 6322 h 11201"/>
                <a:gd name="T82" fmla="*/ 6867 w 8777"/>
                <a:gd name="T83" fmla="*/ 6694 h 11201"/>
                <a:gd name="T84" fmla="*/ 6867 w 8777"/>
                <a:gd name="T85" fmla="*/ 4463 h 11201"/>
                <a:gd name="T86" fmla="*/ 1910 w 8777"/>
                <a:gd name="T87" fmla="*/ 4463 h 11201"/>
                <a:gd name="T88" fmla="*/ 1528 w 8777"/>
                <a:gd name="T89" fmla="*/ 4091 h 11201"/>
                <a:gd name="T90" fmla="*/ 1910 w 8777"/>
                <a:gd name="T91" fmla="*/ 3719 h 11201"/>
                <a:gd name="T92" fmla="*/ 6867 w 8777"/>
                <a:gd name="T93" fmla="*/ 3719 h 11201"/>
                <a:gd name="T94" fmla="*/ 7249 w 8777"/>
                <a:gd name="T95" fmla="*/ 4091 h 11201"/>
                <a:gd name="T96" fmla="*/ 6867 w 8777"/>
                <a:gd name="T97" fmla="*/ 4463 h 1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777" h="11201">
                  <a:moveTo>
                    <a:pt x="7249" y="11201"/>
                  </a:moveTo>
                  <a:lnTo>
                    <a:pt x="1528" y="11201"/>
                  </a:lnTo>
                  <a:cubicBezTo>
                    <a:pt x="684" y="11201"/>
                    <a:pt x="0" y="10535"/>
                    <a:pt x="0" y="9713"/>
                  </a:cubicBezTo>
                  <a:lnTo>
                    <a:pt x="0" y="2231"/>
                  </a:lnTo>
                  <a:cubicBezTo>
                    <a:pt x="0" y="1410"/>
                    <a:pt x="684" y="744"/>
                    <a:pt x="1528" y="744"/>
                  </a:cubicBezTo>
                  <a:lnTo>
                    <a:pt x="1528" y="0"/>
                  </a:lnTo>
                  <a:lnTo>
                    <a:pt x="2291" y="0"/>
                  </a:lnTo>
                  <a:lnTo>
                    <a:pt x="2291" y="744"/>
                  </a:lnTo>
                  <a:lnTo>
                    <a:pt x="3832" y="744"/>
                  </a:lnTo>
                  <a:lnTo>
                    <a:pt x="3832" y="0"/>
                  </a:lnTo>
                  <a:lnTo>
                    <a:pt x="4595" y="0"/>
                  </a:lnTo>
                  <a:lnTo>
                    <a:pt x="4595" y="744"/>
                  </a:lnTo>
                  <a:lnTo>
                    <a:pt x="6485" y="744"/>
                  </a:lnTo>
                  <a:lnTo>
                    <a:pt x="6485" y="0"/>
                  </a:lnTo>
                  <a:lnTo>
                    <a:pt x="7249" y="0"/>
                  </a:lnTo>
                  <a:lnTo>
                    <a:pt x="7249" y="744"/>
                  </a:lnTo>
                  <a:cubicBezTo>
                    <a:pt x="8093" y="744"/>
                    <a:pt x="8777" y="1410"/>
                    <a:pt x="8777" y="2231"/>
                  </a:cubicBezTo>
                  <a:lnTo>
                    <a:pt x="8777" y="9713"/>
                  </a:lnTo>
                  <a:cubicBezTo>
                    <a:pt x="8777" y="10535"/>
                    <a:pt x="8093" y="11201"/>
                    <a:pt x="7249" y="11201"/>
                  </a:cubicBezTo>
                  <a:close/>
                  <a:moveTo>
                    <a:pt x="8013" y="2231"/>
                  </a:moveTo>
                  <a:cubicBezTo>
                    <a:pt x="8013" y="1821"/>
                    <a:pt x="7671" y="1488"/>
                    <a:pt x="7249" y="1488"/>
                  </a:cubicBezTo>
                  <a:lnTo>
                    <a:pt x="1528" y="1488"/>
                  </a:lnTo>
                  <a:cubicBezTo>
                    <a:pt x="1106" y="1488"/>
                    <a:pt x="764" y="1821"/>
                    <a:pt x="764" y="2231"/>
                  </a:cubicBezTo>
                  <a:lnTo>
                    <a:pt x="764" y="9713"/>
                  </a:lnTo>
                  <a:cubicBezTo>
                    <a:pt x="764" y="10124"/>
                    <a:pt x="1106" y="10457"/>
                    <a:pt x="1528" y="10457"/>
                  </a:cubicBezTo>
                  <a:lnTo>
                    <a:pt x="7249" y="10457"/>
                  </a:lnTo>
                  <a:cubicBezTo>
                    <a:pt x="7671" y="10457"/>
                    <a:pt x="8013" y="10124"/>
                    <a:pt x="8013" y="9713"/>
                  </a:cubicBezTo>
                  <a:lnTo>
                    <a:pt x="8013" y="2231"/>
                  </a:lnTo>
                  <a:close/>
                  <a:moveTo>
                    <a:pt x="6867" y="8926"/>
                  </a:moveTo>
                  <a:lnTo>
                    <a:pt x="1910" y="8926"/>
                  </a:lnTo>
                  <a:cubicBezTo>
                    <a:pt x="1699" y="8926"/>
                    <a:pt x="1528" y="8759"/>
                    <a:pt x="1528" y="8554"/>
                  </a:cubicBezTo>
                  <a:cubicBezTo>
                    <a:pt x="1528" y="8348"/>
                    <a:pt x="1699" y="8182"/>
                    <a:pt x="1910" y="8182"/>
                  </a:cubicBezTo>
                  <a:lnTo>
                    <a:pt x="6867" y="8182"/>
                  </a:lnTo>
                  <a:cubicBezTo>
                    <a:pt x="7078" y="8182"/>
                    <a:pt x="7249" y="8348"/>
                    <a:pt x="7249" y="8554"/>
                  </a:cubicBezTo>
                  <a:cubicBezTo>
                    <a:pt x="7249" y="8759"/>
                    <a:pt x="7078" y="8926"/>
                    <a:pt x="6867" y="8926"/>
                  </a:cubicBezTo>
                  <a:close/>
                  <a:moveTo>
                    <a:pt x="6867" y="6694"/>
                  </a:moveTo>
                  <a:lnTo>
                    <a:pt x="1910" y="6694"/>
                  </a:lnTo>
                  <a:cubicBezTo>
                    <a:pt x="1699" y="6694"/>
                    <a:pt x="1528" y="6528"/>
                    <a:pt x="1528" y="6322"/>
                  </a:cubicBezTo>
                  <a:cubicBezTo>
                    <a:pt x="1528" y="6117"/>
                    <a:pt x="1699" y="5950"/>
                    <a:pt x="1910" y="5950"/>
                  </a:cubicBezTo>
                  <a:lnTo>
                    <a:pt x="6867" y="5950"/>
                  </a:lnTo>
                  <a:cubicBezTo>
                    <a:pt x="7078" y="5950"/>
                    <a:pt x="7249" y="6117"/>
                    <a:pt x="7249" y="6322"/>
                  </a:cubicBezTo>
                  <a:cubicBezTo>
                    <a:pt x="7249" y="6528"/>
                    <a:pt x="7078" y="6694"/>
                    <a:pt x="6867" y="6694"/>
                  </a:cubicBezTo>
                  <a:close/>
                  <a:moveTo>
                    <a:pt x="6867" y="4463"/>
                  </a:moveTo>
                  <a:lnTo>
                    <a:pt x="1910" y="4463"/>
                  </a:lnTo>
                  <a:cubicBezTo>
                    <a:pt x="1699" y="4463"/>
                    <a:pt x="1528" y="4296"/>
                    <a:pt x="1528" y="4091"/>
                  </a:cubicBezTo>
                  <a:cubicBezTo>
                    <a:pt x="1528" y="3885"/>
                    <a:pt x="1699" y="3719"/>
                    <a:pt x="1910" y="3719"/>
                  </a:cubicBezTo>
                  <a:lnTo>
                    <a:pt x="6867" y="3719"/>
                  </a:lnTo>
                  <a:cubicBezTo>
                    <a:pt x="7078" y="3719"/>
                    <a:pt x="7249" y="3886"/>
                    <a:pt x="7249" y="4091"/>
                  </a:cubicBezTo>
                  <a:cubicBezTo>
                    <a:pt x="7249" y="4296"/>
                    <a:pt x="7078" y="4463"/>
                    <a:pt x="6867" y="4463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32" name="iconfont-11894-5689857"/>
            <p:cNvSpPr>
              <a:spLocks noChangeAspect="1"/>
            </p:cNvSpPr>
            <p:nvPr userDrawn="1"/>
          </p:nvSpPr>
          <p:spPr bwMode="auto">
            <a:xfrm>
              <a:off x="13556559" y="18332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333" name="iconfont-11894-5689857"/>
            <p:cNvSpPr>
              <a:spLocks noChangeAspect="1"/>
            </p:cNvSpPr>
            <p:nvPr userDrawn="1"/>
          </p:nvSpPr>
          <p:spPr bwMode="auto">
            <a:xfrm>
              <a:off x="14775929" y="218993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2" name="iconfont-11894-5689857"/>
            <p:cNvSpPr>
              <a:spLocks noChangeAspect="1"/>
            </p:cNvSpPr>
            <p:nvPr userDrawn="1"/>
          </p:nvSpPr>
          <p:spPr bwMode="auto">
            <a:xfrm>
              <a:off x="16021966" y="183324"/>
              <a:ext cx="556352" cy="609685"/>
            </a:xfrm>
            <a:custGeom>
              <a:avLst/>
              <a:gdLst>
                <a:gd name="T0" fmla="*/ 5364 w 10171"/>
                <a:gd name="T1" fmla="*/ 9821 h 11145"/>
                <a:gd name="T2" fmla="*/ 4876 w 10171"/>
                <a:gd name="T3" fmla="*/ 9821 h 11145"/>
                <a:gd name="T4" fmla="*/ 4528 w 10171"/>
                <a:gd name="T5" fmla="*/ 9890 h 11145"/>
                <a:gd name="T6" fmla="*/ 2020 w 10171"/>
                <a:gd name="T7" fmla="*/ 10100 h 11145"/>
                <a:gd name="T8" fmla="*/ 2090 w 10171"/>
                <a:gd name="T9" fmla="*/ 9124 h 11145"/>
                <a:gd name="T10" fmla="*/ 2299 w 10171"/>
                <a:gd name="T11" fmla="*/ 8497 h 11145"/>
                <a:gd name="T12" fmla="*/ 1602 w 10171"/>
                <a:gd name="T13" fmla="*/ 7801 h 11145"/>
                <a:gd name="T14" fmla="*/ 1254 w 10171"/>
                <a:gd name="T15" fmla="*/ 7941 h 11145"/>
                <a:gd name="T16" fmla="*/ 975 w 10171"/>
                <a:gd name="T17" fmla="*/ 8149 h 11145"/>
                <a:gd name="T18" fmla="*/ 975 w 10171"/>
                <a:gd name="T19" fmla="*/ 6408 h 11145"/>
                <a:gd name="T20" fmla="*/ 1811 w 10171"/>
                <a:gd name="T21" fmla="*/ 4945 h 11145"/>
                <a:gd name="T22" fmla="*/ 2020 w 10171"/>
                <a:gd name="T23" fmla="*/ 4180 h 11145"/>
                <a:gd name="T24" fmla="*/ 2089 w 10171"/>
                <a:gd name="T25" fmla="*/ 3901 h 11145"/>
                <a:gd name="T26" fmla="*/ 5085 w 10171"/>
                <a:gd name="T27" fmla="*/ 836 h 11145"/>
                <a:gd name="T28" fmla="*/ 8151 w 10171"/>
                <a:gd name="T29" fmla="*/ 3900 h 11145"/>
                <a:gd name="T30" fmla="*/ 8220 w 10171"/>
                <a:gd name="T31" fmla="*/ 4179 h 11145"/>
                <a:gd name="T32" fmla="*/ 8429 w 10171"/>
                <a:gd name="T33" fmla="*/ 4945 h 11145"/>
                <a:gd name="T34" fmla="*/ 9265 w 10171"/>
                <a:gd name="T35" fmla="*/ 6407 h 11145"/>
                <a:gd name="T36" fmla="*/ 9195 w 10171"/>
                <a:gd name="T37" fmla="*/ 8148 h 11145"/>
                <a:gd name="T38" fmla="*/ 8568 w 10171"/>
                <a:gd name="T39" fmla="*/ 7800 h 11145"/>
                <a:gd name="T40" fmla="*/ 8151 w 10171"/>
                <a:gd name="T41" fmla="*/ 8009 h 11145"/>
                <a:gd name="T42" fmla="*/ 7733 w 10171"/>
                <a:gd name="T43" fmla="*/ 8845 h 11145"/>
                <a:gd name="T44" fmla="*/ 8429 w 10171"/>
                <a:gd name="T45" fmla="*/ 9613 h 11145"/>
                <a:gd name="T46" fmla="*/ 6896 w 10171"/>
                <a:gd name="T47" fmla="*/ 10309 h 11145"/>
                <a:gd name="T48" fmla="*/ 5364 w 10171"/>
                <a:gd name="T49" fmla="*/ 9821 h 11145"/>
                <a:gd name="T50" fmla="*/ 6966 w 10171"/>
                <a:gd name="T51" fmla="*/ 11145 h 11145"/>
                <a:gd name="T52" fmla="*/ 9334 w 10171"/>
                <a:gd name="T53" fmla="*/ 9613 h 11145"/>
                <a:gd name="T54" fmla="*/ 9404 w 10171"/>
                <a:gd name="T55" fmla="*/ 8846 h 11145"/>
                <a:gd name="T56" fmla="*/ 9893 w 10171"/>
                <a:gd name="T57" fmla="*/ 6130 h 11145"/>
                <a:gd name="T58" fmla="*/ 9126 w 10171"/>
                <a:gd name="T59" fmla="*/ 4807 h 11145"/>
                <a:gd name="T60" fmla="*/ 7803 w 10171"/>
                <a:gd name="T61" fmla="*/ 1114 h 11145"/>
                <a:gd name="T62" fmla="*/ 2369 w 10171"/>
                <a:gd name="T63" fmla="*/ 1114 h 11145"/>
                <a:gd name="T64" fmla="*/ 1045 w 10171"/>
                <a:gd name="T65" fmla="*/ 4806 h 11145"/>
                <a:gd name="T66" fmla="*/ 279 w 10171"/>
                <a:gd name="T67" fmla="*/ 6130 h 11145"/>
                <a:gd name="T68" fmla="*/ 766 w 10171"/>
                <a:gd name="T69" fmla="*/ 8846 h 11145"/>
                <a:gd name="T70" fmla="*/ 836 w 10171"/>
                <a:gd name="T71" fmla="*/ 9613 h 11145"/>
                <a:gd name="T72" fmla="*/ 3135 w 10171"/>
                <a:gd name="T73" fmla="*/ 11145 h 11145"/>
                <a:gd name="T74" fmla="*/ 5225 w 10171"/>
                <a:gd name="T75" fmla="*/ 10657 h 11145"/>
                <a:gd name="T76" fmla="*/ 6966 w 10171"/>
                <a:gd name="T77" fmla="*/ 11145 h 1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171" h="11145">
                  <a:moveTo>
                    <a:pt x="5364" y="9821"/>
                  </a:moveTo>
                  <a:lnTo>
                    <a:pt x="5364" y="9821"/>
                  </a:lnTo>
                  <a:lnTo>
                    <a:pt x="5085" y="9821"/>
                  </a:lnTo>
                  <a:lnTo>
                    <a:pt x="4876" y="9821"/>
                  </a:lnTo>
                  <a:lnTo>
                    <a:pt x="4807" y="9821"/>
                  </a:lnTo>
                  <a:cubicBezTo>
                    <a:pt x="4737" y="9821"/>
                    <a:pt x="4598" y="9821"/>
                    <a:pt x="4528" y="9890"/>
                  </a:cubicBezTo>
                  <a:cubicBezTo>
                    <a:pt x="4249" y="10169"/>
                    <a:pt x="3762" y="10309"/>
                    <a:pt x="3135" y="10309"/>
                  </a:cubicBezTo>
                  <a:cubicBezTo>
                    <a:pt x="2717" y="10309"/>
                    <a:pt x="2369" y="10239"/>
                    <a:pt x="2020" y="10100"/>
                  </a:cubicBezTo>
                  <a:cubicBezTo>
                    <a:pt x="1742" y="9960"/>
                    <a:pt x="1602" y="9821"/>
                    <a:pt x="1602" y="9612"/>
                  </a:cubicBezTo>
                  <a:cubicBezTo>
                    <a:pt x="1602" y="9403"/>
                    <a:pt x="1742" y="9264"/>
                    <a:pt x="2090" y="9124"/>
                  </a:cubicBezTo>
                  <a:cubicBezTo>
                    <a:pt x="2299" y="9055"/>
                    <a:pt x="2369" y="8985"/>
                    <a:pt x="2369" y="8845"/>
                  </a:cubicBezTo>
                  <a:cubicBezTo>
                    <a:pt x="2369" y="8706"/>
                    <a:pt x="2369" y="8567"/>
                    <a:pt x="2299" y="8497"/>
                  </a:cubicBezTo>
                  <a:cubicBezTo>
                    <a:pt x="2160" y="8359"/>
                    <a:pt x="2090" y="8149"/>
                    <a:pt x="1951" y="8010"/>
                  </a:cubicBezTo>
                  <a:cubicBezTo>
                    <a:pt x="1881" y="7871"/>
                    <a:pt x="1742" y="7801"/>
                    <a:pt x="1602" y="7801"/>
                  </a:cubicBezTo>
                  <a:lnTo>
                    <a:pt x="1602" y="7801"/>
                  </a:lnTo>
                  <a:cubicBezTo>
                    <a:pt x="1463" y="7801"/>
                    <a:pt x="1393" y="7871"/>
                    <a:pt x="1254" y="7941"/>
                  </a:cubicBezTo>
                  <a:cubicBezTo>
                    <a:pt x="1115" y="8080"/>
                    <a:pt x="1045" y="8149"/>
                    <a:pt x="975" y="8149"/>
                  </a:cubicBezTo>
                  <a:lnTo>
                    <a:pt x="975" y="8149"/>
                  </a:lnTo>
                  <a:cubicBezTo>
                    <a:pt x="906" y="8149"/>
                    <a:pt x="837" y="7941"/>
                    <a:pt x="837" y="7593"/>
                  </a:cubicBezTo>
                  <a:cubicBezTo>
                    <a:pt x="837" y="7245"/>
                    <a:pt x="906" y="6826"/>
                    <a:pt x="975" y="6408"/>
                  </a:cubicBezTo>
                  <a:cubicBezTo>
                    <a:pt x="1114" y="5990"/>
                    <a:pt x="1323" y="5642"/>
                    <a:pt x="1671" y="5294"/>
                  </a:cubicBezTo>
                  <a:cubicBezTo>
                    <a:pt x="1741" y="5225"/>
                    <a:pt x="1811" y="5085"/>
                    <a:pt x="1811" y="4945"/>
                  </a:cubicBezTo>
                  <a:lnTo>
                    <a:pt x="1811" y="4807"/>
                  </a:lnTo>
                  <a:cubicBezTo>
                    <a:pt x="1811" y="4597"/>
                    <a:pt x="1880" y="4389"/>
                    <a:pt x="2020" y="4180"/>
                  </a:cubicBezTo>
                  <a:cubicBezTo>
                    <a:pt x="2089" y="4110"/>
                    <a:pt x="2089" y="4040"/>
                    <a:pt x="2089" y="3971"/>
                  </a:cubicBezTo>
                  <a:lnTo>
                    <a:pt x="2089" y="3901"/>
                  </a:lnTo>
                  <a:cubicBezTo>
                    <a:pt x="2090" y="3065"/>
                    <a:pt x="2368" y="2368"/>
                    <a:pt x="2995" y="1741"/>
                  </a:cubicBezTo>
                  <a:cubicBezTo>
                    <a:pt x="3553" y="1114"/>
                    <a:pt x="4249" y="836"/>
                    <a:pt x="5085" y="836"/>
                  </a:cubicBezTo>
                  <a:cubicBezTo>
                    <a:pt x="5921" y="836"/>
                    <a:pt x="6618" y="1114"/>
                    <a:pt x="7245" y="1741"/>
                  </a:cubicBezTo>
                  <a:cubicBezTo>
                    <a:pt x="7802" y="2368"/>
                    <a:pt x="8151" y="3065"/>
                    <a:pt x="8151" y="3900"/>
                  </a:cubicBezTo>
                  <a:lnTo>
                    <a:pt x="8151" y="3970"/>
                  </a:lnTo>
                  <a:cubicBezTo>
                    <a:pt x="8151" y="4039"/>
                    <a:pt x="8151" y="4109"/>
                    <a:pt x="8220" y="4179"/>
                  </a:cubicBezTo>
                  <a:cubicBezTo>
                    <a:pt x="8359" y="4388"/>
                    <a:pt x="8429" y="4596"/>
                    <a:pt x="8429" y="4806"/>
                  </a:cubicBezTo>
                  <a:lnTo>
                    <a:pt x="8429" y="4945"/>
                  </a:lnTo>
                  <a:cubicBezTo>
                    <a:pt x="8429" y="5084"/>
                    <a:pt x="8429" y="5224"/>
                    <a:pt x="8568" y="5293"/>
                  </a:cubicBezTo>
                  <a:cubicBezTo>
                    <a:pt x="8916" y="5641"/>
                    <a:pt x="9125" y="5989"/>
                    <a:pt x="9265" y="6407"/>
                  </a:cubicBezTo>
                  <a:cubicBezTo>
                    <a:pt x="9404" y="6825"/>
                    <a:pt x="9474" y="7244"/>
                    <a:pt x="9404" y="7592"/>
                  </a:cubicBezTo>
                  <a:cubicBezTo>
                    <a:pt x="9404" y="7940"/>
                    <a:pt x="9334" y="8079"/>
                    <a:pt x="9195" y="8148"/>
                  </a:cubicBezTo>
                  <a:cubicBezTo>
                    <a:pt x="9126" y="8148"/>
                    <a:pt x="9056" y="8079"/>
                    <a:pt x="8916" y="7940"/>
                  </a:cubicBezTo>
                  <a:cubicBezTo>
                    <a:pt x="8847" y="7871"/>
                    <a:pt x="8707" y="7800"/>
                    <a:pt x="8568" y="7800"/>
                  </a:cubicBezTo>
                  <a:lnTo>
                    <a:pt x="8499" y="7800"/>
                  </a:lnTo>
                  <a:cubicBezTo>
                    <a:pt x="8359" y="7800"/>
                    <a:pt x="8220" y="7870"/>
                    <a:pt x="8151" y="8009"/>
                  </a:cubicBezTo>
                  <a:cubicBezTo>
                    <a:pt x="8081" y="8218"/>
                    <a:pt x="7941" y="8358"/>
                    <a:pt x="7802" y="8497"/>
                  </a:cubicBezTo>
                  <a:cubicBezTo>
                    <a:pt x="7733" y="8567"/>
                    <a:pt x="7663" y="8706"/>
                    <a:pt x="7733" y="8845"/>
                  </a:cubicBezTo>
                  <a:cubicBezTo>
                    <a:pt x="7733" y="8985"/>
                    <a:pt x="7872" y="9054"/>
                    <a:pt x="7941" y="9124"/>
                  </a:cubicBezTo>
                  <a:cubicBezTo>
                    <a:pt x="8289" y="9264"/>
                    <a:pt x="8429" y="9404"/>
                    <a:pt x="8429" y="9613"/>
                  </a:cubicBezTo>
                  <a:cubicBezTo>
                    <a:pt x="8429" y="9821"/>
                    <a:pt x="8289" y="9961"/>
                    <a:pt x="8011" y="10100"/>
                  </a:cubicBezTo>
                  <a:cubicBezTo>
                    <a:pt x="7732" y="10239"/>
                    <a:pt x="7314" y="10309"/>
                    <a:pt x="6896" y="10309"/>
                  </a:cubicBezTo>
                  <a:cubicBezTo>
                    <a:pt x="6269" y="10309"/>
                    <a:pt x="5851" y="10169"/>
                    <a:pt x="5503" y="9891"/>
                  </a:cubicBezTo>
                  <a:cubicBezTo>
                    <a:pt x="5573" y="9891"/>
                    <a:pt x="5433" y="9821"/>
                    <a:pt x="5364" y="9821"/>
                  </a:cubicBezTo>
                  <a:lnTo>
                    <a:pt x="5364" y="9821"/>
                  </a:lnTo>
                  <a:close/>
                  <a:moveTo>
                    <a:pt x="6966" y="11145"/>
                  </a:moveTo>
                  <a:cubicBezTo>
                    <a:pt x="7663" y="11145"/>
                    <a:pt x="8220" y="11006"/>
                    <a:pt x="8638" y="10728"/>
                  </a:cubicBezTo>
                  <a:cubicBezTo>
                    <a:pt x="9056" y="10448"/>
                    <a:pt x="9334" y="10100"/>
                    <a:pt x="9334" y="9613"/>
                  </a:cubicBezTo>
                  <a:cubicBezTo>
                    <a:pt x="9334" y="9334"/>
                    <a:pt x="9265" y="9125"/>
                    <a:pt x="9126" y="8916"/>
                  </a:cubicBezTo>
                  <a:cubicBezTo>
                    <a:pt x="9196" y="8916"/>
                    <a:pt x="9334" y="8916"/>
                    <a:pt x="9404" y="8846"/>
                  </a:cubicBezTo>
                  <a:cubicBezTo>
                    <a:pt x="9822" y="8708"/>
                    <a:pt x="10031" y="8359"/>
                    <a:pt x="10101" y="7801"/>
                  </a:cubicBezTo>
                  <a:cubicBezTo>
                    <a:pt x="10171" y="7314"/>
                    <a:pt x="10101" y="6757"/>
                    <a:pt x="9893" y="6130"/>
                  </a:cubicBezTo>
                  <a:cubicBezTo>
                    <a:pt x="9753" y="5642"/>
                    <a:pt x="9475" y="5225"/>
                    <a:pt x="9126" y="4807"/>
                  </a:cubicBezTo>
                  <a:lnTo>
                    <a:pt x="9126" y="4807"/>
                  </a:lnTo>
                  <a:cubicBezTo>
                    <a:pt x="9126" y="4458"/>
                    <a:pt x="9057" y="4180"/>
                    <a:pt x="8917" y="3831"/>
                  </a:cubicBezTo>
                  <a:cubicBezTo>
                    <a:pt x="8917" y="2787"/>
                    <a:pt x="8569" y="1881"/>
                    <a:pt x="7803" y="1114"/>
                  </a:cubicBezTo>
                  <a:cubicBezTo>
                    <a:pt x="7036" y="348"/>
                    <a:pt x="6130" y="0"/>
                    <a:pt x="5085" y="0"/>
                  </a:cubicBezTo>
                  <a:cubicBezTo>
                    <a:pt x="4040" y="0"/>
                    <a:pt x="3135" y="348"/>
                    <a:pt x="2369" y="1114"/>
                  </a:cubicBezTo>
                  <a:cubicBezTo>
                    <a:pt x="1671" y="1880"/>
                    <a:pt x="1254" y="2786"/>
                    <a:pt x="1254" y="3831"/>
                  </a:cubicBezTo>
                  <a:cubicBezTo>
                    <a:pt x="1115" y="4110"/>
                    <a:pt x="1045" y="4458"/>
                    <a:pt x="1045" y="4806"/>
                  </a:cubicBezTo>
                  <a:lnTo>
                    <a:pt x="1045" y="4876"/>
                  </a:lnTo>
                  <a:cubicBezTo>
                    <a:pt x="627" y="5224"/>
                    <a:pt x="418" y="5712"/>
                    <a:pt x="279" y="6130"/>
                  </a:cubicBezTo>
                  <a:cubicBezTo>
                    <a:pt x="70" y="6756"/>
                    <a:pt x="0" y="7314"/>
                    <a:pt x="70" y="7801"/>
                  </a:cubicBezTo>
                  <a:cubicBezTo>
                    <a:pt x="139" y="8359"/>
                    <a:pt x="418" y="8707"/>
                    <a:pt x="766" y="8846"/>
                  </a:cubicBezTo>
                  <a:cubicBezTo>
                    <a:pt x="836" y="8846"/>
                    <a:pt x="975" y="8916"/>
                    <a:pt x="1045" y="8916"/>
                  </a:cubicBezTo>
                  <a:cubicBezTo>
                    <a:pt x="906" y="9124"/>
                    <a:pt x="836" y="9334"/>
                    <a:pt x="836" y="9613"/>
                  </a:cubicBezTo>
                  <a:cubicBezTo>
                    <a:pt x="836" y="10030"/>
                    <a:pt x="1045" y="10448"/>
                    <a:pt x="1533" y="10727"/>
                  </a:cubicBezTo>
                  <a:cubicBezTo>
                    <a:pt x="1951" y="11006"/>
                    <a:pt x="2508" y="11145"/>
                    <a:pt x="3135" y="11145"/>
                  </a:cubicBezTo>
                  <a:cubicBezTo>
                    <a:pt x="3831" y="11145"/>
                    <a:pt x="4458" y="11006"/>
                    <a:pt x="4876" y="10657"/>
                  </a:cubicBezTo>
                  <a:lnTo>
                    <a:pt x="5225" y="10657"/>
                  </a:lnTo>
                  <a:cubicBezTo>
                    <a:pt x="5713" y="11006"/>
                    <a:pt x="6269" y="11145"/>
                    <a:pt x="6966" y="11145"/>
                  </a:cubicBezTo>
                  <a:lnTo>
                    <a:pt x="6966" y="111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35" name="iconfont-11894-5689857"/>
            <p:cNvSpPr>
              <a:spLocks noChangeAspect="1"/>
            </p:cNvSpPr>
            <p:nvPr userDrawn="1"/>
          </p:nvSpPr>
          <p:spPr bwMode="auto">
            <a:xfrm>
              <a:off x="17214969" y="18332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31" name="iconfont-11894-5689857"/>
            <p:cNvSpPr>
              <a:spLocks noChangeAspect="1"/>
            </p:cNvSpPr>
            <p:nvPr userDrawn="1"/>
          </p:nvSpPr>
          <p:spPr bwMode="auto">
            <a:xfrm>
              <a:off x="18434380" y="183324"/>
              <a:ext cx="609005" cy="609685"/>
            </a:xfrm>
            <a:custGeom>
              <a:avLst/>
              <a:gdLst>
                <a:gd name="T0" fmla="*/ 9151 w 11196"/>
                <a:gd name="T1" fmla="*/ 0 h 11207"/>
                <a:gd name="T2" fmla="*/ 2033 w 11196"/>
                <a:gd name="T3" fmla="*/ 0 h 11207"/>
                <a:gd name="T4" fmla="*/ 0 w 11196"/>
                <a:gd name="T5" fmla="*/ 3498 h 11207"/>
                <a:gd name="T6" fmla="*/ 0 w 11196"/>
                <a:gd name="T7" fmla="*/ 4897 h 11207"/>
                <a:gd name="T8" fmla="*/ 407 w 11196"/>
                <a:gd name="T9" fmla="*/ 5868 h 11207"/>
                <a:gd name="T10" fmla="*/ 407 w 11196"/>
                <a:gd name="T11" fmla="*/ 9881 h 11207"/>
                <a:gd name="T12" fmla="*/ 1804 w 11196"/>
                <a:gd name="T13" fmla="*/ 11207 h 11207"/>
                <a:gd name="T14" fmla="*/ 9380 w 11196"/>
                <a:gd name="T15" fmla="*/ 11207 h 11207"/>
                <a:gd name="T16" fmla="*/ 10657 w 11196"/>
                <a:gd name="T17" fmla="*/ 9881 h 11207"/>
                <a:gd name="T18" fmla="*/ 10657 w 11196"/>
                <a:gd name="T19" fmla="*/ 5868 h 11207"/>
                <a:gd name="T20" fmla="*/ 11196 w 11196"/>
                <a:gd name="T21" fmla="*/ 4897 h 11207"/>
                <a:gd name="T22" fmla="*/ 11196 w 11196"/>
                <a:gd name="T23" fmla="*/ 3498 h 11207"/>
                <a:gd name="T24" fmla="*/ 9151 w 11196"/>
                <a:gd name="T25" fmla="*/ 0 h 11207"/>
                <a:gd name="T26" fmla="*/ 2295 w 11196"/>
                <a:gd name="T27" fmla="*/ 533 h 11207"/>
                <a:gd name="T28" fmla="*/ 8768 w 11196"/>
                <a:gd name="T29" fmla="*/ 533 h 11207"/>
                <a:gd name="T30" fmla="*/ 10387 w 11196"/>
                <a:gd name="T31" fmla="*/ 3467 h 11207"/>
                <a:gd name="T32" fmla="*/ 676 w 11196"/>
                <a:gd name="T33" fmla="*/ 3467 h 11207"/>
                <a:gd name="T34" fmla="*/ 2295 w 11196"/>
                <a:gd name="T35" fmla="*/ 533 h 11207"/>
                <a:gd name="T36" fmla="*/ 9308 w 11196"/>
                <a:gd name="T37" fmla="*/ 10681 h 11207"/>
                <a:gd name="T38" fmla="*/ 1755 w 11196"/>
                <a:gd name="T39" fmla="*/ 10681 h 11207"/>
                <a:gd name="T40" fmla="*/ 946 w 11196"/>
                <a:gd name="T41" fmla="*/ 9881 h 11207"/>
                <a:gd name="T42" fmla="*/ 946 w 11196"/>
                <a:gd name="T43" fmla="*/ 9881 h 11207"/>
                <a:gd name="T44" fmla="*/ 946 w 11196"/>
                <a:gd name="T45" fmla="*/ 9068 h 11207"/>
                <a:gd name="T46" fmla="*/ 10143 w 11196"/>
                <a:gd name="T47" fmla="*/ 9068 h 11207"/>
                <a:gd name="T48" fmla="*/ 10146 w 11196"/>
                <a:gd name="T49" fmla="*/ 9807 h 11207"/>
                <a:gd name="T50" fmla="*/ 9308 w 11196"/>
                <a:gd name="T51" fmla="*/ 10681 h 11207"/>
                <a:gd name="T52" fmla="*/ 10143 w 11196"/>
                <a:gd name="T53" fmla="*/ 8535 h 11207"/>
                <a:gd name="T54" fmla="*/ 946 w 11196"/>
                <a:gd name="T55" fmla="*/ 8535 h 11207"/>
                <a:gd name="T56" fmla="*/ 946 w 11196"/>
                <a:gd name="T57" fmla="*/ 8535 h 11207"/>
                <a:gd name="T58" fmla="*/ 946 w 11196"/>
                <a:gd name="T59" fmla="*/ 8535 h 11207"/>
                <a:gd name="T60" fmla="*/ 946 w 11196"/>
                <a:gd name="T61" fmla="*/ 6134 h 11207"/>
                <a:gd name="T62" fmla="*/ 1755 w 11196"/>
                <a:gd name="T63" fmla="*/ 6401 h 11207"/>
                <a:gd name="T64" fmla="*/ 2961 w 11196"/>
                <a:gd name="T65" fmla="*/ 5449 h 11207"/>
                <a:gd name="T66" fmla="*/ 4183 w 11196"/>
                <a:gd name="T67" fmla="*/ 6401 h 11207"/>
                <a:gd name="T68" fmla="*/ 5592 w 11196"/>
                <a:gd name="T69" fmla="*/ 5521 h 11207"/>
                <a:gd name="T70" fmla="*/ 6880 w 11196"/>
                <a:gd name="T71" fmla="*/ 6401 h 11207"/>
                <a:gd name="T72" fmla="*/ 8210 w 11196"/>
                <a:gd name="T73" fmla="*/ 5396 h 11207"/>
                <a:gd name="T74" fmla="*/ 9578 w 11196"/>
                <a:gd name="T75" fmla="*/ 6401 h 11207"/>
                <a:gd name="T76" fmla="*/ 10146 w 11196"/>
                <a:gd name="T77" fmla="*/ 6296 h 11207"/>
                <a:gd name="T78" fmla="*/ 10143 w 11196"/>
                <a:gd name="T79" fmla="*/ 8535 h 11207"/>
                <a:gd name="T80" fmla="*/ 9378 w 11196"/>
                <a:gd name="T81" fmla="*/ 5555 h 11207"/>
                <a:gd name="T82" fmla="*/ 8160 w 11196"/>
                <a:gd name="T83" fmla="*/ 4759 h 11207"/>
                <a:gd name="T84" fmla="*/ 7890 w 11196"/>
                <a:gd name="T85" fmla="*/ 4759 h 11207"/>
                <a:gd name="T86" fmla="*/ 6812 w 11196"/>
                <a:gd name="T87" fmla="*/ 5555 h 11207"/>
                <a:gd name="T88" fmla="*/ 5733 w 11196"/>
                <a:gd name="T89" fmla="*/ 4759 h 11207"/>
                <a:gd name="T90" fmla="*/ 5463 w 11196"/>
                <a:gd name="T91" fmla="*/ 4759 h 11207"/>
                <a:gd name="T92" fmla="*/ 4225 w 11196"/>
                <a:gd name="T93" fmla="*/ 5555 h 11207"/>
                <a:gd name="T94" fmla="*/ 3035 w 11196"/>
                <a:gd name="T95" fmla="*/ 4759 h 11207"/>
                <a:gd name="T96" fmla="*/ 2766 w 11196"/>
                <a:gd name="T97" fmla="*/ 4759 h 11207"/>
                <a:gd name="T98" fmla="*/ 1679 w 11196"/>
                <a:gd name="T99" fmla="*/ 5566 h 11207"/>
                <a:gd name="T100" fmla="*/ 608 w 11196"/>
                <a:gd name="T101" fmla="*/ 4759 h 11207"/>
                <a:gd name="T102" fmla="*/ 608 w 11196"/>
                <a:gd name="T103" fmla="*/ 3984 h 11207"/>
                <a:gd name="T104" fmla="*/ 10588 w 11196"/>
                <a:gd name="T105" fmla="*/ 3984 h 11207"/>
                <a:gd name="T106" fmla="*/ 10588 w 11196"/>
                <a:gd name="T107" fmla="*/ 4759 h 11207"/>
                <a:gd name="T108" fmla="*/ 10588 w 11196"/>
                <a:gd name="T109" fmla="*/ 4759 h 11207"/>
                <a:gd name="T110" fmla="*/ 9378 w 11196"/>
                <a:gd name="T111" fmla="*/ 5555 h 1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96" h="11207">
                  <a:moveTo>
                    <a:pt x="9151" y="0"/>
                  </a:moveTo>
                  <a:lnTo>
                    <a:pt x="2033" y="0"/>
                  </a:lnTo>
                  <a:lnTo>
                    <a:pt x="0" y="3498"/>
                  </a:lnTo>
                  <a:lnTo>
                    <a:pt x="0" y="4897"/>
                  </a:lnTo>
                  <a:cubicBezTo>
                    <a:pt x="41" y="5249"/>
                    <a:pt x="190" y="5598"/>
                    <a:pt x="407" y="5868"/>
                  </a:cubicBezTo>
                  <a:lnTo>
                    <a:pt x="407" y="9881"/>
                  </a:lnTo>
                  <a:cubicBezTo>
                    <a:pt x="407" y="10654"/>
                    <a:pt x="1007" y="11207"/>
                    <a:pt x="1804" y="11207"/>
                  </a:cubicBezTo>
                  <a:lnTo>
                    <a:pt x="9380" y="11207"/>
                  </a:lnTo>
                  <a:cubicBezTo>
                    <a:pt x="10178" y="11207"/>
                    <a:pt x="10657" y="10654"/>
                    <a:pt x="10657" y="9881"/>
                  </a:cubicBezTo>
                  <a:lnTo>
                    <a:pt x="10657" y="5868"/>
                  </a:lnTo>
                  <a:cubicBezTo>
                    <a:pt x="10902" y="5579"/>
                    <a:pt x="11051" y="5362"/>
                    <a:pt x="11196" y="4897"/>
                  </a:cubicBezTo>
                  <a:lnTo>
                    <a:pt x="11196" y="3498"/>
                  </a:lnTo>
                  <a:lnTo>
                    <a:pt x="9151" y="0"/>
                  </a:lnTo>
                  <a:close/>
                  <a:moveTo>
                    <a:pt x="2295" y="533"/>
                  </a:moveTo>
                  <a:lnTo>
                    <a:pt x="8768" y="533"/>
                  </a:lnTo>
                  <a:lnTo>
                    <a:pt x="10387" y="3467"/>
                  </a:lnTo>
                  <a:lnTo>
                    <a:pt x="676" y="3467"/>
                  </a:lnTo>
                  <a:lnTo>
                    <a:pt x="2295" y="533"/>
                  </a:lnTo>
                  <a:close/>
                  <a:moveTo>
                    <a:pt x="9308" y="10681"/>
                  </a:moveTo>
                  <a:lnTo>
                    <a:pt x="1755" y="10681"/>
                  </a:lnTo>
                  <a:cubicBezTo>
                    <a:pt x="1357" y="10681"/>
                    <a:pt x="946" y="10268"/>
                    <a:pt x="946" y="9881"/>
                  </a:cubicBezTo>
                  <a:lnTo>
                    <a:pt x="946" y="9881"/>
                  </a:lnTo>
                  <a:lnTo>
                    <a:pt x="946" y="9068"/>
                  </a:lnTo>
                  <a:lnTo>
                    <a:pt x="10143" y="9068"/>
                  </a:lnTo>
                  <a:lnTo>
                    <a:pt x="10146" y="9807"/>
                  </a:lnTo>
                  <a:cubicBezTo>
                    <a:pt x="10146" y="10194"/>
                    <a:pt x="9706" y="10681"/>
                    <a:pt x="9308" y="10681"/>
                  </a:cubicBezTo>
                  <a:close/>
                  <a:moveTo>
                    <a:pt x="10143" y="8535"/>
                  </a:moveTo>
                  <a:lnTo>
                    <a:pt x="946" y="8535"/>
                  </a:lnTo>
                  <a:lnTo>
                    <a:pt x="946" y="8535"/>
                  </a:lnTo>
                  <a:lnTo>
                    <a:pt x="946" y="8535"/>
                  </a:lnTo>
                  <a:lnTo>
                    <a:pt x="946" y="6134"/>
                  </a:lnTo>
                  <a:cubicBezTo>
                    <a:pt x="1169" y="6319"/>
                    <a:pt x="1571" y="6401"/>
                    <a:pt x="1755" y="6401"/>
                  </a:cubicBezTo>
                  <a:cubicBezTo>
                    <a:pt x="2131" y="6401"/>
                    <a:pt x="2708" y="5961"/>
                    <a:pt x="2961" y="5449"/>
                  </a:cubicBezTo>
                  <a:cubicBezTo>
                    <a:pt x="3243" y="5947"/>
                    <a:pt x="3679" y="6401"/>
                    <a:pt x="4183" y="6401"/>
                  </a:cubicBezTo>
                  <a:cubicBezTo>
                    <a:pt x="4716" y="6401"/>
                    <a:pt x="5396" y="5979"/>
                    <a:pt x="5592" y="5521"/>
                  </a:cubicBezTo>
                  <a:cubicBezTo>
                    <a:pt x="5788" y="5968"/>
                    <a:pt x="6358" y="6401"/>
                    <a:pt x="6880" y="6401"/>
                  </a:cubicBezTo>
                  <a:cubicBezTo>
                    <a:pt x="7398" y="6401"/>
                    <a:pt x="7939" y="5916"/>
                    <a:pt x="8210" y="5396"/>
                  </a:cubicBezTo>
                  <a:cubicBezTo>
                    <a:pt x="8528" y="5921"/>
                    <a:pt x="8915" y="6401"/>
                    <a:pt x="9578" y="6401"/>
                  </a:cubicBezTo>
                  <a:cubicBezTo>
                    <a:pt x="9680" y="6401"/>
                    <a:pt x="10057" y="6313"/>
                    <a:pt x="10146" y="6296"/>
                  </a:cubicBezTo>
                  <a:lnTo>
                    <a:pt x="10143" y="8535"/>
                  </a:lnTo>
                  <a:close/>
                  <a:moveTo>
                    <a:pt x="9378" y="5555"/>
                  </a:moveTo>
                  <a:cubicBezTo>
                    <a:pt x="8816" y="5555"/>
                    <a:pt x="8160" y="5118"/>
                    <a:pt x="8160" y="4759"/>
                  </a:cubicBezTo>
                  <a:lnTo>
                    <a:pt x="7890" y="4759"/>
                  </a:lnTo>
                  <a:cubicBezTo>
                    <a:pt x="7890" y="5112"/>
                    <a:pt x="7352" y="5555"/>
                    <a:pt x="6812" y="5555"/>
                  </a:cubicBezTo>
                  <a:cubicBezTo>
                    <a:pt x="6295" y="5555"/>
                    <a:pt x="5733" y="5101"/>
                    <a:pt x="5733" y="4759"/>
                  </a:cubicBezTo>
                  <a:lnTo>
                    <a:pt x="5463" y="4759"/>
                  </a:lnTo>
                  <a:cubicBezTo>
                    <a:pt x="5463" y="5112"/>
                    <a:pt x="4742" y="5555"/>
                    <a:pt x="4225" y="5555"/>
                  </a:cubicBezTo>
                  <a:cubicBezTo>
                    <a:pt x="3685" y="5555"/>
                    <a:pt x="3035" y="5210"/>
                    <a:pt x="3035" y="4759"/>
                  </a:cubicBezTo>
                  <a:lnTo>
                    <a:pt x="2766" y="4759"/>
                  </a:lnTo>
                  <a:cubicBezTo>
                    <a:pt x="2766" y="5111"/>
                    <a:pt x="2198" y="5566"/>
                    <a:pt x="1679" y="5566"/>
                  </a:cubicBezTo>
                  <a:cubicBezTo>
                    <a:pt x="1153" y="5566"/>
                    <a:pt x="608" y="5242"/>
                    <a:pt x="608" y="4759"/>
                  </a:cubicBezTo>
                  <a:lnTo>
                    <a:pt x="608" y="3984"/>
                  </a:lnTo>
                  <a:lnTo>
                    <a:pt x="10588" y="3984"/>
                  </a:lnTo>
                  <a:lnTo>
                    <a:pt x="10588" y="4759"/>
                  </a:lnTo>
                  <a:lnTo>
                    <a:pt x="10588" y="4759"/>
                  </a:lnTo>
                  <a:cubicBezTo>
                    <a:pt x="10583" y="5242"/>
                    <a:pt x="9866" y="5555"/>
                    <a:pt x="9378" y="555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43" name="iconfont-11894-5689857"/>
            <p:cNvSpPr>
              <a:spLocks noChangeAspect="1"/>
            </p:cNvSpPr>
            <p:nvPr userDrawn="1"/>
          </p:nvSpPr>
          <p:spPr bwMode="auto">
            <a:xfrm>
              <a:off x="26969630" y="189426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4" name="iconfont-11894-5689857"/>
            <p:cNvSpPr>
              <a:spLocks noChangeAspect="1"/>
            </p:cNvSpPr>
            <p:nvPr userDrawn="1"/>
          </p:nvSpPr>
          <p:spPr bwMode="auto">
            <a:xfrm>
              <a:off x="28188999" y="18332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46" name="iconfont-11894-5689857"/>
            <p:cNvSpPr>
              <a:spLocks noChangeAspect="1"/>
            </p:cNvSpPr>
            <p:nvPr userDrawn="1"/>
          </p:nvSpPr>
          <p:spPr bwMode="auto">
            <a:xfrm>
              <a:off x="13556559" y="1653740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347" name="iconfont-11894-5689857"/>
            <p:cNvSpPr>
              <a:spLocks noChangeAspect="1"/>
            </p:cNvSpPr>
            <p:nvPr userDrawn="1"/>
          </p:nvSpPr>
          <p:spPr bwMode="auto">
            <a:xfrm>
              <a:off x="14775929" y="1689409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48" name="iconfont-11894-5689857"/>
            <p:cNvSpPr>
              <a:spLocks noChangeAspect="1"/>
            </p:cNvSpPr>
            <p:nvPr userDrawn="1"/>
          </p:nvSpPr>
          <p:spPr bwMode="auto">
            <a:xfrm>
              <a:off x="15995299" y="1676411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" name="iconfont-11894-5689857"/>
            <p:cNvSpPr>
              <a:spLocks noChangeAspect="1"/>
            </p:cNvSpPr>
            <p:nvPr userDrawn="1"/>
          </p:nvSpPr>
          <p:spPr bwMode="auto">
            <a:xfrm>
              <a:off x="17214969" y="1653740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4" name="iconfont-11894-5689857"/>
            <p:cNvSpPr>
              <a:spLocks noChangeAspect="1"/>
            </p:cNvSpPr>
            <p:nvPr userDrawn="1"/>
          </p:nvSpPr>
          <p:spPr bwMode="auto">
            <a:xfrm>
              <a:off x="18434041" y="1653740"/>
              <a:ext cx="609685" cy="609685"/>
            </a:xfrm>
            <a:custGeom>
              <a:avLst/>
              <a:gdLst>
                <a:gd name="T0" fmla="*/ 8800 w 12800"/>
                <a:gd name="T1" fmla="*/ 12800 h 12800"/>
                <a:gd name="T2" fmla="*/ 1920 w 12800"/>
                <a:gd name="T3" fmla="*/ 12800 h 12800"/>
                <a:gd name="T4" fmla="*/ 0 w 12800"/>
                <a:gd name="T5" fmla="*/ 10880 h 12800"/>
                <a:gd name="T6" fmla="*/ 0 w 12800"/>
                <a:gd name="T7" fmla="*/ 1920 h 12800"/>
                <a:gd name="T8" fmla="*/ 1920 w 12800"/>
                <a:gd name="T9" fmla="*/ 0 h 12800"/>
                <a:gd name="T10" fmla="*/ 10880 w 12800"/>
                <a:gd name="T11" fmla="*/ 0 h 12800"/>
                <a:gd name="T12" fmla="*/ 12800 w 12800"/>
                <a:gd name="T13" fmla="*/ 1920 h 12800"/>
                <a:gd name="T14" fmla="*/ 12800 w 12800"/>
                <a:gd name="T15" fmla="*/ 8800 h 12800"/>
                <a:gd name="T16" fmla="*/ 12000 w 12800"/>
                <a:gd name="T17" fmla="*/ 8800 h 12800"/>
                <a:gd name="T18" fmla="*/ 12000 w 12800"/>
                <a:gd name="T19" fmla="*/ 1920 h 12800"/>
                <a:gd name="T20" fmla="*/ 10880 w 12800"/>
                <a:gd name="T21" fmla="*/ 800 h 12800"/>
                <a:gd name="T22" fmla="*/ 1920 w 12800"/>
                <a:gd name="T23" fmla="*/ 800 h 12800"/>
                <a:gd name="T24" fmla="*/ 800 w 12800"/>
                <a:gd name="T25" fmla="*/ 1920 h 12800"/>
                <a:gd name="T26" fmla="*/ 800 w 12800"/>
                <a:gd name="T27" fmla="*/ 10960 h 12800"/>
                <a:gd name="T28" fmla="*/ 1920 w 12800"/>
                <a:gd name="T29" fmla="*/ 12000 h 12800"/>
                <a:gd name="T30" fmla="*/ 8800 w 12800"/>
                <a:gd name="T31" fmla="*/ 12000 h 12800"/>
                <a:gd name="T32" fmla="*/ 8800 w 12800"/>
                <a:gd name="T33" fmla="*/ 12800 h 12800"/>
                <a:gd name="T34" fmla="*/ 12162 w 12800"/>
                <a:gd name="T35" fmla="*/ 12675 h 12800"/>
                <a:gd name="T36" fmla="*/ 9164 w 12800"/>
                <a:gd name="T37" fmla="*/ 9677 h 12800"/>
                <a:gd name="T38" fmla="*/ 9673 w 12800"/>
                <a:gd name="T39" fmla="*/ 9167 h 12800"/>
                <a:gd name="T40" fmla="*/ 12671 w 12800"/>
                <a:gd name="T41" fmla="*/ 12166 h 12800"/>
                <a:gd name="T42" fmla="*/ 12162 w 12800"/>
                <a:gd name="T43" fmla="*/ 12675 h 12800"/>
                <a:gd name="T44" fmla="*/ 8560 w 12800"/>
                <a:gd name="T45" fmla="*/ 10560 h 12800"/>
                <a:gd name="T46" fmla="*/ 6560 w 12800"/>
                <a:gd name="T47" fmla="*/ 8560 h 12800"/>
                <a:gd name="T48" fmla="*/ 8560 w 12800"/>
                <a:gd name="T49" fmla="*/ 6560 h 12800"/>
                <a:gd name="T50" fmla="*/ 10560 w 12800"/>
                <a:gd name="T51" fmla="*/ 8560 h 12800"/>
                <a:gd name="T52" fmla="*/ 8560 w 12800"/>
                <a:gd name="T53" fmla="*/ 10560 h 12800"/>
                <a:gd name="T54" fmla="*/ 8560 w 12800"/>
                <a:gd name="T55" fmla="*/ 7360 h 12800"/>
                <a:gd name="T56" fmla="*/ 7360 w 12800"/>
                <a:gd name="T57" fmla="*/ 8560 h 12800"/>
                <a:gd name="T58" fmla="*/ 8560 w 12800"/>
                <a:gd name="T59" fmla="*/ 9760 h 12800"/>
                <a:gd name="T60" fmla="*/ 9760 w 12800"/>
                <a:gd name="T61" fmla="*/ 8560 h 12800"/>
                <a:gd name="T62" fmla="*/ 8560 w 12800"/>
                <a:gd name="T63" fmla="*/ 7360 h 12800"/>
                <a:gd name="T64" fmla="*/ 2400 w 12800"/>
                <a:gd name="T65" fmla="*/ 2400 h 12800"/>
                <a:gd name="T66" fmla="*/ 5600 w 12800"/>
                <a:gd name="T67" fmla="*/ 2400 h 12800"/>
                <a:gd name="T68" fmla="*/ 5600 w 12800"/>
                <a:gd name="T69" fmla="*/ 5600 h 12800"/>
                <a:gd name="T70" fmla="*/ 2400 w 12800"/>
                <a:gd name="T71" fmla="*/ 5600 h 12800"/>
                <a:gd name="T72" fmla="*/ 2400 w 12800"/>
                <a:gd name="T73" fmla="*/ 2400 h 12800"/>
                <a:gd name="T74" fmla="*/ 7200 w 12800"/>
                <a:gd name="T75" fmla="*/ 2400 h 12800"/>
                <a:gd name="T76" fmla="*/ 10400 w 12800"/>
                <a:gd name="T77" fmla="*/ 2400 h 12800"/>
                <a:gd name="T78" fmla="*/ 10400 w 12800"/>
                <a:gd name="T79" fmla="*/ 5600 h 12800"/>
                <a:gd name="T80" fmla="*/ 7200 w 12800"/>
                <a:gd name="T81" fmla="*/ 5600 h 12800"/>
                <a:gd name="T82" fmla="*/ 7200 w 12800"/>
                <a:gd name="T83" fmla="*/ 2400 h 12800"/>
                <a:gd name="T84" fmla="*/ 2400 w 12800"/>
                <a:gd name="T85" fmla="*/ 6400 h 12800"/>
                <a:gd name="T86" fmla="*/ 5600 w 12800"/>
                <a:gd name="T87" fmla="*/ 6400 h 12800"/>
                <a:gd name="T88" fmla="*/ 5600 w 12800"/>
                <a:gd name="T89" fmla="*/ 9600 h 12800"/>
                <a:gd name="T90" fmla="*/ 2400 w 12800"/>
                <a:gd name="T91" fmla="*/ 9600 h 12800"/>
                <a:gd name="T92" fmla="*/ 2400 w 12800"/>
                <a:gd name="T93" fmla="*/ 64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00" h="12800">
                  <a:moveTo>
                    <a:pt x="8800" y="12800"/>
                  </a:moveTo>
                  <a:lnTo>
                    <a:pt x="1920" y="12800"/>
                  </a:lnTo>
                  <a:cubicBezTo>
                    <a:pt x="880" y="12800"/>
                    <a:pt x="0" y="11920"/>
                    <a:pt x="0" y="10880"/>
                  </a:cubicBezTo>
                  <a:lnTo>
                    <a:pt x="0" y="1920"/>
                  </a:lnTo>
                  <a:cubicBezTo>
                    <a:pt x="0" y="880"/>
                    <a:pt x="880" y="0"/>
                    <a:pt x="1920" y="0"/>
                  </a:cubicBezTo>
                  <a:lnTo>
                    <a:pt x="10880" y="0"/>
                  </a:lnTo>
                  <a:cubicBezTo>
                    <a:pt x="11920" y="0"/>
                    <a:pt x="12800" y="880"/>
                    <a:pt x="12800" y="1920"/>
                  </a:cubicBezTo>
                  <a:lnTo>
                    <a:pt x="12800" y="8800"/>
                  </a:lnTo>
                  <a:lnTo>
                    <a:pt x="12000" y="8800"/>
                  </a:lnTo>
                  <a:lnTo>
                    <a:pt x="12000" y="1920"/>
                  </a:lnTo>
                  <a:cubicBezTo>
                    <a:pt x="12000" y="1280"/>
                    <a:pt x="11520" y="800"/>
                    <a:pt x="10880" y="800"/>
                  </a:cubicBezTo>
                  <a:lnTo>
                    <a:pt x="1920" y="800"/>
                  </a:lnTo>
                  <a:cubicBezTo>
                    <a:pt x="1280" y="800"/>
                    <a:pt x="800" y="1280"/>
                    <a:pt x="800" y="1920"/>
                  </a:cubicBezTo>
                  <a:lnTo>
                    <a:pt x="800" y="10960"/>
                  </a:lnTo>
                  <a:cubicBezTo>
                    <a:pt x="800" y="11600"/>
                    <a:pt x="1280" y="12000"/>
                    <a:pt x="1920" y="12000"/>
                  </a:cubicBezTo>
                  <a:lnTo>
                    <a:pt x="8800" y="12000"/>
                  </a:lnTo>
                  <a:lnTo>
                    <a:pt x="8800" y="12800"/>
                  </a:lnTo>
                  <a:close/>
                  <a:moveTo>
                    <a:pt x="12162" y="12675"/>
                  </a:moveTo>
                  <a:lnTo>
                    <a:pt x="9164" y="9677"/>
                  </a:lnTo>
                  <a:lnTo>
                    <a:pt x="9673" y="9167"/>
                  </a:lnTo>
                  <a:lnTo>
                    <a:pt x="12671" y="12166"/>
                  </a:lnTo>
                  <a:lnTo>
                    <a:pt x="12162" y="12675"/>
                  </a:lnTo>
                  <a:close/>
                  <a:moveTo>
                    <a:pt x="8560" y="10560"/>
                  </a:moveTo>
                  <a:cubicBezTo>
                    <a:pt x="7440" y="10560"/>
                    <a:pt x="6560" y="9680"/>
                    <a:pt x="6560" y="8560"/>
                  </a:cubicBezTo>
                  <a:cubicBezTo>
                    <a:pt x="6560" y="7440"/>
                    <a:pt x="7440" y="6560"/>
                    <a:pt x="8560" y="6560"/>
                  </a:cubicBezTo>
                  <a:cubicBezTo>
                    <a:pt x="9680" y="6560"/>
                    <a:pt x="10560" y="7440"/>
                    <a:pt x="10560" y="8560"/>
                  </a:cubicBezTo>
                  <a:cubicBezTo>
                    <a:pt x="10560" y="9680"/>
                    <a:pt x="9680" y="10560"/>
                    <a:pt x="8560" y="10560"/>
                  </a:cubicBezTo>
                  <a:close/>
                  <a:moveTo>
                    <a:pt x="8560" y="7360"/>
                  </a:moveTo>
                  <a:cubicBezTo>
                    <a:pt x="7920" y="7360"/>
                    <a:pt x="7360" y="7920"/>
                    <a:pt x="7360" y="8560"/>
                  </a:cubicBezTo>
                  <a:cubicBezTo>
                    <a:pt x="7360" y="9200"/>
                    <a:pt x="7920" y="9760"/>
                    <a:pt x="8560" y="9760"/>
                  </a:cubicBezTo>
                  <a:cubicBezTo>
                    <a:pt x="9200" y="9760"/>
                    <a:pt x="9760" y="9200"/>
                    <a:pt x="9760" y="8560"/>
                  </a:cubicBezTo>
                  <a:cubicBezTo>
                    <a:pt x="9760" y="7920"/>
                    <a:pt x="9280" y="7360"/>
                    <a:pt x="8560" y="7360"/>
                  </a:cubicBezTo>
                  <a:close/>
                  <a:moveTo>
                    <a:pt x="2400" y="2400"/>
                  </a:moveTo>
                  <a:lnTo>
                    <a:pt x="5600" y="2400"/>
                  </a:lnTo>
                  <a:lnTo>
                    <a:pt x="5600" y="5600"/>
                  </a:lnTo>
                  <a:lnTo>
                    <a:pt x="2400" y="5600"/>
                  </a:lnTo>
                  <a:lnTo>
                    <a:pt x="2400" y="2400"/>
                  </a:lnTo>
                  <a:close/>
                  <a:moveTo>
                    <a:pt x="7200" y="2400"/>
                  </a:moveTo>
                  <a:lnTo>
                    <a:pt x="10400" y="2400"/>
                  </a:lnTo>
                  <a:lnTo>
                    <a:pt x="10400" y="5600"/>
                  </a:lnTo>
                  <a:lnTo>
                    <a:pt x="7200" y="5600"/>
                  </a:lnTo>
                  <a:lnTo>
                    <a:pt x="7200" y="2400"/>
                  </a:lnTo>
                  <a:close/>
                  <a:moveTo>
                    <a:pt x="2400" y="6400"/>
                  </a:moveTo>
                  <a:lnTo>
                    <a:pt x="5600" y="6400"/>
                  </a:lnTo>
                  <a:lnTo>
                    <a:pt x="5600" y="9600"/>
                  </a:lnTo>
                  <a:lnTo>
                    <a:pt x="2400" y="9600"/>
                  </a:lnTo>
                  <a:lnTo>
                    <a:pt x="2400" y="64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6" name="iconfont-11894-5689857"/>
            <p:cNvSpPr>
              <a:spLocks noChangeAspect="1"/>
            </p:cNvSpPr>
            <p:nvPr userDrawn="1"/>
          </p:nvSpPr>
          <p:spPr bwMode="auto">
            <a:xfrm>
              <a:off x="26969631" y="1653740"/>
              <a:ext cx="609685" cy="609685"/>
            </a:xfrm>
            <a:custGeom>
              <a:avLst/>
              <a:gdLst>
                <a:gd name="T0" fmla="*/ 12160 w 12960"/>
                <a:gd name="T1" fmla="*/ 0 h 12960"/>
                <a:gd name="T2" fmla="*/ 6800 w 12960"/>
                <a:gd name="T3" fmla="*/ 0 h 12960"/>
                <a:gd name="T4" fmla="*/ 5920 w 12960"/>
                <a:gd name="T5" fmla="*/ 640 h 12960"/>
                <a:gd name="T6" fmla="*/ 640 w 12960"/>
                <a:gd name="T7" fmla="*/ 5920 h 12960"/>
                <a:gd name="T8" fmla="*/ 640 w 12960"/>
                <a:gd name="T9" fmla="*/ 8240 h 12960"/>
                <a:gd name="T10" fmla="*/ 4720 w 12960"/>
                <a:gd name="T11" fmla="*/ 12320 h 12960"/>
                <a:gd name="T12" fmla="*/ 7040 w 12960"/>
                <a:gd name="T13" fmla="*/ 12320 h 12960"/>
                <a:gd name="T14" fmla="*/ 12320 w 12960"/>
                <a:gd name="T15" fmla="*/ 7040 h 12960"/>
                <a:gd name="T16" fmla="*/ 12960 w 12960"/>
                <a:gd name="T17" fmla="*/ 6080 h 12960"/>
                <a:gd name="T18" fmla="*/ 12960 w 12960"/>
                <a:gd name="T19" fmla="*/ 800 h 12960"/>
                <a:gd name="T20" fmla="*/ 12160 w 12960"/>
                <a:gd name="T21" fmla="*/ 0 h 12960"/>
                <a:gd name="T22" fmla="*/ 7120 w 12960"/>
                <a:gd name="T23" fmla="*/ 11120 h 12960"/>
                <a:gd name="T24" fmla="*/ 6560 w 12960"/>
                <a:gd name="T25" fmla="*/ 11680 h 12960"/>
                <a:gd name="T26" fmla="*/ 6560 w 12960"/>
                <a:gd name="T27" fmla="*/ 11680 h 12960"/>
                <a:gd name="T28" fmla="*/ 5360 w 12960"/>
                <a:gd name="T29" fmla="*/ 11680 h 12960"/>
                <a:gd name="T30" fmla="*/ 1280 w 12960"/>
                <a:gd name="T31" fmla="*/ 7600 h 12960"/>
                <a:gd name="T32" fmla="*/ 1280 w 12960"/>
                <a:gd name="T33" fmla="*/ 6400 h 12960"/>
                <a:gd name="T34" fmla="*/ 1840 w 12960"/>
                <a:gd name="T35" fmla="*/ 5840 h 12960"/>
                <a:gd name="T36" fmla="*/ 2400 w 12960"/>
                <a:gd name="T37" fmla="*/ 5280 h 12960"/>
                <a:gd name="T38" fmla="*/ 6480 w 12960"/>
                <a:gd name="T39" fmla="*/ 1200 h 12960"/>
                <a:gd name="T40" fmla="*/ 7200 w 12960"/>
                <a:gd name="T41" fmla="*/ 800 h 12960"/>
                <a:gd name="T42" fmla="*/ 11760 w 12960"/>
                <a:gd name="T43" fmla="*/ 800 h 12960"/>
                <a:gd name="T44" fmla="*/ 12160 w 12960"/>
                <a:gd name="T45" fmla="*/ 1120 h 12960"/>
                <a:gd name="T46" fmla="*/ 12160 w 12960"/>
                <a:gd name="T47" fmla="*/ 5680 h 12960"/>
                <a:gd name="T48" fmla="*/ 12160 w 12960"/>
                <a:gd name="T49" fmla="*/ 5680 h 12960"/>
                <a:gd name="T50" fmla="*/ 11760 w 12960"/>
                <a:gd name="T51" fmla="*/ 6400 h 12960"/>
                <a:gd name="T52" fmla="*/ 7680 w 12960"/>
                <a:gd name="T53" fmla="*/ 10480 h 12960"/>
                <a:gd name="T54" fmla="*/ 7120 w 12960"/>
                <a:gd name="T55" fmla="*/ 11120 h 12960"/>
                <a:gd name="T56" fmla="*/ 8000 w 12960"/>
                <a:gd name="T57" fmla="*/ 2640 h 12960"/>
                <a:gd name="T58" fmla="*/ 8000 w 12960"/>
                <a:gd name="T59" fmla="*/ 4960 h 12960"/>
                <a:gd name="T60" fmla="*/ 10320 w 12960"/>
                <a:gd name="T61" fmla="*/ 4960 h 12960"/>
                <a:gd name="T62" fmla="*/ 10320 w 12960"/>
                <a:gd name="T63" fmla="*/ 2640 h 12960"/>
                <a:gd name="T64" fmla="*/ 8000 w 12960"/>
                <a:gd name="T65" fmla="*/ 2640 h 12960"/>
                <a:gd name="T66" fmla="*/ 9760 w 12960"/>
                <a:gd name="T67" fmla="*/ 4400 h 12960"/>
                <a:gd name="T68" fmla="*/ 8560 w 12960"/>
                <a:gd name="T69" fmla="*/ 4400 h 12960"/>
                <a:gd name="T70" fmla="*/ 8560 w 12960"/>
                <a:gd name="T71" fmla="*/ 3200 h 12960"/>
                <a:gd name="T72" fmla="*/ 9760 w 12960"/>
                <a:gd name="T73" fmla="*/ 3200 h 12960"/>
                <a:gd name="T74" fmla="*/ 9760 w 12960"/>
                <a:gd name="T75" fmla="*/ 4400 h 12960"/>
                <a:gd name="T76" fmla="*/ 8357 w 12960"/>
                <a:gd name="T77" fmla="*/ 8327 h 12960"/>
                <a:gd name="T78" fmla="*/ 4680 w 12960"/>
                <a:gd name="T79" fmla="*/ 4651 h 12960"/>
                <a:gd name="T80" fmla="*/ 5472 w 12960"/>
                <a:gd name="T81" fmla="*/ 3859 h 12960"/>
                <a:gd name="T82" fmla="*/ 9149 w 12960"/>
                <a:gd name="T83" fmla="*/ 7536 h 12960"/>
                <a:gd name="T84" fmla="*/ 8357 w 12960"/>
                <a:gd name="T85" fmla="*/ 8327 h 12960"/>
                <a:gd name="T86" fmla="*/ 6739 w 12960"/>
                <a:gd name="T87" fmla="*/ 9999 h 12960"/>
                <a:gd name="T88" fmla="*/ 3062 w 12960"/>
                <a:gd name="T89" fmla="*/ 6322 h 12960"/>
                <a:gd name="T90" fmla="*/ 3854 w 12960"/>
                <a:gd name="T91" fmla="*/ 5530 h 12960"/>
                <a:gd name="T92" fmla="*/ 7531 w 12960"/>
                <a:gd name="T93" fmla="*/ 9207 h 12960"/>
                <a:gd name="T94" fmla="*/ 6739 w 12960"/>
                <a:gd name="T95" fmla="*/ 9999 h 12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960" h="12960">
                  <a:moveTo>
                    <a:pt x="12160" y="0"/>
                  </a:moveTo>
                  <a:lnTo>
                    <a:pt x="6800" y="0"/>
                  </a:lnTo>
                  <a:cubicBezTo>
                    <a:pt x="6400" y="0"/>
                    <a:pt x="6320" y="160"/>
                    <a:pt x="5920" y="640"/>
                  </a:cubicBezTo>
                  <a:lnTo>
                    <a:pt x="640" y="5920"/>
                  </a:lnTo>
                  <a:cubicBezTo>
                    <a:pt x="0" y="6560"/>
                    <a:pt x="0" y="7600"/>
                    <a:pt x="640" y="8240"/>
                  </a:cubicBezTo>
                  <a:lnTo>
                    <a:pt x="4720" y="12320"/>
                  </a:lnTo>
                  <a:cubicBezTo>
                    <a:pt x="5360" y="12960"/>
                    <a:pt x="6400" y="12960"/>
                    <a:pt x="7040" y="12320"/>
                  </a:cubicBezTo>
                  <a:lnTo>
                    <a:pt x="12320" y="7040"/>
                  </a:lnTo>
                  <a:cubicBezTo>
                    <a:pt x="12720" y="6720"/>
                    <a:pt x="12960" y="6560"/>
                    <a:pt x="12960" y="6080"/>
                  </a:cubicBezTo>
                  <a:lnTo>
                    <a:pt x="12960" y="800"/>
                  </a:lnTo>
                  <a:cubicBezTo>
                    <a:pt x="12960" y="320"/>
                    <a:pt x="12640" y="0"/>
                    <a:pt x="12160" y="0"/>
                  </a:cubicBezTo>
                  <a:close/>
                  <a:moveTo>
                    <a:pt x="7120" y="11120"/>
                  </a:moveTo>
                  <a:lnTo>
                    <a:pt x="6560" y="11680"/>
                  </a:lnTo>
                  <a:lnTo>
                    <a:pt x="6560" y="11680"/>
                  </a:lnTo>
                  <a:cubicBezTo>
                    <a:pt x="6240" y="12000"/>
                    <a:pt x="5680" y="12000"/>
                    <a:pt x="5360" y="11680"/>
                  </a:cubicBezTo>
                  <a:lnTo>
                    <a:pt x="1280" y="7600"/>
                  </a:lnTo>
                  <a:cubicBezTo>
                    <a:pt x="960" y="7280"/>
                    <a:pt x="960" y="6720"/>
                    <a:pt x="1280" y="6400"/>
                  </a:cubicBezTo>
                  <a:lnTo>
                    <a:pt x="1840" y="5840"/>
                  </a:lnTo>
                  <a:lnTo>
                    <a:pt x="2400" y="5280"/>
                  </a:lnTo>
                  <a:lnTo>
                    <a:pt x="6480" y="1200"/>
                  </a:lnTo>
                  <a:cubicBezTo>
                    <a:pt x="6720" y="1040"/>
                    <a:pt x="7040" y="800"/>
                    <a:pt x="7200" y="800"/>
                  </a:cubicBezTo>
                  <a:lnTo>
                    <a:pt x="11760" y="800"/>
                  </a:lnTo>
                  <a:cubicBezTo>
                    <a:pt x="12000" y="800"/>
                    <a:pt x="12160" y="960"/>
                    <a:pt x="12160" y="1120"/>
                  </a:cubicBezTo>
                  <a:lnTo>
                    <a:pt x="12160" y="5680"/>
                  </a:lnTo>
                  <a:lnTo>
                    <a:pt x="12160" y="5680"/>
                  </a:lnTo>
                  <a:cubicBezTo>
                    <a:pt x="12160" y="5920"/>
                    <a:pt x="12000" y="6240"/>
                    <a:pt x="11760" y="6400"/>
                  </a:cubicBezTo>
                  <a:lnTo>
                    <a:pt x="7680" y="10480"/>
                  </a:lnTo>
                  <a:lnTo>
                    <a:pt x="7120" y="11120"/>
                  </a:lnTo>
                  <a:close/>
                  <a:moveTo>
                    <a:pt x="8000" y="2640"/>
                  </a:moveTo>
                  <a:cubicBezTo>
                    <a:pt x="7360" y="3280"/>
                    <a:pt x="7360" y="4320"/>
                    <a:pt x="8000" y="4960"/>
                  </a:cubicBezTo>
                  <a:cubicBezTo>
                    <a:pt x="8640" y="5600"/>
                    <a:pt x="9680" y="5600"/>
                    <a:pt x="10320" y="4960"/>
                  </a:cubicBezTo>
                  <a:cubicBezTo>
                    <a:pt x="10960" y="4320"/>
                    <a:pt x="10960" y="3280"/>
                    <a:pt x="10320" y="2640"/>
                  </a:cubicBezTo>
                  <a:cubicBezTo>
                    <a:pt x="9680" y="2000"/>
                    <a:pt x="8640" y="2000"/>
                    <a:pt x="8000" y="2640"/>
                  </a:cubicBezTo>
                  <a:close/>
                  <a:moveTo>
                    <a:pt x="9760" y="4400"/>
                  </a:moveTo>
                  <a:cubicBezTo>
                    <a:pt x="9440" y="4720"/>
                    <a:pt x="8880" y="4720"/>
                    <a:pt x="8560" y="4400"/>
                  </a:cubicBezTo>
                  <a:cubicBezTo>
                    <a:pt x="8240" y="4080"/>
                    <a:pt x="8240" y="3520"/>
                    <a:pt x="8560" y="3200"/>
                  </a:cubicBezTo>
                  <a:cubicBezTo>
                    <a:pt x="8880" y="2880"/>
                    <a:pt x="9440" y="2880"/>
                    <a:pt x="9760" y="3200"/>
                  </a:cubicBezTo>
                  <a:cubicBezTo>
                    <a:pt x="10080" y="3600"/>
                    <a:pt x="10080" y="4080"/>
                    <a:pt x="9760" y="4400"/>
                  </a:cubicBezTo>
                  <a:close/>
                  <a:moveTo>
                    <a:pt x="8357" y="8327"/>
                  </a:moveTo>
                  <a:lnTo>
                    <a:pt x="4680" y="4651"/>
                  </a:lnTo>
                  <a:lnTo>
                    <a:pt x="5472" y="3859"/>
                  </a:lnTo>
                  <a:lnTo>
                    <a:pt x="9149" y="7536"/>
                  </a:lnTo>
                  <a:lnTo>
                    <a:pt x="8357" y="8327"/>
                  </a:lnTo>
                  <a:close/>
                  <a:moveTo>
                    <a:pt x="6739" y="9999"/>
                  </a:moveTo>
                  <a:lnTo>
                    <a:pt x="3062" y="6322"/>
                  </a:lnTo>
                  <a:lnTo>
                    <a:pt x="3854" y="5530"/>
                  </a:lnTo>
                  <a:lnTo>
                    <a:pt x="7531" y="9207"/>
                  </a:lnTo>
                  <a:lnTo>
                    <a:pt x="6739" y="99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5" name="iconfont-11894-5689857"/>
            <p:cNvSpPr>
              <a:spLocks noChangeAspect="1"/>
            </p:cNvSpPr>
            <p:nvPr userDrawn="1"/>
          </p:nvSpPr>
          <p:spPr bwMode="auto">
            <a:xfrm>
              <a:off x="28188999" y="1653740"/>
              <a:ext cx="609685" cy="609685"/>
            </a:xfrm>
            <a:custGeom>
              <a:avLst/>
              <a:gdLst>
                <a:gd name="T0" fmla="*/ 10880 w 12800"/>
                <a:gd name="T1" fmla="*/ 720 h 12800"/>
                <a:gd name="T2" fmla="*/ 6400 w 12800"/>
                <a:gd name="T3" fmla="*/ 0 h 12800"/>
                <a:gd name="T4" fmla="*/ 1920 w 12800"/>
                <a:gd name="T5" fmla="*/ 720 h 12800"/>
                <a:gd name="T6" fmla="*/ 0 w 12800"/>
                <a:gd name="T7" fmla="*/ 2720 h 12800"/>
                <a:gd name="T8" fmla="*/ 0 w 12800"/>
                <a:gd name="T9" fmla="*/ 10160 h 12800"/>
                <a:gd name="T10" fmla="*/ 1920 w 12800"/>
                <a:gd name="T11" fmla="*/ 12080 h 12800"/>
                <a:gd name="T12" fmla="*/ 6400 w 12800"/>
                <a:gd name="T13" fmla="*/ 12800 h 12800"/>
                <a:gd name="T14" fmla="*/ 10880 w 12800"/>
                <a:gd name="T15" fmla="*/ 12080 h 12800"/>
                <a:gd name="T16" fmla="*/ 12800 w 12800"/>
                <a:gd name="T17" fmla="*/ 10160 h 12800"/>
                <a:gd name="T18" fmla="*/ 12800 w 12800"/>
                <a:gd name="T19" fmla="*/ 2720 h 12800"/>
                <a:gd name="T20" fmla="*/ 10880 w 12800"/>
                <a:gd name="T21" fmla="*/ 720 h 12800"/>
                <a:gd name="T22" fmla="*/ 10160 w 12800"/>
                <a:gd name="T23" fmla="*/ 4000 h 12800"/>
                <a:gd name="T24" fmla="*/ 6400 w 12800"/>
                <a:gd name="T25" fmla="*/ 4560 h 12800"/>
                <a:gd name="T26" fmla="*/ 2640 w 12800"/>
                <a:gd name="T27" fmla="*/ 4000 h 12800"/>
                <a:gd name="T28" fmla="*/ 880 w 12800"/>
                <a:gd name="T29" fmla="*/ 2720 h 12800"/>
                <a:gd name="T30" fmla="*/ 2640 w 12800"/>
                <a:gd name="T31" fmla="*/ 1360 h 12800"/>
                <a:gd name="T32" fmla="*/ 6400 w 12800"/>
                <a:gd name="T33" fmla="*/ 800 h 12800"/>
                <a:gd name="T34" fmla="*/ 10160 w 12800"/>
                <a:gd name="T35" fmla="*/ 1360 h 12800"/>
                <a:gd name="T36" fmla="*/ 11920 w 12800"/>
                <a:gd name="T37" fmla="*/ 2720 h 12800"/>
                <a:gd name="T38" fmla="*/ 10160 w 12800"/>
                <a:gd name="T39" fmla="*/ 4000 h 12800"/>
                <a:gd name="T40" fmla="*/ 10240 w 12800"/>
                <a:gd name="T41" fmla="*/ 6320 h 12800"/>
                <a:gd name="T42" fmla="*/ 6400 w 12800"/>
                <a:gd name="T43" fmla="*/ 6880 h 12800"/>
                <a:gd name="T44" fmla="*/ 2560 w 12800"/>
                <a:gd name="T45" fmla="*/ 6320 h 12800"/>
                <a:gd name="T46" fmla="*/ 800 w 12800"/>
                <a:gd name="T47" fmla="*/ 4960 h 12800"/>
                <a:gd name="T48" fmla="*/ 800 w 12800"/>
                <a:gd name="T49" fmla="*/ 4080 h 12800"/>
                <a:gd name="T50" fmla="*/ 3040 w 12800"/>
                <a:gd name="T51" fmla="*/ 4960 h 12800"/>
                <a:gd name="T52" fmla="*/ 6400 w 12800"/>
                <a:gd name="T53" fmla="*/ 5360 h 12800"/>
                <a:gd name="T54" fmla="*/ 9760 w 12800"/>
                <a:gd name="T55" fmla="*/ 4960 h 12800"/>
                <a:gd name="T56" fmla="*/ 12000 w 12800"/>
                <a:gd name="T57" fmla="*/ 4080 h 12800"/>
                <a:gd name="T58" fmla="*/ 12000 w 12800"/>
                <a:gd name="T59" fmla="*/ 5040 h 12800"/>
                <a:gd name="T60" fmla="*/ 10240 w 12800"/>
                <a:gd name="T61" fmla="*/ 6320 h 12800"/>
                <a:gd name="T62" fmla="*/ 10240 w 12800"/>
                <a:gd name="T63" fmla="*/ 8880 h 12800"/>
                <a:gd name="T64" fmla="*/ 6400 w 12800"/>
                <a:gd name="T65" fmla="*/ 9440 h 12800"/>
                <a:gd name="T66" fmla="*/ 2560 w 12800"/>
                <a:gd name="T67" fmla="*/ 8880 h 12800"/>
                <a:gd name="T68" fmla="*/ 800 w 12800"/>
                <a:gd name="T69" fmla="*/ 7520 h 12800"/>
                <a:gd name="T70" fmla="*/ 800 w 12800"/>
                <a:gd name="T71" fmla="*/ 6320 h 12800"/>
                <a:gd name="T72" fmla="*/ 3040 w 12800"/>
                <a:gd name="T73" fmla="*/ 7280 h 12800"/>
                <a:gd name="T74" fmla="*/ 6400 w 12800"/>
                <a:gd name="T75" fmla="*/ 7680 h 12800"/>
                <a:gd name="T76" fmla="*/ 9760 w 12800"/>
                <a:gd name="T77" fmla="*/ 7280 h 12800"/>
                <a:gd name="T78" fmla="*/ 12000 w 12800"/>
                <a:gd name="T79" fmla="*/ 6320 h 12800"/>
                <a:gd name="T80" fmla="*/ 12000 w 12800"/>
                <a:gd name="T81" fmla="*/ 7520 h 12800"/>
                <a:gd name="T82" fmla="*/ 10240 w 12800"/>
                <a:gd name="T83" fmla="*/ 8880 h 12800"/>
                <a:gd name="T84" fmla="*/ 6400 w 12800"/>
                <a:gd name="T85" fmla="*/ 12000 h 12800"/>
                <a:gd name="T86" fmla="*/ 2560 w 12800"/>
                <a:gd name="T87" fmla="*/ 11440 h 12800"/>
                <a:gd name="T88" fmla="*/ 800 w 12800"/>
                <a:gd name="T89" fmla="*/ 10080 h 12800"/>
                <a:gd name="T90" fmla="*/ 800 w 12800"/>
                <a:gd name="T91" fmla="*/ 8880 h 12800"/>
                <a:gd name="T92" fmla="*/ 3040 w 12800"/>
                <a:gd name="T93" fmla="*/ 9840 h 12800"/>
                <a:gd name="T94" fmla="*/ 6320 w 12800"/>
                <a:gd name="T95" fmla="*/ 10240 h 12800"/>
                <a:gd name="T96" fmla="*/ 9680 w 12800"/>
                <a:gd name="T97" fmla="*/ 9840 h 12800"/>
                <a:gd name="T98" fmla="*/ 12000 w 12800"/>
                <a:gd name="T99" fmla="*/ 8880 h 12800"/>
                <a:gd name="T100" fmla="*/ 12000 w 12800"/>
                <a:gd name="T101" fmla="*/ 10080 h 12800"/>
                <a:gd name="T102" fmla="*/ 10240 w 12800"/>
                <a:gd name="T103" fmla="*/ 11440 h 12800"/>
                <a:gd name="T104" fmla="*/ 6400 w 12800"/>
                <a:gd name="T105" fmla="*/ 12000 h 12800"/>
                <a:gd name="T106" fmla="*/ 6400 w 12800"/>
                <a:gd name="T107" fmla="*/ 120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800" h="12800">
                  <a:moveTo>
                    <a:pt x="10880" y="720"/>
                  </a:moveTo>
                  <a:cubicBezTo>
                    <a:pt x="9760" y="240"/>
                    <a:pt x="8160" y="0"/>
                    <a:pt x="6400" y="0"/>
                  </a:cubicBezTo>
                  <a:cubicBezTo>
                    <a:pt x="4640" y="0"/>
                    <a:pt x="3040" y="240"/>
                    <a:pt x="1920" y="720"/>
                  </a:cubicBezTo>
                  <a:cubicBezTo>
                    <a:pt x="640" y="1280"/>
                    <a:pt x="0" y="1920"/>
                    <a:pt x="0" y="2720"/>
                  </a:cubicBezTo>
                  <a:lnTo>
                    <a:pt x="0" y="10160"/>
                  </a:lnTo>
                  <a:cubicBezTo>
                    <a:pt x="0" y="10880"/>
                    <a:pt x="640" y="11600"/>
                    <a:pt x="1920" y="12080"/>
                  </a:cubicBezTo>
                  <a:cubicBezTo>
                    <a:pt x="3040" y="12560"/>
                    <a:pt x="4640" y="12800"/>
                    <a:pt x="6400" y="12800"/>
                  </a:cubicBezTo>
                  <a:cubicBezTo>
                    <a:pt x="8160" y="12800"/>
                    <a:pt x="9760" y="12560"/>
                    <a:pt x="10880" y="12080"/>
                  </a:cubicBezTo>
                  <a:cubicBezTo>
                    <a:pt x="12080" y="11600"/>
                    <a:pt x="12800" y="10880"/>
                    <a:pt x="12800" y="10160"/>
                  </a:cubicBezTo>
                  <a:lnTo>
                    <a:pt x="12800" y="2720"/>
                  </a:lnTo>
                  <a:cubicBezTo>
                    <a:pt x="12800" y="1920"/>
                    <a:pt x="12160" y="1280"/>
                    <a:pt x="10880" y="720"/>
                  </a:cubicBezTo>
                  <a:close/>
                  <a:moveTo>
                    <a:pt x="10160" y="4000"/>
                  </a:moveTo>
                  <a:cubicBezTo>
                    <a:pt x="9120" y="4400"/>
                    <a:pt x="7680" y="4560"/>
                    <a:pt x="6400" y="4560"/>
                  </a:cubicBezTo>
                  <a:cubicBezTo>
                    <a:pt x="5040" y="4560"/>
                    <a:pt x="3680" y="4400"/>
                    <a:pt x="2640" y="4000"/>
                  </a:cubicBezTo>
                  <a:cubicBezTo>
                    <a:pt x="1440" y="3680"/>
                    <a:pt x="880" y="3200"/>
                    <a:pt x="880" y="2720"/>
                  </a:cubicBezTo>
                  <a:cubicBezTo>
                    <a:pt x="880" y="2240"/>
                    <a:pt x="1520" y="1760"/>
                    <a:pt x="2640" y="1360"/>
                  </a:cubicBezTo>
                  <a:cubicBezTo>
                    <a:pt x="3680" y="960"/>
                    <a:pt x="5040" y="800"/>
                    <a:pt x="6400" y="800"/>
                  </a:cubicBezTo>
                  <a:cubicBezTo>
                    <a:pt x="7680" y="800"/>
                    <a:pt x="9120" y="1040"/>
                    <a:pt x="10160" y="1360"/>
                  </a:cubicBezTo>
                  <a:cubicBezTo>
                    <a:pt x="11280" y="1760"/>
                    <a:pt x="11920" y="2240"/>
                    <a:pt x="11920" y="2720"/>
                  </a:cubicBezTo>
                  <a:cubicBezTo>
                    <a:pt x="11920" y="3200"/>
                    <a:pt x="11360" y="3680"/>
                    <a:pt x="10160" y="4000"/>
                  </a:cubicBezTo>
                  <a:close/>
                  <a:moveTo>
                    <a:pt x="10240" y="6320"/>
                  </a:moveTo>
                  <a:cubicBezTo>
                    <a:pt x="9200" y="6640"/>
                    <a:pt x="7760" y="6880"/>
                    <a:pt x="6400" y="6880"/>
                  </a:cubicBezTo>
                  <a:cubicBezTo>
                    <a:pt x="5040" y="6880"/>
                    <a:pt x="3680" y="6640"/>
                    <a:pt x="2560" y="6320"/>
                  </a:cubicBezTo>
                  <a:cubicBezTo>
                    <a:pt x="1440" y="5920"/>
                    <a:pt x="800" y="5440"/>
                    <a:pt x="800" y="4960"/>
                  </a:cubicBezTo>
                  <a:lnTo>
                    <a:pt x="800" y="4080"/>
                  </a:lnTo>
                  <a:cubicBezTo>
                    <a:pt x="1600" y="4400"/>
                    <a:pt x="2160" y="4800"/>
                    <a:pt x="3040" y="4960"/>
                  </a:cubicBezTo>
                  <a:cubicBezTo>
                    <a:pt x="4080" y="5200"/>
                    <a:pt x="5200" y="5360"/>
                    <a:pt x="6400" y="5360"/>
                  </a:cubicBezTo>
                  <a:cubicBezTo>
                    <a:pt x="7600" y="5360"/>
                    <a:pt x="8720" y="5200"/>
                    <a:pt x="9760" y="4960"/>
                  </a:cubicBezTo>
                  <a:cubicBezTo>
                    <a:pt x="10640" y="4800"/>
                    <a:pt x="11200" y="4400"/>
                    <a:pt x="12000" y="4080"/>
                  </a:cubicBezTo>
                  <a:lnTo>
                    <a:pt x="12000" y="5040"/>
                  </a:lnTo>
                  <a:cubicBezTo>
                    <a:pt x="12000" y="5440"/>
                    <a:pt x="11360" y="5920"/>
                    <a:pt x="10240" y="6320"/>
                  </a:cubicBezTo>
                  <a:close/>
                  <a:moveTo>
                    <a:pt x="10240" y="8880"/>
                  </a:moveTo>
                  <a:cubicBezTo>
                    <a:pt x="9200" y="9200"/>
                    <a:pt x="7760" y="9440"/>
                    <a:pt x="6400" y="9440"/>
                  </a:cubicBezTo>
                  <a:cubicBezTo>
                    <a:pt x="5040" y="9440"/>
                    <a:pt x="3680" y="9200"/>
                    <a:pt x="2560" y="8880"/>
                  </a:cubicBezTo>
                  <a:cubicBezTo>
                    <a:pt x="1440" y="8560"/>
                    <a:pt x="800" y="8080"/>
                    <a:pt x="800" y="7520"/>
                  </a:cubicBezTo>
                  <a:lnTo>
                    <a:pt x="800" y="6320"/>
                  </a:lnTo>
                  <a:cubicBezTo>
                    <a:pt x="1600" y="6720"/>
                    <a:pt x="2160" y="7040"/>
                    <a:pt x="3040" y="7280"/>
                  </a:cubicBezTo>
                  <a:cubicBezTo>
                    <a:pt x="4080" y="7520"/>
                    <a:pt x="5200" y="7680"/>
                    <a:pt x="6400" y="7680"/>
                  </a:cubicBezTo>
                  <a:cubicBezTo>
                    <a:pt x="7600" y="7680"/>
                    <a:pt x="8720" y="7520"/>
                    <a:pt x="9760" y="7280"/>
                  </a:cubicBezTo>
                  <a:cubicBezTo>
                    <a:pt x="10640" y="7040"/>
                    <a:pt x="11200" y="6720"/>
                    <a:pt x="12000" y="6320"/>
                  </a:cubicBezTo>
                  <a:lnTo>
                    <a:pt x="12000" y="7520"/>
                  </a:lnTo>
                  <a:cubicBezTo>
                    <a:pt x="12000" y="8080"/>
                    <a:pt x="11360" y="8560"/>
                    <a:pt x="10240" y="8880"/>
                  </a:cubicBezTo>
                  <a:close/>
                  <a:moveTo>
                    <a:pt x="6400" y="12000"/>
                  </a:moveTo>
                  <a:cubicBezTo>
                    <a:pt x="5040" y="12000"/>
                    <a:pt x="3680" y="11760"/>
                    <a:pt x="2560" y="11440"/>
                  </a:cubicBezTo>
                  <a:cubicBezTo>
                    <a:pt x="1440" y="11120"/>
                    <a:pt x="800" y="10640"/>
                    <a:pt x="800" y="10080"/>
                  </a:cubicBezTo>
                  <a:lnTo>
                    <a:pt x="800" y="8880"/>
                  </a:lnTo>
                  <a:cubicBezTo>
                    <a:pt x="1600" y="9280"/>
                    <a:pt x="2160" y="9600"/>
                    <a:pt x="3040" y="9840"/>
                  </a:cubicBezTo>
                  <a:cubicBezTo>
                    <a:pt x="4000" y="10080"/>
                    <a:pt x="5200" y="10240"/>
                    <a:pt x="6320" y="10240"/>
                  </a:cubicBezTo>
                  <a:cubicBezTo>
                    <a:pt x="7520" y="10240"/>
                    <a:pt x="8640" y="10080"/>
                    <a:pt x="9680" y="9840"/>
                  </a:cubicBezTo>
                  <a:cubicBezTo>
                    <a:pt x="10640" y="9600"/>
                    <a:pt x="11200" y="9280"/>
                    <a:pt x="12000" y="8880"/>
                  </a:cubicBezTo>
                  <a:lnTo>
                    <a:pt x="12000" y="10080"/>
                  </a:lnTo>
                  <a:cubicBezTo>
                    <a:pt x="12000" y="10560"/>
                    <a:pt x="11360" y="11040"/>
                    <a:pt x="10240" y="11440"/>
                  </a:cubicBezTo>
                  <a:cubicBezTo>
                    <a:pt x="9200" y="11840"/>
                    <a:pt x="7680" y="12000"/>
                    <a:pt x="6400" y="12000"/>
                  </a:cubicBezTo>
                  <a:close/>
                  <a:moveTo>
                    <a:pt x="6400" y="12000"/>
                  </a:move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0" name="iconfont-11894-5689857"/>
            <p:cNvSpPr>
              <a:spLocks noChangeAspect="1"/>
            </p:cNvSpPr>
            <p:nvPr userDrawn="1"/>
          </p:nvSpPr>
          <p:spPr bwMode="auto">
            <a:xfrm>
              <a:off x="13556559" y="312415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361" name="iconfont-11894-5689857"/>
            <p:cNvSpPr>
              <a:spLocks noChangeAspect="1"/>
            </p:cNvSpPr>
            <p:nvPr userDrawn="1"/>
          </p:nvSpPr>
          <p:spPr bwMode="auto">
            <a:xfrm>
              <a:off x="14775929" y="3159826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4" name="iconfont-11894-5689857"/>
            <p:cNvSpPr>
              <a:spLocks noChangeAspect="1"/>
            </p:cNvSpPr>
            <p:nvPr userDrawn="1"/>
          </p:nvSpPr>
          <p:spPr bwMode="auto">
            <a:xfrm>
              <a:off x="15995300" y="3159287"/>
              <a:ext cx="609685" cy="539426"/>
            </a:xfrm>
            <a:custGeom>
              <a:avLst/>
              <a:gdLst>
                <a:gd name="connsiteX0" fmla="*/ 381028 w 474177"/>
                <a:gd name="connsiteY0" fmla="*/ 267126 h 419534"/>
                <a:gd name="connsiteX1" fmla="*/ 321786 w 474177"/>
                <a:gd name="connsiteY1" fmla="*/ 326422 h 419534"/>
                <a:gd name="connsiteX2" fmla="*/ 381028 w 474177"/>
                <a:gd name="connsiteY2" fmla="*/ 385671 h 419534"/>
                <a:gd name="connsiteX3" fmla="*/ 440318 w 474177"/>
                <a:gd name="connsiteY3" fmla="*/ 326422 h 419534"/>
                <a:gd name="connsiteX4" fmla="*/ 381028 w 474177"/>
                <a:gd name="connsiteY4" fmla="*/ 267126 h 419534"/>
                <a:gd name="connsiteX5" fmla="*/ 93173 w 474177"/>
                <a:gd name="connsiteY5" fmla="*/ 267104 h 419534"/>
                <a:gd name="connsiteX6" fmla="*/ 33868 w 474177"/>
                <a:gd name="connsiteY6" fmla="*/ 326409 h 419534"/>
                <a:gd name="connsiteX7" fmla="*/ 93173 w 474177"/>
                <a:gd name="connsiteY7" fmla="*/ 385666 h 419534"/>
                <a:gd name="connsiteX8" fmla="*/ 152430 w 474177"/>
                <a:gd name="connsiteY8" fmla="*/ 326409 h 419534"/>
                <a:gd name="connsiteX9" fmla="*/ 93173 w 474177"/>
                <a:gd name="connsiteY9" fmla="*/ 267104 h 419534"/>
                <a:gd name="connsiteX10" fmla="*/ 381028 w 474177"/>
                <a:gd name="connsiteY10" fmla="*/ 233263 h 419534"/>
                <a:gd name="connsiteX11" fmla="*/ 474177 w 474177"/>
                <a:gd name="connsiteY11" fmla="*/ 326422 h 419534"/>
                <a:gd name="connsiteX12" fmla="*/ 381028 w 474177"/>
                <a:gd name="connsiteY12" fmla="*/ 419534 h 419534"/>
                <a:gd name="connsiteX13" fmla="*/ 287927 w 474177"/>
                <a:gd name="connsiteY13" fmla="*/ 326422 h 419534"/>
                <a:gd name="connsiteX14" fmla="*/ 295214 w 474177"/>
                <a:gd name="connsiteY14" fmla="*/ 290065 h 419534"/>
                <a:gd name="connsiteX15" fmla="*/ 298380 w 474177"/>
                <a:gd name="connsiteY15" fmla="*/ 285357 h 419534"/>
                <a:gd name="connsiteX16" fmla="*/ 309676 w 474177"/>
                <a:gd name="connsiteY16" fmla="*/ 288436 h 419534"/>
                <a:gd name="connsiteX17" fmla="*/ 324272 w 474177"/>
                <a:gd name="connsiteY17" fmla="*/ 280725 h 419534"/>
                <a:gd name="connsiteX18" fmla="*/ 329349 w 474177"/>
                <a:gd name="connsiteY18" fmla="*/ 265690 h 419534"/>
                <a:gd name="connsiteX19" fmla="*/ 323395 w 474177"/>
                <a:gd name="connsiteY19" fmla="*/ 254893 h 419534"/>
                <a:gd name="connsiteX20" fmla="*/ 344703 w 474177"/>
                <a:gd name="connsiteY20" fmla="*/ 240552 h 419534"/>
                <a:gd name="connsiteX21" fmla="*/ 381028 w 474177"/>
                <a:gd name="connsiteY21" fmla="*/ 233263 h 419534"/>
                <a:gd name="connsiteX22" fmla="*/ 93173 w 474177"/>
                <a:gd name="connsiteY22" fmla="*/ 233236 h 419534"/>
                <a:gd name="connsiteX23" fmla="*/ 129507 w 474177"/>
                <a:gd name="connsiteY23" fmla="*/ 240526 h 419534"/>
                <a:gd name="connsiteX24" fmla="*/ 144508 w 474177"/>
                <a:gd name="connsiteY24" fmla="*/ 250622 h 419534"/>
                <a:gd name="connsiteX25" fmla="*/ 143965 w 474177"/>
                <a:gd name="connsiteY25" fmla="*/ 251075 h 419534"/>
                <a:gd name="connsiteX26" fmla="*/ 141441 w 474177"/>
                <a:gd name="connsiteY26" fmla="*/ 280700 h 419534"/>
                <a:gd name="connsiteX27" fmla="*/ 171919 w 474177"/>
                <a:gd name="connsiteY27" fmla="*/ 284081 h 419534"/>
                <a:gd name="connsiteX28" fmla="*/ 173885 w 474177"/>
                <a:gd name="connsiteY28" fmla="*/ 282428 h 419534"/>
                <a:gd name="connsiteX29" fmla="*/ 179008 w 474177"/>
                <a:gd name="connsiteY29" fmla="*/ 290047 h 419534"/>
                <a:gd name="connsiteX30" fmla="*/ 186298 w 474177"/>
                <a:gd name="connsiteY30" fmla="*/ 326409 h 419534"/>
                <a:gd name="connsiteX31" fmla="*/ 93173 w 474177"/>
                <a:gd name="connsiteY31" fmla="*/ 419534 h 419534"/>
                <a:gd name="connsiteX32" fmla="*/ 0 w 474177"/>
                <a:gd name="connsiteY32" fmla="*/ 326409 h 419534"/>
                <a:gd name="connsiteX33" fmla="*/ 93173 w 474177"/>
                <a:gd name="connsiteY33" fmla="*/ 233236 h 419534"/>
                <a:gd name="connsiteX34" fmla="*/ 265967 w 474177"/>
                <a:gd name="connsiteY34" fmla="*/ 205002 h 419534"/>
                <a:gd name="connsiteX35" fmla="*/ 321748 w 474177"/>
                <a:gd name="connsiteY35" fmla="*/ 251906 h 419534"/>
                <a:gd name="connsiteX36" fmla="*/ 323395 w 474177"/>
                <a:gd name="connsiteY36" fmla="*/ 254893 h 419534"/>
                <a:gd name="connsiteX37" fmla="*/ 315119 w 474177"/>
                <a:gd name="connsiteY37" fmla="*/ 260464 h 419534"/>
                <a:gd name="connsiteX38" fmla="*/ 298380 w 474177"/>
                <a:gd name="connsiteY38" fmla="*/ 285357 h 419534"/>
                <a:gd name="connsiteX39" fmla="*/ 293795 w 474177"/>
                <a:gd name="connsiteY39" fmla="*/ 284107 h 419534"/>
                <a:gd name="connsiteX40" fmla="*/ 232947 w 474177"/>
                <a:gd name="connsiteY40" fmla="*/ 232767 h 419534"/>
                <a:gd name="connsiteX41" fmla="*/ 199590 w 474177"/>
                <a:gd name="connsiteY41" fmla="*/ 204623 h 419534"/>
                <a:gd name="connsiteX42" fmla="*/ 232947 w 474177"/>
                <a:gd name="connsiteY42" fmla="*/ 232767 h 419534"/>
                <a:gd name="connsiteX43" fmla="*/ 173885 w 474177"/>
                <a:gd name="connsiteY43" fmla="*/ 282428 h 419534"/>
                <a:gd name="connsiteX44" fmla="*/ 159099 w 474177"/>
                <a:gd name="connsiteY44" fmla="*/ 260441 h 419534"/>
                <a:gd name="connsiteX45" fmla="*/ 144508 w 474177"/>
                <a:gd name="connsiteY45" fmla="*/ 250622 h 419534"/>
                <a:gd name="connsiteX46" fmla="*/ 265117 w 474177"/>
                <a:gd name="connsiteY46" fmla="*/ 71012 h 419534"/>
                <a:gd name="connsiteX47" fmla="*/ 274319 w 474177"/>
                <a:gd name="connsiteY47" fmla="*/ 74084 h 419534"/>
                <a:gd name="connsiteX48" fmla="*/ 311440 w 474177"/>
                <a:gd name="connsiteY48" fmla="*/ 111217 h 419534"/>
                <a:gd name="connsiteX49" fmla="*/ 291612 w 474177"/>
                <a:gd name="connsiteY49" fmla="*/ 127776 h 419534"/>
                <a:gd name="connsiteX50" fmla="*/ 256557 w 474177"/>
                <a:gd name="connsiteY50" fmla="*/ 92710 h 419534"/>
                <a:gd name="connsiteX51" fmla="*/ 256557 w 474177"/>
                <a:gd name="connsiteY51" fmla="*/ 74942 h 419534"/>
                <a:gd name="connsiteX52" fmla="*/ 265117 w 474177"/>
                <a:gd name="connsiteY52" fmla="*/ 71012 h 419534"/>
                <a:gd name="connsiteX53" fmla="*/ 294653 w 474177"/>
                <a:gd name="connsiteY53" fmla="*/ 35976 h 419534"/>
                <a:gd name="connsiteX54" fmla="*/ 312415 w 474177"/>
                <a:gd name="connsiteY54" fmla="*/ 35976 h 419534"/>
                <a:gd name="connsiteX55" fmla="*/ 352965 w 474177"/>
                <a:gd name="connsiteY55" fmla="*/ 76540 h 419534"/>
                <a:gd name="connsiteX56" fmla="*/ 333604 w 474177"/>
                <a:gd name="connsiteY56" fmla="*/ 92708 h 419534"/>
                <a:gd name="connsiteX57" fmla="*/ 294653 w 474177"/>
                <a:gd name="connsiteY57" fmla="*/ 53744 h 419534"/>
                <a:gd name="connsiteX58" fmla="*/ 294653 w 474177"/>
                <a:gd name="connsiteY58" fmla="*/ 35976 h 419534"/>
                <a:gd name="connsiteX59" fmla="*/ 425805 w 474177"/>
                <a:gd name="connsiteY59" fmla="*/ 23290 h 419534"/>
                <a:gd name="connsiteX60" fmla="*/ 440318 w 474177"/>
                <a:gd name="connsiteY60" fmla="*/ 30893 h 419534"/>
                <a:gd name="connsiteX61" fmla="*/ 437746 w 474177"/>
                <a:gd name="connsiteY61" fmla="*/ 60565 h 419534"/>
                <a:gd name="connsiteX62" fmla="*/ 265967 w 474177"/>
                <a:gd name="connsiteY62" fmla="*/ 205002 h 419534"/>
                <a:gd name="connsiteX63" fmla="*/ 232667 w 474177"/>
                <a:gd name="connsiteY63" fmla="*/ 177000 h 419534"/>
                <a:gd name="connsiteX64" fmla="*/ 291612 w 474177"/>
                <a:gd name="connsiteY64" fmla="*/ 127776 h 419534"/>
                <a:gd name="connsiteX65" fmla="*/ 303129 w 474177"/>
                <a:gd name="connsiteY65" fmla="*/ 139297 h 419534"/>
                <a:gd name="connsiteX66" fmla="*/ 309034 w 474177"/>
                <a:gd name="connsiteY66" fmla="*/ 139297 h 419534"/>
                <a:gd name="connsiteX67" fmla="*/ 320891 w 474177"/>
                <a:gd name="connsiteY67" fmla="*/ 126578 h 419534"/>
                <a:gd name="connsiteX68" fmla="*/ 320891 w 474177"/>
                <a:gd name="connsiteY68" fmla="*/ 120671 h 419534"/>
                <a:gd name="connsiteX69" fmla="*/ 311440 w 474177"/>
                <a:gd name="connsiteY69" fmla="*/ 111217 h 419534"/>
                <a:gd name="connsiteX70" fmla="*/ 333604 w 474177"/>
                <a:gd name="connsiteY70" fmla="*/ 92708 h 419534"/>
                <a:gd name="connsiteX71" fmla="*/ 341224 w 474177"/>
                <a:gd name="connsiteY71" fmla="*/ 100331 h 419534"/>
                <a:gd name="connsiteX72" fmla="*/ 347129 w 474177"/>
                <a:gd name="connsiteY72" fmla="*/ 100331 h 419534"/>
                <a:gd name="connsiteX73" fmla="*/ 358986 w 474177"/>
                <a:gd name="connsiteY73" fmla="*/ 88470 h 419534"/>
                <a:gd name="connsiteX74" fmla="*/ 358986 w 474177"/>
                <a:gd name="connsiteY74" fmla="*/ 82563 h 419534"/>
                <a:gd name="connsiteX75" fmla="*/ 352965 w 474177"/>
                <a:gd name="connsiteY75" fmla="*/ 76540 h 419534"/>
                <a:gd name="connsiteX76" fmla="*/ 374636 w 474177"/>
                <a:gd name="connsiteY76" fmla="*/ 58443 h 419534"/>
                <a:gd name="connsiteX77" fmla="*/ 384368 w 474177"/>
                <a:gd name="connsiteY77" fmla="*/ 68178 h 419534"/>
                <a:gd name="connsiteX78" fmla="*/ 390320 w 474177"/>
                <a:gd name="connsiteY78" fmla="*/ 68178 h 419534"/>
                <a:gd name="connsiteX79" fmla="*/ 402177 w 474177"/>
                <a:gd name="connsiteY79" fmla="*/ 56316 h 419534"/>
                <a:gd name="connsiteX80" fmla="*/ 402177 w 474177"/>
                <a:gd name="connsiteY80" fmla="*/ 50362 h 419534"/>
                <a:gd name="connsiteX81" fmla="*/ 394044 w 474177"/>
                <a:gd name="connsiteY81" fmla="*/ 42235 h 419534"/>
                <a:gd name="connsiteX82" fmla="*/ 410649 w 474177"/>
                <a:gd name="connsiteY82" fmla="*/ 28368 h 419534"/>
                <a:gd name="connsiteX83" fmla="*/ 425805 w 474177"/>
                <a:gd name="connsiteY83" fmla="*/ 23290 h 419534"/>
                <a:gd name="connsiteX84" fmla="*/ 40775 w 474177"/>
                <a:gd name="connsiteY84" fmla="*/ 23276 h 419534"/>
                <a:gd name="connsiteX85" fmla="*/ 55888 w 474177"/>
                <a:gd name="connsiteY85" fmla="*/ 28355 h 419534"/>
                <a:gd name="connsiteX86" fmla="*/ 232667 w 474177"/>
                <a:gd name="connsiteY86" fmla="*/ 177000 h 419534"/>
                <a:gd name="connsiteX87" fmla="*/ 199590 w 474177"/>
                <a:gd name="connsiteY87" fmla="*/ 204623 h 419534"/>
                <a:gd name="connsiteX88" fmla="*/ 28841 w 474177"/>
                <a:gd name="connsiteY88" fmla="*/ 60556 h 419534"/>
                <a:gd name="connsiteX89" fmla="*/ 26269 w 474177"/>
                <a:gd name="connsiteY89" fmla="*/ 30879 h 419534"/>
                <a:gd name="connsiteX90" fmla="*/ 40775 w 474177"/>
                <a:gd name="connsiteY90" fmla="*/ 23276 h 419534"/>
                <a:gd name="connsiteX91" fmla="*/ 346701 w 474177"/>
                <a:gd name="connsiteY91" fmla="*/ 0 h 419534"/>
                <a:gd name="connsiteX92" fmla="*/ 355605 w 474177"/>
                <a:gd name="connsiteY92" fmla="*/ 3823 h 419534"/>
                <a:gd name="connsiteX93" fmla="*/ 394044 w 474177"/>
                <a:gd name="connsiteY93" fmla="*/ 42235 h 419534"/>
                <a:gd name="connsiteX94" fmla="*/ 374636 w 474177"/>
                <a:gd name="connsiteY94" fmla="*/ 58443 h 419534"/>
                <a:gd name="connsiteX95" fmla="*/ 337796 w 474177"/>
                <a:gd name="connsiteY95" fmla="*/ 21591 h 419534"/>
                <a:gd name="connsiteX96" fmla="*/ 337796 w 474177"/>
                <a:gd name="connsiteY96" fmla="*/ 3823 h 419534"/>
                <a:gd name="connsiteX97" fmla="*/ 346701 w 474177"/>
                <a:gd name="connsiteY97" fmla="*/ 0 h 419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474177" h="419534">
                  <a:moveTo>
                    <a:pt x="381028" y="267126"/>
                  </a:moveTo>
                  <a:cubicBezTo>
                    <a:pt x="348026" y="267126"/>
                    <a:pt x="321786" y="293416"/>
                    <a:pt x="321786" y="326422"/>
                  </a:cubicBezTo>
                  <a:cubicBezTo>
                    <a:pt x="321786" y="359428"/>
                    <a:pt x="348026" y="385671"/>
                    <a:pt x="381028" y="385671"/>
                  </a:cubicBezTo>
                  <a:cubicBezTo>
                    <a:pt x="414030" y="385671"/>
                    <a:pt x="440318" y="359428"/>
                    <a:pt x="440318" y="326422"/>
                  </a:cubicBezTo>
                  <a:cubicBezTo>
                    <a:pt x="440318" y="293416"/>
                    <a:pt x="414030" y="267126"/>
                    <a:pt x="381028" y="267126"/>
                  </a:cubicBezTo>
                  <a:close/>
                  <a:moveTo>
                    <a:pt x="93173" y="267104"/>
                  </a:moveTo>
                  <a:cubicBezTo>
                    <a:pt x="60115" y="267104"/>
                    <a:pt x="33868" y="293398"/>
                    <a:pt x="33868" y="326409"/>
                  </a:cubicBezTo>
                  <a:cubicBezTo>
                    <a:pt x="33868" y="359420"/>
                    <a:pt x="60115" y="385666"/>
                    <a:pt x="93173" y="385666"/>
                  </a:cubicBezTo>
                  <a:cubicBezTo>
                    <a:pt x="126183" y="385666"/>
                    <a:pt x="152430" y="359420"/>
                    <a:pt x="152430" y="326409"/>
                  </a:cubicBezTo>
                  <a:cubicBezTo>
                    <a:pt x="152430" y="293398"/>
                    <a:pt x="126183" y="267104"/>
                    <a:pt x="93173" y="267104"/>
                  </a:cubicBezTo>
                  <a:close/>
                  <a:moveTo>
                    <a:pt x="381028" y="233263"/>
                  </a:moveTo>
                  <a:cubicBezTo>
                    <a:pt x="432698" y="233263"/>
                    <a:pt x="474177" y="274746"/>
                    <a:pt x="474177" y="326422"/>
                  </a:cubicBezTo>
                  <a:cubicBezTo>
                    <a:pt x="474177" y="378050"/>
                    <a:pt x="432698" y="419534"/>
                    <a:pt x="381028" y="419534"/>
                  </a:cubicBezTo>
                  <a:cubicBezTo>
                    <a:pt x="329405" y="419534"/>
                    <a:pt x="287927" y="378050"/>
                    <a:pt x="287927" y="326422"/>
                  </a:cubicBezTo>
                  <a:cubicBezTo>
                    <a:pt x="287927" y="313503"/>
                    <a:pt x="290519" y="301221"/>
                    <a:pt x="295214" y="290065"/>
                  </a:cubicBezTo>
                  <a:lnTo>
                    <a:pt x="298380" y="285357"/>
                  </a:lnTo>
                  <a:lnTo>
                    <a:pt x="309676" y="288436"/>
                  </a:lnTo>
                  <a:cubicBezTo>
                    <a:pt x="315177" y="287906"/>
                    <a:pt x="320462" y="285369"/>
                    <a:pt x="324272" y="280725"/>
                  </a:cubicBezTo>
                  <a:cubicBezTo>
                    <a:pt x="328081" y="276485"/>
                    <a:pt x="329772" y="270984"/>
                    <a:pt x="329349" y="265690"/>
                  </a:cubicBezTo>
                  <a:lnTo>
                    <a:pt x="323395" y="254893"/>
                  </a:lnTo>
                  <a:lnTo>
                    <a:pt x="344703" y="240552"/>
                  </a:lnTo>
                  <a:cubicBezTo>
                    <a:pt x="355851" y="235855"/>
                    <a:pt x="368122" y="233263"/>
                    <a:pt x="381028" y="233263"/>
                  </a:cubicBezTo>
                  <a:close/>
                  <a:moveTo>
                    <a:pt x="93173" y="233236"/>
                  </a:moveTo>
                  <a:cubicBezTo>
                    <a:pt x="106082" y="233236"/>
                    <a:pt x="118357" y="235829"/>
                    <a:pt x="129507" y="240526"/>
                  </a:cubicBezTo>
                  <a:lnTo>
                    <a:pt x="144508" y="250622"/>
                  </a:lnTo>
                  <a:lnTo>
                    <a:pt x="143965" y="251075"/>
                  </a:lnTo>
                  <a:cubicBezTo>
                    <a:pt x="134678" y="258696"/>
                    <a:pt x="133821" y="272222"/>
                    <a:pt x="141441" y="280700"/>
                  </a:cubicBezTo>
                  <a:cubicBezTo>
                    <a:pt x="149060" y="289987"/>
                    <a:pt x="162585" y="290844"/>
                    <a:pt x="171919" y="284081"/>
                  </a:cubicBezTo>
                  <a:lnTo>
                    <a:pt x="173885" y="282428"/>
                  </a:lnTo>
                  <a:lnTo>
                    <a:pt x="179008" y="290047"/>
                  </a:lnTo>
                  <a:cubicBezTo>
                    <a:pt x="183705" y="301204"/>
                    <a:pt x="186298" y="313488"/>
                    <a:pt x="186298" y="326409"/>
                  </a:cubicBezTo>
                  <a:cubicBezTo>
                    <a:pt x="186298" y="378045"/>
                    <a:pt x="144808" y="419534"/>
                    <a:pt x="93173" y="419534"/>
                  </a:cubicBezTo>
                  <a:cubicBezTo>
                    <a:pt x="41490" y="419534"/>
                    <a:pt x="0" y="378045"/>
                    <a:pt x="0" y="326409"/>
                  </a:cubicBezTo>
                  <a:cubicBezTo>
                    <a:pt x="0" y="274726"/>
                    <a:pt x="41490" y="233236"/>
                    <a:pt x="93173" y="233236"/>
                  </a:cubicBezTo>
                  <a:close/>
                  <a:moveTo>
                    <a:pt x="265967" y="205002"/>
                  </a:moveTo>
                  <a:lnTo>
                    <a:pt x="321748" y="251906"/>
                  </a:lnTo>
                  <a:lnTo>
                    <a:pt x="323395" y="254893"/>
                  </a:lnTo>
                  <a:lnTo>
                    <a:pt x="315119" y="260464"/>
                  </a:lnTo>
                  <a:lnTo>
                    <a:pt x="298380" y="285357"/>
                  </a:lnTo>
                  <a:lnTo>
                    <a:pt x="293795" y="284107"/>
                  </a:lnTo>
                  <a:lnTo>
                    <a:pt x="232947" y="232767"/>
                  </a:lnTo>
                  <a:close/>
                  <a:moveTo>
                    <a:pt x="199590" y="204623"/>
                  </a:moveTo>
                  <a:lnTo>
                    <a:pt x="232947" y="232767"/>
                  </a:lnTo>
                  <a:lnTo>
                    <a:pt x="173885" y="282428"/>
                  </a:lnTo>
                  <a:lnTo>
                    <a:pt x="159099" y="260441"/>
                  </a:lnTo>
                  <a:lnTo>
                    <a:pt x="144508" y="250622"/>
                  </a:lnTo>
                  <a:close/>
                  <a:moveTo>
                    <a:pt x="265117" y="71012"/>
                  </a:moveTo>
                  <a:cubicBezTo>
                    <a:pt x="268390" y="70905"/>
                    <a:pt x="271771" y="71965"/>
                    <a:pt x="274319" y="74084"/>
                  </a:cubicBezTo>
                  <a:lnTo>
                    <a:pt x="311440" y="111217"/>
                  </a:lnTo>
                  <a:lnTo>
                    <a:pt x="291612" y="127776"/>
                  </a:lnTo>
                  <a:lnTo>
                    <a:pt x="256557" y="92710"/>
                  </a:lnTo>
                  <a:cubicBezTo>
                    <a:pt x="251462" y="87660"/>
                    <a:pt x="251462" y="80039"/>
                    <a:pt x="256557" y="74942"/>
                  </a:cubicBezTo>
                  <a:cubicBezTo>
                    <a:pt x="258676" y="72393"/>
                    <a:pt x="261843" y="71119"/>
                    <a:pt x="265117" y="71012"/>
                  </a:cubicBezTo>
                  <a:close/>
                  <a:moveTo>
                    <a:pt x="294653" y="35976"/>
                  </a:moveTo>
                  <a:cubicBezTo>
                    <a:pt x="298891" y="31737"/>
                    <a:pt x="307319" y="31737"/>
                    <a:pt x="312415" y="35976"/>
                  </a:cubicBezTo>
                  <a:lnTo>
                    <a:pt x="352965" y="76540"/>
                  </a:lnTo>
                  <a:lnTo>
                    <a:pt x="333604" y="92708"/>
                  </a:lnTo>
                  <a:lnTo>
                    <a:pt x="294653" y="53744"/>
                  </a:lnTo>
                  <a:cubicBezTo>
                    <a:pt x="289557" y="48695"/>
                    <a:pt x="289557" y="41073"/>
                    <a:pt x="294653" y="35976"/>
                  </a:cubicBezTo>
                  <a:close/>
                  <a:moveTo>
                    <a:pt x="425805" y="23290"/>
                  </a:moveTo>
                  <a:cubicBezTo>
                    <a:pt x="431210" y="23713"/>
                    <a:pt x="436508" y="26249"/>
                    <a:pt x="440318" y="30893"/>
                  </a:cubicBezTo>
                  <a:cubicBezTo>
                    <a:pt x="447937" y="39370"/>
                    <a:pt x="447080" y="52944"/>
                    <a:pt x="437746" y="60565"/>
                  </a:cubicBezTo>
                  <a:lnTo>
                    <a:pt x="265967" y="205002"/>
                  </a:lnTo>
                  <a:lnTo>
                    <a:pt x="232667" y="177000"/>
                  </a:lnTo>
                  <a:lnTo>
                    <a:pt x="291612" y="127776"/>
                  </a:lnTo>
                  <a:lnTo>
                    <a:pt x="303129" y="139297"/>
                  </a:lnTo>
                  <a:cubicBezTo>
                    <a:pt x="304795" y="141011"/>
                    <a:pt x="307319" y="141011"/>
                    <a:pt x="309034" y="139297"/>
                  </a:cubicBezTo>
                  <a:lnTo>
                    <a:pt x="320891" y="126578"/>
                  </a:lnTo>
                  <a:cubicBezTo>
                    <a:pt x="322558" y="124911"/>
                    <a:pt x="322558" y="122339"/>
                    <a:pt x="320891" y="120671"/>
                  </a:cubicBezTo>
                  <a:lnTo>
                    <a:pt x="311440" y="111217"/>
                  </a:lnTo>
                  <a:lnTo>
                    <a:pt x="333604" y="92708"/>
                  </a:lnTo>
                  <a:lnTo>
                    <a:pt x="341224" y="100331"/>
                  </a:lnTo>
                  <a:cubicBezTo>
                    <a:pt x="342891" y="102046"/>
                    <a:pt x="345415" y="102046"/>
                    <a:pt x="347129" y="100331"/>
                  </a:cubicBezTo>
                  <a:lnTo>
                    <a:pt x="358986" y="88470"/>
                  </a:lnTo>
                  <a:cubicBezTo>
                    <a:pt x="360653" y="86803"/>
                    <a:pt x="360653" y="84231"/>
                    <a:pt x="358986" y="82563"/>
                  </a:cubicBezTo>
                  <a:lnTo>
                    <a:pt x="352965" y="76540"/>
                  </a:lnTo>
                  <a:lnTo>
                    <a:pt x="374636" y="58443"/>
                  </a:lnTo>
                  <a:lnTo>
                    <a:pt x="384368" y="68178"/>
                  </a:lnTo>
                  <a:cubicBezTo>
                    <a:pt x="386082" y="69845"/>
                    <a:pt x="388606" y="69845"/>
                    <a:pt x="390320" y="68178"/>
                  </a:cubicBezTo>
                  <a:lnTo>
                    <a:pt x="402177" y="56316"/>
                  </a:lnTo>
                  <a:cubicBezTo>
                    <a:pt x="403844" y="54602"/>
                    <a:pt x="403844" y="52077"/>
                    <a:pt x="402177" y="50362"/>
                  </a:cubicBezTo>
                  <a:lnTo>
                    <a:pt x="394044" y="42235"/>
                  </a:lnTo>
                  <a:lnTo>
                    <a:pt x="410649" y="28368"/>
                  </a:lnTo>
                  <a:cubicBezTo>
                    <a:pt x="414887" y="24558"/>
                    <a:pt x="420400" y="22867"/>
                    <a:pt x="425805" y="23290"/>
                  </a:cubicBezTo>
                  <a:close/>
                  <a:moveTo>
                    <a:pt x="40775" y="23276"/>
                  </a:moveTo>
                  <a:cubicBezTo>
                    <a:pt x="46174" y="22853"/>
                    <a:pt x="51674" y="24544"/>
                    <a:pt x="55888" y="28355"/>
                  </a:cubicBezTo>
                  <a:lnTo>
                    <a:pt x="232667" y="177000"/>
                  </a:lnTo>
                  <a:lnTo>
                    <a:pt x="199590" y="204623"/>
                  </a:lnTo>
                  <a:lnTo>
                    <a:pt x="28841" y="60556"/>
                  </a:lnTo>
                  <a:cubicBezTo>
                    <a:pt x="19507" y="52934"/>
                    <a:pt x="18650" y="39358"/>
                    <a:pt x="26269" y="30879"/>
                  </a:cubicBezTo>
                  <a:cubicBezTo>
                    <a:pt x="30079" y="26235"/>
                    <a:pt x="35376" y="23698"/>
                    <a:pt x="40775" y="23276"/>
                  </a:cubicBezTo>
                  <a:close/>
                  <a:moveTo>
                    <a:pt x="346701" y="0"/>
                  </a:moveTo>
                  <a:cubicBezTo>
                    <a:pt x="349879" y="0"/>
                    <a:pt x="353058" y="1274"/>
                    <a:pt x="355605" y="3823"/>
                  </a:cubicBezTo>
                  <a:lnTo>
                    <a:pt x="394044" y="42235"/>
                  </a:lnTo>
                  <a:lnTo>
                    <a:pt x="374636" y="58443"/>
                  </a:lnTo>
                  <a:lnTo>
                    <a:pt x="337796" y="21591"/>
                  </a:lnTo>
                  <a:cubicBezTo>
                    <a:pt x="332748" y="16494"/>
                    <a:pt x="332748" y="8872"/>
                    <a:pt x="337796" y="3823"/>
                  </a:cubicBezTo>
                  <a:cubicBezTo>
                    <a:pt x="340343" y="1274"/>
                    <a:pt x="343522" y="0"/>
                    <a:pt x="346701" y="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3" name="iconfont-11894-5689857"/>
            <p:cNvSpPr>
              <a:spLocks noChangeAspect="1"/>
            </p:cNvSpPr>
            <p:nvPr userDrawn="1"/>
          </p:nvSpPr>
          <p:spPr bwMode="auto">
            <a:xfrm>
              <a:off x="17214969" y="3124157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3" name="iconfont-11894-5689857"/>
            <p:cNvSpPr>
              <a:spLocks noChangeAspect="1"/>
            </p:cNvSpPr>
            <p:nvPr userDrawn="1"/>
          </p:nvSpPr>
          <p:spPr bwMode="auto">
            <a:xfrm>
              <a:off x="18434041" y="3124157"/>
              <a:ext cx="609685" cy="609685"/>
            </a:xfrm>
            <a:custGeom>
              <a:avLst/>
              <a:gdLst>
                <a:gd name="T0" fmla="*/ 12800 w 12800"/>
                <a:gd name="T1" fmla="*/ 11360 h 12800"/>
                <a:gd name="T2" fmla="*/ 11360 w 12800"/>
                <a:gd name="T3" fmla="*/ 12800 h 12800"/>
                <a:gd name="T4" fmla="*/ 1440 w 12800"/>
                <a:gd name="T5" fmla="*/ 12800 h 12800"/>
                <a:gd name="T6" fmla="*/ 0 w 12800"/>
                <a:gd name="T7" fmla="*/ 11360 h 12800"/>
                <a:gd name="T8" fmla="*/ 0 w 12800"/>
                <a:gd name="T9" fmla="*/ 1440 h 12800"/>
                <a:gd name="T10" fmla="*/ 1440 w 12800"/>
                <a:gd name="T11" fmla="*/ 0 h 12800"/>
                <a:gd name="T12" fmla="*/ 11360 w 12800"/>
                <a:gd name="T13" fmla="*/ 0 h 12800"/>
                <a:gd name="T14" fmla="*/ 12800 w 12800"/>
                <a:gd name="T15" fmla="*/ 1440 h 12800"/>
                <a:gd name="T16" fmla="*/ 12800 w 12800"/>
                <a:gd name="T17" fmla="*/ 11360 h 12800"/>
                <a:gd name="T18" fmla="*/ 1600 w 12800"/>
                <a:gd name="T19" fmla="*/ 800 h 12800"/>
                <a:gd name="T20" fmla="*/ 800 w 12800"/>
                <a:gd name="T21" fmla="*/ 1600 h 12800"/>
                <a:gd name="T22" fmla="*/ 800 w 12800"/>
                <a:gd name="T23" fmla="*/ 11200 h 12800"/>
                <a:gd name="T24" fmla="*/ 1680 w 12800"/>
                <a:gd name="T25" fmla="*/ 12000 h 12800"/>
                <a:gd name="T26" fmla="*/ 11200 w 12800"/>
                <a:gd name="T27" fmla="*/ 12000 h 12800"/>
                <a:gd name="T28" fmla="*/ 12000 w 12800"/>
                <a:gd name="T29" fmla="*/ 11280 h 12800"/>
                <a:gd name="T30" fmla="*/ 12000 w 12800"/>
                <a:gd name="T31" fmla="*/ 1600 h 12800"/>
                <a:gd name="T32" fmla="*/ 11200 w 12800"/>
                <a:gd name="T33" fmla="*/ 800 h 12800"/>
                <a:gd name="T34" fmla="*/ 1600 w 12800"/>
                <a:gd name="T35" fmla="*/ 800 h 12800"/>
                <a:gd name="T36" fmla="*/ 4800 w 12800"/>
                <a:gd name="T37" fmla="*/ 4160 h 12800"/>
                <a:gd name="T38" fmla="*/ 9280 w 12800"/>
                <a:gd name="T39" fmla="*/ 6400 h 12800"/>
                <a:gd name="T40" fmla="*/ 4800 w 12800"/>
                <a:gd name="T41" fmla="*/ 8640 h 12800"/>
                <a:gd name="T42" fmla="*/ 4800 w 12800"/>
                <a:gd name="T43" fmla="*/ 416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800" h="12800">
                  <a:moveTo>
                    <a:pt x="12800" y="11360"/>
                  </a:moveTo>
                  <a:cubicBezTo>
                    <a:pt x="12800" y="12155"/>
                    <a:pt x="12155" y="12800"/>
                    <a:pt x="11360" y="12800"/>
                  </a:cubicBezTo>
                  <a:lnTo>
                    <a:pt x="1440" y="12800"/>
                  </a:lnTo>
                  <a:cubicBezTo>
                    <a:pt x="645" y="12800"/>
                    <a:pt x="0" y="12155"/>
                    <a:pt x="0" y="11360"/>
                  </a:cubicBezTo>
                  <a:lnTo>
                    <a:pt x="0" y="1440"/>
                  </a:lnTo>
                  <a:cubicBezTo>
                    <a:pt x="0" y="645"/>
                    <a:pt x="645" y="0"/>
                    <a:pt x="1440" y="0"/>
                  </a:cubicBezTo>
                  <a:lnTo>
                    <a:pt x="11360" y="0"/>
                  </a:lnTo>
                  <a:cubicBezTo>
                    <a:pt x="12155" y="0"/>
                    <a:pt x="12800" y="645"/>
                    <a:pt x="12800" y="1440"/>
                  </a:cubicBezTo>
                  <a:lnTo>
                    <a:pt x="12800" y="11360"/>
                  </a:lnTo>
                  <a:close/>
                  <a:moveTo>
                    <a:pt x="1600" y="800"/>
                  </a:moveTo>
                  <a:cubicBezTo>
                    <a:pt x="1120" y="800"/>
                    <a:pt x="800" y="1120"/>
                    <a:pt x="800" y="1600"/>
                  </a:cubicBezTo>
                  <a:lnTo>
                    <a:pt x="800" y="11200"/>
                  </a:lnTo>
                  <a:cubicBezTo>
                    <a:pt x="800" y="11680"/>
                    <a:pt x="1120" y="12000"/>
                    <a:pt x="1680" y="12000"/>
                  </a:cubicBezTo>
                  <a:lnTo>
                    <a:pt x="11200" y="12000"/>
                  </a:lnTo>
                  <a:cubicBezTo>
                    <a:pt x="11680" y="12000"/>
                    <a:pt x="12000" y="11760"/>
                    <a:pt x="12000" y="11280"/>
                  </a:cubicBezTo>
                  <a:lnTo>
                    <a:pt x="12000" y="1600"/>
                  </a:lnTo>
                  <a:cubicBezTo>
                    <a:pt x="12000" y="1120"/>
                    <a:pt x="11680" y="800"/>
                    <a:pt x="11200" y="800"/>
                  </a:cubicBezTo>
                  <a:lnTo>
                    <a:pt x="1600" y="800"/>
                  </a:lnTo>
                  <a:close/>
                  <a:moveTo>
                    <a:pt x="4800" y="4160"/>
                  </a:moveTo>
                  <a:lnTo>
                    <a:pt x="9280" y="6400"/>
                  </a:lnTo>
                  <a:lnTo>
                    <a:pt x="4800" y="8640"/>
                  </a:lnTo>
                  <a:lnTo>
                    <a:pt x="4800" y="416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5" name="iconfont-11894-5689857"/>
            <p:cNvSpPr>
              <a:spLocks noChangeAspect="1"/>
            </p:cNvSpPr>
            <p:nvPr userDrawn="1"/>
          </p:nvSpPr>
          <p:spPr bwMode="auto">
            <a:xfrm>
              <a:off x="19746077" y="3124157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1" name="iconfont-11894-5689857"/>
            <p:cNvSpPr>
              <a:spLocks noChangeAspect="1"/>
            </p:cNvSpPr>
            <p:nvPr userDrawn="1"/>
          </p:nvSpPr>
          <p:spPr bwMode="auto">
            <a:xfrm>
              <a:off x="20909778" y="3124157"/>
              <a:ext cx="535687" cy="609685"/>
            </a:xfrm>
            <a:custGeom>
              <a:avLst/>
              <a:gdLst>
                <a:gd name="T0" fmla="*/ 10960 w 11160"/>
                <a:gd name="T1" fmla="*/ 5780 h 12700"/>
                <a:gd name="T2" fmla="*/ 200 w 11160"/>
                <a:gd name="T3" fmla="*/ 5780 h 12700"/>
                <a:gd name="T4" fmla="*/ 60 w 11160"/>
                <a:gd name="T5" fmla="*/ 5720 h 12700"/>
                <a:gd name="T6" fmla="*/ 0 w 11160"/>
                <a:gd name="T7" fmla="*/ 5580 h 12700"/>
                <a:gd name="T8" fmla="*/ 1680 w 11160"/>
                <a:gd name="T9" fmla="*/ 1630 h 12700"/>
                <a:gd name="T10" fmla="*/ 5580 w 11160"/>
                <a:gd name="T11" fmla="*/ 0 h 12700"/>
                <a:gd name="T12" fmla="*/ 9480 w 11160"/>
                <a:gd name="T13" fmla="*/ 1630 h 12700"/>
                <a:gd name="T14" fmla="*/ 11160 w 11160"/>
                <a:gd name="T15" fmla="*/ 5580 h 12700"/>
                <a:gd name="T16" fmla="*/ 11100 w 11160"/>
                <a:gd name="T17" fmla="*/ 5720 h 12700"/>
                <a:gd name="T18" fmla="*/ 10960 w 11160"/>
                <a:gd name="T19" fmla="*/ 5780 h 12700"/>
                <a:gd name="T20" fmla="*/ 410 w 11160"/>
                <a:gd name="T21" fmla="*/ 5380 h 12700"/>
                <a:gd name="T22" fmla="*/ 10760 w 11160"/>
                <a:gd name="T23" fmla="*/ 5380 h 12700"/>
                <a:gd name="T24" fmla="*/ 5580 w 11160"/>
                <a:gd name="T25" fmla="*/ 400 h 12700"/>
                <a:gd name="T26" fmla="*/ 410 w 11160"/>
                <a:gd name="T27" fmla="*/ 5380 h 12700"/>
                <a:gd name="T28" fmla="*/ 5580 w 11160"/>
                <a:gd name="T29" fmla="*/ 12700 h 12700"/>
                <a:gd name="T30" fmla="*/ 5380 w 11160"/>
                <a:gd name="T31" fmla="*/ 12500 h 12700"/>
                <a:gd name="T32" fmla="*/ 5380 w 11160"/>
                <a:gd name="T33" fmla="*/ 5580 h 12700"/>
                <a:gd name="T34" fmla="*/ 5580 w 11160"/>
                <a:gd name="T35" fmla="*/ 5380 h 12700"/>
                <a:gd name="T36" fmla="*/ 5780 w 11160"/>
                <a:gd name="T37" fmla="*/ 5580 h 12700"/>
                <a:gd name="T38" fmla="*/ 5780 w 11160"/>
                <a:gd name="T39" fmla="*/ 12500 h 12700"/>
                <a:gd name="T40" fmla="*/ 5580 w 11160"/>
                <a:gd name="T41" fmla="*/ 12700 h 12700"/>
                <a:gd name="T42" fmla="*/ 7850 w 11160"/>
                <a:gd name="T43" fmla="*/ 12700 h 12700"/>
                <a:gd name="T44" fmla="*/ 3310 w 11160"/>
                <a:gd name="T45" fmla="*/ 12700 h 12700"/>
                <a:gd name="T46" fmla="*/ 3110 w 11160"/>
                <a:gd name="T47" fmla="*/ 12500 h 12700"/>
                <a:gd name="T48" fmla="*/ 3310 w 11160"/>
                <a:gd name="T49" fmla="*/ 12300 h 12700"/>
                <a:gd name="T50" fmla="*/ 7850 w 11160"/>
                <a:gd name="T51" fmla="*/ 12300 h 12700"/>
                <a:gd name="T52" fmla="*/ 8050 w 11160"/>
                <a:gd name="T53" fmla="*/ 12500 h 12700"/>
                <a:gd name="T54" fmla="*/ 7850 w 11160"/>
                <a:gd name="T55" fmla="*/ 12700 h 12700"/>
                <a:gd name="T56" fmla="*/ 8270 w 11160"/>
                <a:gd name="T57" fmla="*/ 5680 h 12700"/>
                <a:gd name="T58" fmla="*/ 2890 w 11160"/>
                <a:gd name="T59" fmla="*/ 5680 h 12700"/>
                <a:gd name="T60" fmla="*/ 2820 w 11160"/>
                <a:gd name="T61" fmla="*/ 5650 h 12700"/>
                <a:gd name="T62" fmla="*/ 2790 w 11160"/>
                <a:gd name="T63" fmla="*/ 5580 h 12700"/>
                <a:gd name="T64" fmla="*/ 5580 w 11160"/>
                <a:gd name="T65" fmla="*/ 100 h 12700"/>
                <a:gd name="T66" fmla="*/ 8370 w 11160"/>
                <a:gd name="T67" fmla="*/ 5580 h 12700"/>
                <a:gd name="T68" fmla="*/ 8340 w 11160"/>
                <a:gd name="T69" fmla="*/ 5650 h 12700"/>
                <a:gd name="T70" fmla="*/ 8270 w 11160"/>
                <a:gd name="T71" fmla="*/ 5680 h 12700"/>
                <a:gd name="T72" fmla="*/ 2990 w 11160"/>
                <a:gd name="T73" fmla="*/ 5480 h 12700"/>
                <a:gd name="T74" fmla="*/ 8170 w 11160"/>
                <a:gd name="T75" fmla="*/ 5480 h 12700"/>
                <a:gd name="T76" fmla="*/ 5580 w 11160"/>
                <a:gd name="T77" fmla="*/ 300 h 12700"/>
                <a:gd name="T78" fmla="*/ 2990 w 11160"/>
                <a:gd name="T79" fmla="*/ 5480 h 1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160" h="12700">
                  <a:moveTo>
                    <a:pt x="10960" y="5780"/>
                  </a:moveTo>
                  <a:lnTo>
                    <a:pt x="200" y="5780"/>
                  </a:lnTo>
                  <a:cubicBezTo>
                    <a:pt x="150" y="5780"/>
                    <a:pt x="90" y="5760"/>
                    <a:pt x="60" y="5720"/>
                  </a:cubicBezTo>
                  <a:cubicBezTo>
                    <a:pt x="20" y="5680"/>
                    <a:pt x="0" y="5630"/>
                    <a:pt x="0" y="5580"/>
                  </a:cubicBezTo>
                  <a:cubicBezTo>
                    <a:pt x="40" y="4080"/>
                    <a:pt x="640" y="2680"/>
                    <a:pt x="1680" y="1630"/>
                  </a:cubicBezTo>
                  <a:cubicBezTo>
                    <a:pt x="2730" y="580"/>
                    <a:pt x="4110" y="0"/>
                    <a:pt x="5580" y="0"/>
                  </a:cubicBezTo>
                  <a:cubicBezTo>
                    <a:pt x="7050" y="0"/>
                    <a:pt x="8430" y="580"/>
                    <a:pt x="9480" y="1630"/>
                  </a:cubicBezTo>
                  <a:cubicBezTo>
                    <a:pt x="10530" y="2680"/>
                    <a:pt x="11120" y="4080"/>
                    <a:pt x="11160" y="5580"/>
                  </a:cubicBezTo>
                  <a:cubicBezTo>
                    <a:pt x="11160" y="5630"/>
                    <a:pt x="11140" y="5690"/>
                    <a:pt x="11100" y="5720"/>
                  </a:cubicBezTo>
                  <a:cubicBezTo>
                    <a:pt x="11070" y="5760"/>
                    <a:pt x="11020" y="5780"/>
                    <a:pt x="10960" y="5780"/>
                  </a:cubicBezTo>
                  <a:close/>
                  <a:moveTo>
                    <a:pt x="410" y="5380"/>
                  </a:moveTo>
                  <a:lnTo>
                    <a:pt x="10760" y="5380"/>
                  </a:lnTo>
                  <a:cubicBezTo>
                    <a:pt x="10580" y="2570"/>
                    <a:pt x="8350" y="400"/>
                    <a:pt x="5580" y="400"/>
                  </a:cubicBezTo>
                  <a:cubicBezTo>
                    <a:pt x="2810" y="400"/>
                    <a:pt x="580" y="2570"/>
                    <a:pt x="410" y="5380"/>
                  </a:cubicBezTo>
                  <a:close/>
                  <a:moveTo>
                    <a:pt x="5580" y="12700"/>
                  </a:moveTo>
                  <a:cubicBezTo>
                    <a:pt x="5470" y="12700"/>
                    <a:pt x="5380" y="12610"/>
                    <a:pt x="5380" y="12500"/>
                  </a:cubicBezTo>
                  <a:lnTo>
                    <a:pt x="5380" y="5580"/>
                  </a:lnTo>
                  <a:cubicBezTo>
                    <a:pt x="5380" y="5470"/>
                    <a:pt x="5470" y="5380"/>
                    <a:pt x="5580" y="5380"/>
                  </a:cubicBezTo>
                  <a:cubicBezTo>
                    <a:pt x="5690" y="5380"/>
                    <a:pt x="5780" y="5470"/>
                    <a:pt x="5780" y="5580"/>
                  </a:cubicBezTo>
                  <a:lnTo>
                    <a:pt x="5780" y="12500"/>
                  </a:lnTo>
                  <a:cubicBezTo>
                    <a:pt x="5780" y="12610"/>
                    <a:pt x="5690" y="12700"/>
                    <a:pt x="5580" y="12700"/>
                  </a:cubicBezTo>
                  <a:close/>
                  <a:moveTo>
                    <a:pt x="7850" y="12700"/>
                  </a:moveTo>
                  <a:lnTo>
                    <a:pt x="3310" y="12700"/>
                  </a:lnTo>
                  <a:cubicBezTo>
                    <a:pt x="3200" y="12700"/>
                    <a:pt x="3110" y="12610"/>
                    <a:pt x="3110" y="12500"/>
                  </a:cubicBezTo>
                  <a:cubicBezTo>
                    <a:pt x="3110" y="12390"/>
                    <a:pt x="3200" y="12300"/>
                    <a:pt x="3310" y="12300"/>
                  </a:cubicBezTo>
                  <a:lnTo>
                    <a:pt x="7850" y="12300"/>
                  </a:lnTo>
                  <a:cubicBezTo>
                    <a:pt x="7960" y="12300"/>
                    <a:pt x="8050" y="12390"/>
                    <a:pt x="8050" y="12500"/>
                  </a:cubicBezTo>
                  <a:cubicBezTo>
                    <a:pt x="8050" y="12610"/>
                    <a:pt x="7960" y="12700"/>
                    <a:pt x="7850" y="12700"/>
                  </a:cubicBezTo>
                  <a:close/>
                  <a:moveTo>
                    <a:pt x="8270" y="5680"/>
                  </a:moveTo>
                  <a:lnTo>
                    <a:pt x="2890" y="5680"/>
                  </a:lnTo>
                  <a:cubicBezTo>
                    <a:pt x="2860" y="5680"/>
                    <a:pt x="2840" y="5670"/>
                    <a:pt x="2820" y="5650"/>
                  </a:cubicBezTo>
                  <a:cubicBezTo>
                    <a:pt x="2800" y="5630"/>
                    <a:pt x="2790" y="5610"/>
                    <a:pt x="2790" y="5580"/>
                  </a:cubicBezTo>
                  <a:cubicBezTo>
                    <a:pt x="2830" y="2510"/>
                    <a:pt x="4050" y="100"/>
                    <a:pt x="5580" y="100"/>
                  </a:cubicBezTo>
                  <a:cubicBezTo>
                    <a:pt x="7110" y="100"/>
                    <a:pt x="8330" y="2510"/>
                    <a:pt x="8370" y="5580"/>
                  </a:cubicBezTo>
                  <a:cubicBezTo>
                    <a:pt x="8370" y="5610"/>
                    <a:pt x="8360" y="5630"/>
                    <a:pt x="8340" y="5650"/>
                  </a:cubicBezTo>
                  <a:cubicBezTo>
                    <a:pt x="8320" y="5670"/>
                    <a:pt x="8300" y="5680"/>
                    <a:pt x="8270" y="5680"/>
                  </a:cubicBezTo>
                  <a:close/>
                  <a:moveTo>
                    <a:pt x="2990" y="5480"/>
                  </a:moveTo>
                  <a:lnTo>
                    <a:pt x="8170" y="5480"/>
                  </a:lnTo>
                  <a:cubicBezTo>
                    <a:pt x="8110" y="2620"/>
                    <a:pt x="6960" y="300"/>
                    <a:pt x="5580" y="300"/>
                  </a:cubicBezTo>
                  <a:cubicBezTo>
                    <a:pt x="4200" y="300"/>
                    <a:pt x="3050" y="2620"/>
                    <a:pt x="2990" y="548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7" name="iconfont-11894-5689857"/>
            <p:cNvSpPr>
              <a:spLocks noChangeAspect="1"/>
            </p:cNvSpPr>
            <p:nvPr userDrawn="1"/>
          </p:nvSpPr>
          <p:spPr bwMode="auto">
            <a:xfrm>
              <a:off x="22092150" y="3130556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68" name="iconfont-11894-5689857"/>
            <p:cNvSpPr>
              <a:spLocks noChangeAspect="1"/>
            </p:cNvSpPr>
            <p:nvPr userDrawn="1"/>
          </p:nvSpPr>
          <p:spPr bwMode="auto">
            <a:xfrm>
              <a:off x="23401954" y="3124157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69" name="iconfont-11894-5689857"/>
            <p:cNvSpPr>
              <a:spLocks noChangeAspect="1"/>
            </p:cNvSpPr>
            <p:nvPr userDrawn="1"/>
          </p:nvSpPr>
          <p:spPr bwMode="auto">
            <a:xfrm>
              <a:off x="24530889" y="312415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370" name="iconfont-11894-5689857"/>
            <p:cNvSpPr>
              <a:spLocks noChangeAspect="1"/>
            </p:cNvSpPr>
            <p:nvPr userDrawn="1"/>
          </p:nvSpPr>
          <p:spPr bwMode="auto">
            <a:xfrm>
              <a:off x="25750260" y="3193410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71" name="iconfont-11894-5689857"/>
            <p:cNvSpPr>
              <a:spLocks noChangeAspect="1"/>
            </p:cNvSpPr>
            <p:nvPr userDrawn="1"/>
          </p:nvSpPr>
          <p:spPr bwMode="auto">
            <a:xfrm>
              <a:off x="26969630" y="3130259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2" name="iconfont-11894-5689857"/>
            <p:cNvSpPr>
              <a:spLocks noChangeAspect="1"/>
            </p:cNvSpPr>
            <p:nvPr userDrawn="1"/>
          </p:nvSpPr>
          <p:spPr bwMode="auto">
            <a:xfrm>
              <a:off x="28188999" y="3124157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74" name="iconfont-11894-5689857"/>
            <p:cNvSpPr>
              <a:spLocks noChangeAspect="1"/>
            </p:cNvSpPr>
            <p:nvPr userDrawn="1"/>
          </p:nvSpPr>
          <p:spPr bwMode="auto">
            <a:xfrm>
              <a:off x="13556559" y="459457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375" name="iconfont-11894-5689857"/>
            <p:cNvSpPr>
              <a:spLocks noChangeAspect="1"/>
            </p:cNvSpPr>
            <p:nvPr userDrawn="1"/>
          </p:nvSpPr>
          <p:spPr bwMode="auto">
            <a:xfrm>
              <a:off x="14775929" y="4630243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76" name="iconfont-11894-5689857"/>
            <p:cNvSpPr>
              <a:spLocks noChangeAspect="1"/>
            </p:cNvSpPr>
            <p:nvPr userDrawn="1"/>
          </p:nvSpPr>
          <p:spPr bwMode="auto">
            <a:xfrm>
              <a:off x="15995299" y="4617245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7" name="iconfont-11894-5689857"/>
            <p:cNvSpPr>
              <a:spLocks noChangeAspect="1"/>
            </p:cNvSpPr>
            <p:nvPr userDrawn="1"/>
          </p:nvSpPr>
          <p:spPr bwMode="auto">
            <a:xfrm>
              <a:off x="17214969" y="459457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8" name="iconfont-11894-5689857"/>
            <p:cNvSpPr>
              <a:spLocks noChangeAspect="1"/>
            </p:cNvSpPr>
            <p:nvPr userDrawn="1"/>
          </p:nvSpPr>
          <p:spPr bwMode="auto">
            <a:xfrm>
              <a:off x="18434538" y="4594574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3" name="iconfont-11894-5689857"/>
            <p:cNvSpPr>
              <a:spLocks noChangeAspect="1"/>
            </p:cNvSpPr>
            <p:nvPr userDrawn="1"/>
          </p:nvSpPr>
          <p:spPr bwMode="auto">
            <a:xfrm>
              <a:off x="19653408" y="4670772"/>
              <a:ext cx="609685" cy="457288"/>
            </a:xfrm>
            <a:custGeom>
              <a:avLst/>
              <a:gdLst>
                <a:gd name="T0" fmla="*/ 5520 w 12800"/>
                <a:gd name="T1" fmla="*/ 1120 h 9600"/>
                <a:gd name="T2" fmla="*/ 5680 w 12800"/>
                <a:gd name="T3" fmla="*/ 160 h 9600"/>
                <a:gd name="T4" fmla="*/ 9440 w 12800"/>
                <a:gd name="T5" fmla="*/ 640 h 9600"/>
                <a:gd name="T6" fmla="*/ 12080 w 12800"/>
                <a:gd name="T7" fmla="*/ 1600 h 9600"/>
                <a:gd name="T8" fmla="*/ 8880 w 12800"/>
                <a:gd name="T9" fmla="*/ 6880 h 9600"/>
                <a:gd name="T10" fmla="*/ 8720 w 12800"/>
                <a:gd name="T11" fmla="*/ 8400 h 9600"/>
                <a:gd name="T12" fmla="*/ 6560 w 12800"/>
                <a:gd name="T13" fmla="*/ 9040 h 9600"/>
                <a:gd name="T14" fmla="*/ 4720 w 12800"/>
                <a:gd name="T15" fmla="*/ 8080 h 9600"/>
                <a:gd name="T16" fmla="*/ 4080 w 12800"/>
                <a:gd name="T17" fmla="*/ 8640 h 9600"/>
                <a:gd name="T18" fmla="*/ 2080 w 12800"/>
                <a:gd name="T19" fmla="*/ 8400 h 9600"/>
                <a:gd name="T20" fmla="*/ 1280 w 12800"/>
                <a:gd name="T21" fmla="*/ 6400 h 9600"/>
                <a:gd name="T22" fmla="*/ 720 w 12800"/>
                <a:gd name="T23" fmla="*/ 4160 h 9600"/>
                <a:gd name="T24" fmla="*/ 1520 w 12800"/>
                <a:gd name="T25" fmla="*/ 2960 h 9600"/>
                <a:gd name="T26" fmla="*/ 1360 w 12800"/>
                <a:gd name="T27" fmla="*/ 3920 h 9600"/>
                <a:gd name="T28" fmla="*/ 5120 w 12800"/>
                <a:gd name="T29" fmla="*/ 1600 h 9600"/>
                <a:gd name="T30" fmla="*/ 6160 w 12800"/>
                <a:gd name="T31" fmla="*/ 1360 h 9600"/>
                <a:gd name="T32" fmla="*/ 5360 w 12800"/>
                <a:gd name="T33" fmla="*/ 1840 h 9600"/>
                <a:gd name="T34" fmla="*/ 4800 w 12800"/>
                <a:gd name="T35" fmla="*/ 4240 h 9600"/>
                <a:gd name="T36" fmla="*/ 6480 w 12800"/>
                <a:gd name="T37" fmla="*/ 5520 h 9600"/>
                <a:gd name="T38" fmla="*/ 6800 w 12800"/>
                <a:gd name="T39" fmla="*/ 5840 h 9600"/>
                <a:gd name="T40" fmla="*/ 3920 w 12800"/>
                <a:gd name="T41" fmla="*/ 5440 h 9600"/>
                <a:gd name="T42" fmla="*/ 1840 w 12800"/>
                <a:gd name="T43" fmla="*/ 4480 h 9600"/>
                <a:gd name="T44" fmla="*/ 2320 w 12800"/>
                <a:gd name="T45" fmla="*/ 8800 h 9600"/>
                <a:gd name="T46" fmla="*/ 3760 w 12800"/>
                <a:gd name="T47" fmla="*/ 8160 h 9600"/>
                <a:gd name="T48" fmla="*/ 5520 w 12800"/>
                <a:gd name="T49" fmla="*/ 7440 h 9600"/>
                <a:gd name="T50" fmla="*/ 5840 w 12800"/>
                <a:gd name="T51" fmla="*/ 7680 h 9600"/>
                <a:gd name="T52" fmla="*/ 5040 w 12800"/>
                <a:gd name="T53" fmla="*/ 8160 h 9600"/>
                <a:gd name="T54" fmla="*/ 6320 w 12800"/>
                <a:gd name="T55" fmla="*/ 8720 h 9600"/>
                <a:gd name="T56" fmla="*/ 7520 w 12800"/>
                <a:gd name="T57" fmla="*/ 7520 h 9600"/>
                <a:gd name="T58" fmla="*/ 8320 w 12800"/>
                <a:gd name="T59" fmla="*/ 5920 h 9600"/>
                <a:gd name="T60" fmla="*/ 8800 w 12800"/>
                <a:gd name="T61" fmla="*/ 5280 h 9600"/>
                <a:gd name="T62" fmla="*/ 8400 w 12800"/>
                <a:gd name="T63" fmla="*/ 5680 h 9600"/>
                <a:gd name="T64" fmla="*/ 9120 w 12800"/>
                <a:gd name="T65" fmla="*/ 5120 h 9600"/>
                <a:gd name="T66" fmla="*/ 12080 w 12800"/>
                <a:gd name="T67" fmla="*/ 2080 h 9600"/>
                <a:gd name="T68" fmla="*/ 10720 w 12800"/>
                <a:gd name="T69" fmla="*/ 4160 h 9600"/>
                <a:gd name="T70" fmla="*/ 10480 w 12800"/>
                <a:gd name="T71" fmla="*/ 3280 h 9600"/>
                <a:gd name="T72" fmla="*/ 10240 w 12800"/>
                <a:gd name="T73" fmla="*/ 3200 h 9600"/>
                <a:gd name="T74" fmla="*/ 10240 w 12800"/>
                <a:gd name="T75" fmla="*/ 2800 h 9600"/>
                <a:gd name="T76" fmla="*/ 10160 w 12800"/>
                <a:gd name="T77" fmla="*/ 2480 h 9600"/>
                <a:gd name="T78" fmla="*/ 10320 w 12800"/>
                <a:gd name="T79" fmla="*/ 2240 h 9600"/>
                <a:gd name="T80" fmla="*/ 10160 w 12800"/>
                <a:gd name="T81" fmla="*/ 1600 h 9600"/>
                <a:gd name="T82" fmla="*/ 9360 w 12800"/>
                <a:gd name="T83" fmla="*/ 960 h 9600"/>
                <a:gd name="T84" fmla="*/ 7760 w 12800"/>
                <a:gd name="T85" fmla="*/ 2720 h 9600"/>
                <a:gd name="T86" fmla="*/ 6640 w 12800"/>
                <a:gd name="T87" fmla="*/ 1920 h 9600"/>
                <a:gd name="T88" fmla="*/ 5200 w 12800"/>
                <a:gd name="T89" fmla="*/ 3360 h 9600"/>
                <a:gd name="T90" fmla="*/ 6000 w 12800"/>
                <a:gd name="T91" fmla="*/ 1920 h 9600"/>
                <a:gd name="T92" fmla="*/ 11520 w 12800"/>
                <a:gd name="T93" fmla="*/ 2400 h 9600"/>
                <a:gd name="T94" fmla="*/ 9040 w 12800"/>
                <a:gd name="T95" fmla="*/ 2720 h 9600"/>
                <a:gd name="T96" fmla="*/ 8480 w 12800"/>
                <a:gd name="T97" fmla="*/ 3680 h 9600"/>
                <a:gd name="T98" fmla="*/ 8000 w 12800"/>
                <a:gd name="T99" fmla="*/ 3360 h 9600"/>
                <a:gd name="T100" fmla="*/ 9120 w 12800"/>
                <a:gd name="T101" fmla="*/ 2480 h 9600"/>
                <a:gd name="T102" fmla="*/ 160 w 12800"/>
                <a:gd name="T103" fmla="*/ 4160 h 9600"/>
                <a:gd name="T104" fmla="*/ 480 w 12800"/>
                <a:gd name="T105" fmla="*/ 3120 h 9600"/>
                <a:gd name="T106" fmla="*/ 1120 w 12800"/>
                <a:gd name="T107" fmla="*/ 3440 h 9600"/>
                <a:gd name="T108" fmla="*/ 1120 w 12800"/>
                <a:gd name="T109" fmla="*/ 3440 h 9600"/>
                <a:gd name="T110" fmla="*/ 1200 w 12800"/>
                <a:gd name="T111" fmla="*/ 4480 h 9600"/>
                <a:gd name="T112" fmla="*/ 9760 w 12800"/>
                <a:gd name="T113" fmla="*/ 6320 h 9600"/>
                <a:gd name="T114" fmla="*/ 1360 w 12800"/>
                <a:gd name="T115" fmla="*/ 7600 h 9600"/>
                <a:gd name="T116" fmla="*/ 8000 w 12800"/>
                <a:gd name="T117" fmla="*/ 7440 h 9600"/>
                <a:gd name="T118" fmla="*/ 8400 w 12800"/>
                <a:gd name="T119" fmla="*/ 8240 h 9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800" h="9600">
                  <a:moveTo>
                    <a:pt x="6480" y="0"/>
                  </a:moveTo>
                  <a:lnTo>
                    <a:pt x="6480" y="0"/>
                  </a:lnTo>
                  <a:lnTo>
                    <a:pt x="6480" y="0"/>
                  </a:lnTo>
                  <a:cubicBezTo>
                    <a:pt x="6560" y="0"/>
                    <a:pt x="6560" y="0"/>
                    <a:pt x="6560" y="80"/>
                  </a:cubicBezTo>
                  <a:cubicBezTo>
                    <a:pt x="6560" y="80"/>
                    <a:pt x="6560" y="160"/>
                    <a:pt x="6480" y="160"/>
                  </a:cubicBezTo>
                  <a:cubicBezTo>
                    <a:pt x="6000" y="400"/>
                    <a:pt x="5840" y="560"/>
                    <a:pt x="5600" y="1040"/>
                  </a:cubicBezTo>
                  <a:lnTo>
                    <a:pt x="5520" y="1120"/>
                  </a:lnTo>
                  <a:cubicBezTo>
                    <a:pt x="5440" y="1120"/>
                    <a:pt x="5440" y="1120"/>
                    <a:pt x="5440" y="1040"/>
                  </a:cubicBezTo>
                  <a:lnTo>
                    <a:pt x="5440" y="1040"/>
                  </a:lnTo>
                  <a:cubicBezTo>
                    <a:pt x="5440" y="880"/>
                    <a:pt x="5520" y="720"/>
                    <a:pt x="5600" y="640"/>
                  </a:cubicBezTo>
                  <a:lnTo>
                    <a:pt x="5600" y="640"/>
                  </a:lnTo>
                  <a:cubicBezTo>
                    <a:pt x="5520" y="640"/>
                    <a:pt x="5520" y="640"/>
                    <a:pt x="5520" y="560"/>
                  </a:cubicBezTo>
                  <a:lnTo>
                    <a:pt x="5520" y="560"/>
                  </a:lnTo>
                  <a:cubicBezTo>
                    <a:pt x="5520" y="400"/>
                    <a:pt x="5600" y="240"/>
                    <a:pt x="5680" y="160"/>
                  </a:cubicBezTo>
                  <a:cubicBezTo>
                    <a:pt x="5760" y="80"/>
                    <a:pt x="5840" y="80"/>
                    <a:pt x="6000" y="0"/>
                  </a:cubicBezTo>
                  <a:lnTo>
                    <a:pt x="6000" y="0"/>
                  </a:lnTo>
                  <a:cubicBezTo>
                    <a:pt x="6000" y="0"/>
                    <a:pt x="6080" y="0"/>
                    <a:pt x="6080" y="80"/>
                  </a:cubicBezTo>
                  <a:cubicBezTo>
                    <a:pt x="6160" y="80"/>
                    <a:pt x="6320" y="0"/>
                    <a:pt x="6480" y="0"/>
                  </a:cubicBezTo>
                  <a:close/>
                  <a:moveTo>
                    <a:pt x="8160" y="80"/>
                  </a:moveTo>
                  <a:lnTo>
                    <a:pt x="8160" y="80"/>
                  </a:lnTo>
                  <a:cubicBezTo>
                    <a:pt x="8640" y="80"/>
                    <a:pt x="9040" y="320"/>
                    <a:pt x="9440" y="640"/>
                  </a:cubicBezTo>
                  <a:cubicBezTo>
                    <a:pt x="9760" y="880"/>
                    <a:pt x="10000" y="1120"/>
                    <a:pt x="10240" y="1280"/>
                  </a:cubicBezTo>
                  <a:cubicBezTo>
                    <a:pt x="10400" y="1360"/>
                    <a:pt x="10560" y="1440"/>
                    <a:pt x="10640" y="1600"/>
                  </a:cubicBezTo>
                  <a:cubicBezTo>
                    <a:pt x="10800" y="1760"/>
                    <a:pt x="10880" y="1920"/>
                    <a:pt x="10960" y="2160"/>
                  </a:cubicBezTo>
                  <a:cubicBezTo>
                    <a:pt x="11040" y="2160"/>
                    <a:pt x="11120" y="2080"/>
                    <a:pt x="11200" y="2000"/>
                  </a:cubicBezTo>
                  <a:cubicBezTo>
                    <a:pt x="11280" y="1920"/>
                    <a:pt x="11360" y="1760"/>
                    <a:pt x="11520" y="1600"/>
                  </a:cubicBezTo>
                  <a:lnTo>
                    <a:pt x="11920" y="1600"/>
                  </a:lnTo>
                  <a:lnTo>
                    <a:pt x="12080" y="1600"/>
                  </a:lnTo>
                  <a:cubicBezTo>
                    <a:pt x="12240" y="1680"/>
                    <a:pt x="12320" y="1760"/>
                    <a:pt x="12400" y="1840"/>
                  </a:cubicBezTo>
                  <a:cubicBezTo>
                    <a:pt x="12720" y="2480"/>
                    <a:pt x="12800" y="3440"/>
                    <a:pt x="12800" y="4080"/>
                  </a:cubicBezTo>
                  <a:cubicBezTo>
                    <a:pt x="12720" y="4800"/>
                    <a:pt x="12400" y="5520"/>
                    <a:pt x="11760" y="5920"/>
                  </a:cubicBezTo>
                  <a:cubicBezTo>
                    <a:pt x="11360" y="6160"/>
                    <a:pt x="10720" y="6160"/>
                    <a:pt x="10240" y="6080"/>
                  </a:cubicBezTo>
                  <a:cubicBezTo>
                    <a:pt x="10240" y="6160"/>
                    <a:pt x="10160" y="6240"/>
                    <a:pt x="10160" y="6320"/>
                  </a:cubicBezTo>
                  <a:cubicBezTo>
                    <a:pt x="10080" y="6720"/>
                    <a:pt x="9680" y="6960"/>
                    <a:pt x="9280" y="6960"/>
                  </a:cubicBezTo>
                  <a:cubicBezTo>
                    <a:pt x="9120" y="6960"/>
                    <a:pt x="8960" y="6960"/>
                    <a:pt x="8880" y="6880"/>
                  </a:cubicBezTo>
                  <a:cubicBezTo>
                    <a:pt x="8720" y="6800"/>
                    <a:pt x="8640" y="6720"/>
                    <a:pt x="8560" y="6640"/>
                  </a:cubicBezTo>
                  <a:lnTo>
                    <a:pt x="8320" y="6400"/>
                  </a:lnTo>
                  <a:lnTo>
                    <a:pt x="8320" y="6400"/>
                  </a:lnTo>
                  <a:cubicBezTo>
                    <a:pt x="8400" y="6560"/>
                    <a:pt x="8480" y="6720"/>
                    <a:pt x="8480" y="6880"/>
                  </a:cubicBezTo>
                  <a:cubicBezTo>
                    <a:pt x="8560" y="7040"/>
                    <a:pt x="8640" y="7200"/>
                    <a:pt x="8640" y="7440"/>
                  </a:cubicBezTo>
                  <a:lnTo>
                    <a:pt x="8640" y="8000"/>
                  </a:lnTo>
                  <a:cubicBezTo>
                    <a:pt x="8720" y="8160"/>
                    <a:pt x="8720" y="8240"/>
                    <a:pt x="8720" y="8400"/>
                  </a:cubicBezTo>
                  <a:cubicBezTo>
                    <a:pt x="8720" y="8560"/>
                    <a:pt x="8640" y="8720"/>
                    <a:pt x="8560" y="8800"/>
                  </a:cubicBezTo>
                  <a:lnTo>
                    <a:pt x="8080" y="8800"/>
                  </a:lnTo>
                  <a:lnTo>
                    <a:pt x="7440" y="8800"/>
                  </a:lnTo>
                  <a:lnTo>
                    <a:pt x="7200" y="8800"/>
                  </a:lnTo>
                  <a:cubicBezTo>
                    <a:pt x="7120" y="8800"/>
                    <a:pt x="7120" y="8800"/>
                    <a:pt x="7040" y="8720"/>
                  </a:cubicBezTo>
                  <a:cubicBezTo>
                    <a:pt x="6960" y="8800"/>
                    <a:pt x="6880" y="8880"/>
                    <a:pt x="6720" y="8960"/>
                  </a:cubicBezTo>
                  <a:cubicBezTo>
                    <a:pt x="6640" y="9040"/>
                    <a:pt x="6640" y="9040"/>
                    <a:pt x="6560" y="9040"/>
                  </a:cubicBezTo>
                  <a:lnTo>
                    <a:pt x="6480" y="9120"/>
                  </a:lnTo>
                  <a:cubicBezTo>
                    <a:pt x="6400" y="9200"/>
                    <a:pt x="6400" y="9280"/>
                    <a:pt x="6400" y="9280"/>
                  </a:cubicBezTo>
                  <a:cubicBezTo>
                    <a:pt x="6320" y="9360"/>
                    <a:pt x="6320" y="9440"/>
                    <a:pt x="6160" y="9440"/>
                  </a:cubicBezTo>
                  <a:cubicBezTo>
                    <a:pt x="5920" y="9600"/>
                    <a:pt x="5600" y="9600"/>
                    <a:pt x="5440" y="9440"/>
                  </a:cubicBezTo>
                  <a:cubicBezTo>
                    <a:pt x="5280" y="9360"/>
                    <a:pt x="5120" y="9120"/>
                    <a:pt x="4960" y="8880"/>
                  </a:cubicBezTo>
                  <a:cubicBezTo>
                    <a:pt x="4960" y="8800"/>
                    <a:pt x="4800" y="8640"/>
                    <a:pt x="4720" y="8400"/>
                  </a:cubicBezTo>
                  <a:cubicBezTo>
                    <a:pt x="4720" y="8320"/>
                    <a:pt x="4640" y="8160"/>
                    <a:pt x="4720" y="8080"/>
                  </a:cubicBezTo>
                  <a:cubicBezTo>
                    <a:pt x="4720" y="8000"/>
                    <a:pt x="4800" y="7920"/>
                    <a:pt x="4880" y="7840"/>
                  </a:cubicBezTo>
                  <a:lnTo>
                    <a:pt x="4960" y="7840"/>
                  </a:lnTo>
                  <a:lnTo>
                    <a:pt x="4320" y="7840"/>
                  </a:lnTo>
                  <a:lnTo>
                    <a:pt x="4320" y="7840"/>
                  </a:lnTo>
                  <a:lnTo>
                    <a:pt x="4320" y="8080"/>
                  </a:lnTo>
                  <a:cubicBezTo>
                    <a:pt x="4320" y="8160"/>
                    <a:pt x="4240" y="8240"/>
                    <a:pt x="4240" y="8320"/>
                  </a:cubicBezTo>
                  <a:cubicBezTo>
                    <a:pt x="4160" y="8400"/>
                    <a:pt x="4160" y="8480"/>
                    <a:pt x="4080" y="8640"/>
                  </a:cubicBezTo>
                  <a:lnTo>
                    <a:pt x="4080" y="9120"/>
                  </a:lnTo>
                  <a:cubicBezTo>
                    <a:pt x="4080" y="9280"/>
                    <a:pt x="3920" y="9360"/>
                    <a:pt x="3840" y="9360"/>
                  </a:cubicBezTo>
                  <a:cubicBezTo>
                    <a:pt x="3760" y="9440"/>
                    <a:pt x="3600" y="9440"/>
                    <a:pt x="3440" y="9360"/>
                  </a:cubicBezTo>
                  <a:cubicBezTo>
                    <a:pt x="3200" y="9360"/>
                    <a:pt x="2880" y="9280"/>
                    <a:pt x="2800" y="9200"/>
                  </a:cubicBezTo>
                  <a:cubicBezTo>
                    <a:pt x="2640" y="9120"/>
                    <a:pt x="2400" y="9120"/>
                    <a:pt x="2240" y="8960"/>
                  </a:cubicBezTo>
                  <a:cubicBezTo>
                    <a:pt x="2160" y="8880"/>
                    <a:pt x="2080" y="8800"/>
                    <a:pt x="2080" y="8720"/>
                  </a:cubicBezTo>
                  <a:lnTo>
                    <a:pt x="2080" y="8400"/>
                  </a:lnTo>
                  <a:cubicBezTo>
                    <a:pt x="2080" y="8320"/>
                    <a:pt x="2160" y="8240"/>
                    <a:pt x="2160" y="8240"/>
                  </a:cubicBezTo>
                  <a:cubicBezTo>
                    <a:pt x="2000" y="8240"/>
                    <a:pt x="1840" y="8240"/>
                    <a:pt x="1680" y="8160"/>
                  </a:cubicBezTo>
                  <a:cubicBezTo>
                    <a:pt x="1520" y="8080"/>
                    <a:pt x="1280" y="7920"/>
                    <a:pt x="1200" y="7840"/>
                  </a:cubicBezTo>
                  <a:cubicBezTo>
                    <a:pt x="880" y="7680"/>
                    <a:pt x="800" y="7440"/>
                    <a:pt x="720" y="7200"/>
                  </a:cubicBezTo>
                  <a:lnTo>
                    <a:pt x="720" y="6960"/>
                  </a:lnTo>
                  <a:cubicBezTo>
                    <a:pt x="720" y="6880"/>
                    <a:pt x="800" y="6880"/>
                    <a:pt x="880" y="6800"/>
                  </a:cubicBezTo>
                  <a:lnTo>
                    <a:pt x="1280" y="6400"/>
                  </a:lnTo>
                  <a:cubicBezTo>
                    <a:pt x="1360" y="6240"/>
                    <a:pt x="1360" y="6160"/>
                    <a:pt x="1440" y="6000"/>
                  </a:cubicBezTo>
                  <a:cubicBezTo>
                    <a:pt x="1440" y="5920"/>
                    <a:pt x="1440" y="5840"/>
                    <a:pt x="1360" y="5680"/>
                  </a:cubicBezTo>
                  <a:lnTo>
                    <a:pt x="1360" y="4720"/>
                  </a:lnTo>
                  <a:cubicBezTo>
                    <a:pt x="1280" y="4800"/>
                    <a:pt x="1200" y="4800"/>
                    <a:pt x="1120" y="4800"/>
                  </a:cubicBezTo>
                  <a:cubicBezTo>
                    <a:pt x="960" y="4720"/>
                    <a:pt x="880" y="4640"/>
                    <a:pt x="800" y="4480"/>
                  </a:cubicBezTo>
                  <a:cubicBezTo>
                    <a:pt x="800" y="4400"/>
                    <a:pt x="720" y="4320"/>
                    <a:pt x="720" y="4160"/>
                  </a:cubicBezTo>
                  <a:lnTo>
                    <a:pt x="720" y="4160"/>
                  </a:lnTo>
                  <a:cubicBezTo>
                    <a:pt x="560" y="4080"/>
                    <a:pt x="560" y="3920"/>
                    <a:pt x="560" y="3760"/>
                  </a:cubicBezTo>
                  <a:cubicBezTo>
                    <a:pt x="560" y="3600"/>
                    <a:pt x="640" y="3440"/>
                    <a:pt x="800" y="3360"/>
                  </a:cubicBezTo>
                  <a:cubicBezTo>
                    <a:pt x="880" y="3200"/>
                    <a:pt x="1040" y="3120"/>
                    <a:pt x="1120" y="3040"/>
                  </a:cubicBezTo>
                  <a:cubicBezTo>
                    <a:pt x="1280" y="2960"/>
                    <a:pt x="1360" y="2880"/>
                    <a:pt x="1440" y="2880"/>
                  </a:cubicBezTo>
                  <a:lnTo>
                    <a:pt x="1440" y="2880"/>
                  </a:lnTo>
                  <a:cubicBezTo>
                    <a:pt x="1520" y="2880"/>
                    <a:pt x="1520" y="2880"/>
                    <a:pt x="1520" y="2960"/>
                  </a:cubicBezTo>
                  <a:lnTo>
                    <a:pt x="1520" y="2960"/>
                  </a:lnTo>
                  <a:cubicBezTo>
                    <a:pt x="1520" y="3040"/>
                    <a:pt x="1440" y="3120"/>
                    <a:pt x="1440" y="3200"/>
                  </a:cubicBezTo>
                  <a:cubicBezTo>
                    <a:pt x="1600" y="3280"/>
                    <a:pt x="1600" y="3360"/>
                    <a:pt x="1600" y="3440"/>
                  </a:cubicBezTo>
                  <a:lnTo>
                    <a:pt x="1600" y="3760"/>
                  </a:lnTo>
                  <a:lnTo>
                    <a:pt x="1520" y="3840"/>
                  </a:lnTo>
                  <a:lnTo>
                    <a:pt x="1440" y="3840"/>
                  </a:lnTo>
                  <a:cubicBezTo>
                    <a:pt x="1440" y="3760"/>
                    <a:pt x="1360" y="3760"/>
                    <a:pt x="1360" y="3760"/>
                  </a:cubicBezTo>
                  <a:lnTo>
                    <a:pt x="1360" y="3920"/>
                  </a:lnTo>
                  <a:cubicBezTo>
                    <a:pt x="1360" y="4000"/>
                    <a:pt x="1280" y="4080"/>
                    <a:pt x="1200" y="4160"/>
                  </a:cubicBezTo>
                  <a:lnTo>
                    <a:pt x="1200" y="4160"/>
                  </a:lnTo>
                  <a:lnTo>
                    <a:pt x="1280" y="4160"/>
                  </a:lnTo>
                  <a:cubicBezTo>
                    <a:pt x="1440" y="4080"/>
                    <a:pt x="1600" y="3920"/>
                    <a:pt x="1760" y="3760"/>
                  </a:cubicBezTo>
                  <a:cubicBezTo>
                    <a:pt x="1920" y="3440"/>
                    <a:pt x="2080" y="3200"/>
                    <a:pt x="2400" y="2960"/>
                  </a:cubicBezTo>
                  <a:cubicBezTo>
                    <a:pt x="3040" y="2400"/>
                    <a:pt x="3680" y="2160"/>
                    <a:pt x="4720" y="2000"/>
                  </a:cubicBezTo>
                  <a:cubicBezTo>
                    <a:pt x="4800" y="1840"/>
                    <a:pt x="4960" y="1760"/>
                    <a:pt x="5120" y="1600"/>
                  </a:cubicBezTo>
                  <a:cubicBezTo>
                    <a:pt x="5280" y="1440"/>
                    <a:pt x="5520" y="1360"/>
                    <a:pt x="5680" y="1360"/>
                  </a:cubicBezTo>
                  <a:cubicBezTo>
                    <a:pt x="6000" y="960"/>
                    <a:pt x="6240" y="640"/>
                    <a:pt x="6800" y="400"/>
                  </a:cubicBezTo>
                  <a:cubicBezTo>
                    <a:pt x="7280" y="160"/>
                    <a:pt x="7760" y="80"/>
                    <a:pt x="8160" y="80"/>
                  </a:cubicBezTo>
                  <a:close/>
                  <a:moveTo>
                    <a:pt x="8160" y="480"/>
                  </a:moveTo>
                  <a:lnTo>
                    <a:pt x="8160" y="480"/>
                  </a:lnTo>
                  <a:cubicBezTo>
                    <a:pt x="7760" y="480"/>
                    <a:pt x="7360" y="560"/>
                    <a:pt x="6800" y="800"/>
                  </a:cubicBezTo>
                  <a:cubicBezTo>
                    <a:pt x="6480" y="960"/>
                    <a:pt x="6320" y="1120"/>
                    <a:pt x="6160" y="1360"/>
                  </a:cubicBezTo>
                  <a:lnTo>
                    <a:pt x="6800" y="1360"/>
                  </a:lnTo>
                  <a:lnTo>
                    <a:pt x="6800" y="1360"/>
                  </a:lnTo>
                  <a:cubicBezTo>
                    <a:pt x="6880" y="1360"/>
                    <a:pt x="6880" y="1360"/>
                    <a:pt x="6880" y="1440"/>
                  </a:cubicBezTo>
                  <a:cubicBezTo>
                    <a:pt x="6880" y="1440"/>
                    <a:pt x="6880" y="1520"/>
                    <a:pt x="6800" y="1520"/>
                  </a:cubicBezTo>
                  <a:cubicBezTo>
                    <a:pt x="6480" y="1520"/>
                    <a:pt x="6240" y="1600"/>
                    <a:pt x="5920" y="1600"/>
                  </a:cubicBezTo>
                  <a:cubicBezTo>
                    <a:pt x="5760" y="1600"/>
                    <a:pt x="5680" y="1600"/>
                    <a:pt x="5600" y="1680"/>
                  </a:cubicBezTo>
                  <a:cubicBezTo>
                    <a:pt x="5520" y="1680"/>
                    <a:pt x="5440" y="1760"/>
                    <a:pt x="5360" y="1840"/>
                  </a:cubicBezTo>
                  <a:cubicBezTo>
                    <a:pt x="4880" y="2320"/>
                    <a:pt x="4560" y="2800"/>
                    <a:pt x="4160" y="3200"/>
                  </a:cubicBezTo>
                  <a:cubicBezTo>
                    <a:pt x="3920" y="3440"/>
                    <a:pt x="3840" y="3680"/>
                    <a:pt x="3680" y="4000"/>
                  </a:cubicBezTo>
                  <a:cubicBezTo>
                    <a:pt x="3600" y="4080"/>
                    <a:pt x="3600" y="4160"/>
                    <a:pt x="3600" y="4240"/>
                  </a:cubicBezTo>
                  <a:cubicBezTo>
                    <a:pt x="3600" y="4320"/>
                    <a:pt x="3680" y="4400"/>
                    <a:pt x="3760" y="4480"/>
                  </a:cubicBezTo>
                  <a:cubicBezTo>
                    <a:pt x="3840" y="4720"/>
                    <a:pt x="4000" y="4880"/>
                    <a:pt x="4080" y="5040"/>
                  </a:cubicBezTo>
                  <a:cubicBezTo>
                    <a:pt x="4240" y="4800"/>
                    <a:pt x="4480" y="4560"/>
                    <a:pt x="4720" y="4240"/>
                  </a:cubicBezTo>
                  <a:lnTo>
                    <a:pt x="4800" y="4240"/>
                  </a:lnTo>
                  <a:cubicBezTo>
                    <a:pt x="4800" y="4160"/>
                    <a:pt x="4800" y="4240"/>
                    <a:pt x="4800" y="4240"/>
                  </a:cubicBezTo>
                  <a:lnTo>
                    <a:pt x="4800" y="4240"/>
                  </a:lnTo>
                  <a:cubicBezTo>
                    <a:pt x="4560" y="4640"/>
                    <a:pt x="4400" y="4960"/>
                    <a:pt x="4240" y="5280"/>
                  </a:cubicBezTo>
                  <a:cubicBezTo>
                    <a:pt x="4160" y="5520"/>
                    <a:pt x="4080" y="5600"/>
                    <a:pt x="4080" y="5760"/>
                  </a:cubicBezTo>
                  <a:cubicBezTo>
                    <a:pt x="4240" y="6000"/>
                    <a:pt x="4400" y="6080"/>
                    <a:pt x="4560" y="6160"/>
                  </a:cubicBezTo>
                  <a:cubicBezTo>
                    <a:pt x="4720" y="6240"/>
                    <a:pt x="4960" y="6240"/>
                    <a:pt x="5120" y="6080"/>
                  </a:cubicBezTo>
                  <a:cubicBezTo>
                    <a:pt x="5520" y="5840"/>
                    <a:pt x="6000" y="5520"/>
                    <a:pt x="6480" y="5520"/>
                  </a:cubicBezTo>
                  <a:cubicBezTo>
                    <a:pt x="6640" y="5120"/>
                    <a:pt x="6640" y="4560"/>
                    <a:pt x="6560" y="4000"/>
                  </a:cubicBezTo>
                  <a:cubicBezTo>
                    <a:pt x="6480" y="3600"/>
                    <a:pt x="6480" y="3200"/>
                    <a:pt x="6560" y="2720"/>
                  </a:cubicBezTo>
                  <a:lnTo>
                    <a:pt x="6640" y="2640"/>
                  </a:lnTo>
                  <a:cubicBezTo>
                    <a:pt x="6720" y="2640"/>
                    <a:pt x="6720" y="2640"/>
                    <a:pt x="6720" y="2720"/>
                  </a:cubicBezTo>
                  <a:lnTo>
                    <a:pt x="6720" y="2720"/>
                  </a:lnTo>
                  <a:cubicBezTo>
                    <a:pt x="6720" y="3120"/>
                    <a:pt x="6800" y="3520"/>
                    <a:pt x="6880" y="4000"/>
                  </a:cubicBezTo>
                  <a:cubicBezTo>
                    <a:pt x="7040" y="4640"/>
                    <a:pt x="7040" y="5200"/>
                    <a:pt x="6800" y="5840"/>
                  </a:cubicBezTo>
                  <a:lnTo>
                    <a:pt x="6720" y="5920"/>
                  </a:lnTo>
                  <a:cubicBezTo>
                    <a:pt x="6160" y="5920"/>
                    <a:pt x="5760" y="6240"/>
                    <a:pt x="5200" y="6480"/>
                  </a:cubicBezTo>
                  <a:cubicBezTo>
                    <a:pt x="4960" y="6640"/>
                    <a:pt x="4720" y="6640"/>
                    <a:pt x="4480" y="6560"/>
                  </a:cubicBezTo>
                  <a:cubicBezTo>
                    <a:pt x="4160" y="6480"/>
                    <a:pt x="4000" y="6320"/>
                    <a:pt x="3760" y="6000"/>
                  </a:cubicBezTo>
                  <a:lnTo>
                    <a:pt x="3760" y="5920"/>
                  </a:lnTo>
                  <a:lnTo>
                    <a:pt x="3760" y="5920"/>
                  </a:lnTo>
                  <a:cubicBezTo>
                    <a:pt x="3760" y="5680"/>
                    <a:pt x="3840" y="5600"/>
                    <a:pt x="3920" y="5440"/>
                  </a:cubicBezTo>
                  <a:cubicBezTo>
                    <a:pt x="3680" y="5120"/>
                    <a:pt x="3600" y="5040"/>
                    <a:pt x="3440" y="4720"/>
                  </a:cubicBezTo>
                  <a:cubicBezTo>
                    <a:pt x="3280" y="4560"/>
                    <a:pt x="3200" y="4400"/>
                    <a:pt x="3200" y="4240"/>
                  </a:cubicBezTo>
                  <a:cubicBezTo>
                    <a:pt x="3200" y="4160"/>
                    <a:pt x="3200" y="4000"/>
                    <a:pt x="3360" y="3760"/>
                  </a:cubicBezTo>
                  <a:cubicBezTo>
                    <a:pt x="3520" y="3520"/>
                    <a:pt x="3600" y="3200"/>
                    <a:pt x="3840" y="2960"/>
                  </a:cubicBezTo>
                  <a:cubicBezTo>
                    <a:pt x="4000" y="2800"/>
                    <a:pt x="4160" y="2640"/>
                    <a:pt x="4240" y="2480"/>
                  </a:cubicBezTo>
                  <a:cubicBezTo>
                    <a:pt x="3600" y="2560"/>
                    <a:pt x="3120" y="2800"/>
                    <a:pt x="2640" y="3200"/>
                  </a:cubicBezTo>
                  <a:cubicBezTo>
                    <a:pt x="2240" y="3520"/>
                    <a:pt x="2000" y="4000"/>
                    <a:pt x="1840" y="4480"/>
                  </a:cubicBezTo>
                  <a:cubicBezTo>
                    <a:pt x="1680" y="4800"/>
                    <a:pt x="1680" y="5120"/>
                    <a:pt x="1680" y="5680"/>
                  </a:cubicBezTo>
                  <a:cubicBezTo>
                    <a:pt x="1760" y="6320"/>
                    <a:pt x="2080" y="7120"/>
                    <a:pt x="2480" y="7680"/>
                  </a:cubicBezTo>
                  <a:lnTo>
                    <a:pt x="2480" y="7760"/>
                  </a:lnTo>
                  <a:lnTo>
                    <a:pt x="2480" y="7760"/>
                  </a:lnTo>
                  <a:cubicBezTo>
                    <a:pt x="2400" y="8080"/>
                    <a:pt x="2400" y="8400"/>
                    <a:pt x="2240" y="8640"/>
                  </a:cubicBezTo>
                  <a:lnTo>
                    <a:pt x="2240" y="8720"/>
                  </a:lnTo>
                  <a:lnTo>
                    <a:pt x="2320" y="8800"/>
                  </a:lnTo>
                  <a:cubicBezTo>
                    <a:pt x="2400" y="8880"/>
                    <a:pt x="2560" y="8880"/>
                    <a:pt x="2720" y="8960"/>
                  </a:cubicBezTo>
                  <a:cubicBezTo>
                    <a:pt x="2800" y="8960"/>
                    <a:pt x="3040" y="9040"/>
                    <a:pt x="3200" y="9040"/>
                  </a:cubicBezTo>
                  <a:lnTo>
                    <a:pt x="3440" y="9040"/>
                  </a:lnTo>
                  <a:cubicBezTo>
                    <a:pt x="3520" y="9040"/>
                    <a:pt x="3520" y="9040"/>
                    <a:pt x="3520" y="8960"/>
                  </a:cubicBezTo>
                  <a:lnTo>
                    <a:pt x="3520" y="8560"/>
                  </a:lnTo>
                  <a:lnTo>
                    <a:pt x="3520" y="8560"/>
                  </a:lnTo>
                  <a:cubicBezTo>
                    <a:pt x="3680" y="8320"/>
                    <a:pt x="3680" y="8320"/>
                    <a:pt x="3760" y="8160"/>
                  </a:cubicBezTo>
                  <a:cubicBezTo>
                    <a:pt x="4000" y="8080"/>
                    <a:pt x="4000" y="8000"/>
                    <a:pt x="4000" y="7840"/>
                  </a:cubicBezTo>
                  <a:lnTo>
                    <a:pt x="4000" y="7040"/>
                  </a:lnTo>
                  <a:lnTo>
                    <a:pt x="4000" y="7040"/>
                  </a:lnTo>
                  <a:cubicBezTo>
                    <a:pt x="4000" y="6960"/>
                    <a:pt x="4000" y="6960"/>
                    <a:pt x="4080" y="6960"/>
                  </a:cubicBezTo>
                  <a:cubicBezTo>
                    <a:pt x="4080" y="6960"/>
                    <a:pt x="4160" y="6960"/>
                    <a:pt x="4160" y="7040"/>
                  </a:cubicBezTo>
                  <a:cubicBezTo>
                    <a:pt x="4160" y="7120"/>
                    <a:pt x="4240" y="7280"/>
                    <a:pt x="4240" y="7440"/>
                  </a:cubicBezTo>
                  <a:cubicBezTo>
                    <a:pt x="4640" y="7520"/>
                    <a:pt x="5120" y="7520"/>
                    <a:pt x="5520" y="7440"/>
                  </a:cubicBezTo>
                  <a:lnTo>
                    <a:pt x="5520" y="7360"/>
                  </a:lnTo>
                  <a:cubicBezTo>
                    <a:pt x="5520" y="7200"/>
                    <a:pt x="5600" y="7120"/>
                    <a:pt x="5680" y="7040"/>
                  </a:cubicBezTo>
                  <a:lnTo>
                    <a:pt x="5760" y="6960"/>
                  </a:lnTo>
                  <a:cubicBezTo>
                    <a:pt x="5840" y="6960"/>
                    <a:pt x="5840" y="6960"/>
                    <a:pt x="5840" y="7040"/>
                  </a:cubicBezTo>
                  <a:lnTo>
                    <a:pt x="5840" y="7040"/>
                  </a:lnTo>
                  <a:lnTo>
                    <a:pt x="5840" y="7360"/>
                  </a:lnTo>
                  <a:lnTo>
                    <a:pt x="5840" y="7680"/>
                  </a:lnTo>
                  <a:lnTo>
                    <a:pt x="5840" y="7840"/>
                  </a:lnTo>
                  <a:lnTo>
                    <a:pt x="5840" y="7840"/>
                  </a:lnTo>
                  <a:cubicBezTo>
                    <a:pt x="5840" y="7920"/>
                    <a:pt x="5840" y="7920"/>
                    <a:pt x="5760" y="7920"/>
                  </a:cubicBezTo>
                  <a:cubicBezTo>
                    <a:pt x="5760" y="7920"/>
                    <a:pt x="5680" y="7920"/>
                    <a:pt x="5680" y="7840"/>
                  </a:cubicBezTo>
                  <a:lnTo>
                    <a:pt x="5600" y="7760"/>
                  </a:lnTo>
                  <a:cubicBezTo>
                    <a:pt x="5440" y="7840"/>
                    <a:pt x="5280" y="7920"/>
                    <a:pt x="5120" y="8080"/>
                  </a:cubicBezTo>
                  <a:lnTo>
                    <a:pt x="5040" y="8160"/>
                  </a:lnTo>
                  <a:lnTo>
                    <a:pt x="5040" y="8320"/>
                  </a:lnTo>
                  <a:cubicBezTo>
                    <a:pt x="5120" y="8480"/>
                    <a:pt x="5200" y="8560"/>
                    <a:pt x="5200" y="8640"/>
                  </a:cubicBezTo>
                  <a:cubicBezTo>
                    <a:pt x="5280" y="8800"/>
                    <a:pt x="5440" y="8960"/>
                    <a:pt x="5520" y="9040"/>
                  </a:cubicBezTo>
                  <a:cubicBezTo>
                    <a:pt x="5600" y="9120"/>
                    <a:pt x="5760" y="9200"/>
                    <a:pt x="5920" y="9120"/>
                  </a:cubicBezTo>
                  <a:cubicBezTo>
                    <a:pt x="6000" y="9040"/>
                    <a:pt x="6080" y="8960"/>
                    <a:pt x="6160" y="8800"/>
                  </a:cubicBezTo>
                  <a:lnTo>
                    <a:pt x="6160" y="8800"/>
                  </a:lnTo>
                  <a:cubicBezTo>
                    <a:pt x="6160" y="8800"/>
                    <a:pt x="6240" y="8720"/>
                    <a:pt x="6320" y="8720"/>
                  </a:cubicBezTo>
                  <a:cubicBezTo>
                    <a:pt x="6400" y="8640"/>
                    <a:pt x="6480" y="8560"/>
                    <a:pt x="6560" y="8560"/>
                  </a:cubicBezTo>
                  <a:cubicBezTo>
                    <a:pt x="6640" y="8480"/>
                    <a:pt x="6720" y="8400"/>
                    <a:pt x="6800" y="8400"/>
                  </a:cubicBezTo>
                  <a:cubicBezTo>
                    <a:pt x="6880" y="8320"/>
                    <a:pt x="6880" y="8320"/>
                    <a:pt x="6960" y="8320"/>
                  </a:cubicBezTo>
                  <a:lnTo>
                    <a:pt x="7040" y="8240"/>
                  </a:lnTo>
                  <a:lnTo>
                    <a:pt x="7120" y="8160"/>
                  </a:lnTo>
                  <a:cubicBezTo>
                    <a:pt x="7200" y="8000"/>
                    <a:pt x="7280" y="7920"/>
                    <a:pt x="7360" y="7840"/>
                  </a:cubicBezTo>
                  <a:cubicBezTo>
                    <a:pt x="7440" y="7760"/>
                    <a:pt x="7520" y="7600"/>
                    <a:pt x="7520" y="7520"/>
                  </a:cubicBezTo>
                  <a:cubicBezTo>
                    <a:pt x="7600" y="7440"/>
                    <a:pt x="7600" y="7360"/>
                    <a:pt x="7600" y="7280"/>
                  </a:cubicBezTo>
                  <a:cubicBezTo>
                    <a:pt x="7760" y="6880"/>
                    <a:pt x="7840" y="6560"/>
                    <a:pt x="7920" y="6160"/>
                  </a:cubicBezTo>
                  <a:cubicBezTo>
                    <a:pt x="7680" y="6000"/>
                    <a:pt x="7520" y="5920"/>
                    <a:pt x="7280" y="5680"/>
                  </a:cubicBezTo>
                  <a:lnTo>
                    <a:pt x="7280" y="5600"/>
                  </a:lnTo>
                  <a:cubicBezTo>
                    <a:pt x="7280" y="5520"/>
                    <a:pt x="7280" y="5520"/>
                    <a:pt x="7360" y="5520"/>
                  </a:cubicBezTo>
                  <a:lnTo>
                    <a:pt x="7440" y="5520"/>
                  </a:lnTo>
                  <a:cubicBezTo>
                    <a:pt x="7760" y="5760"/>
                    <a:pt x="8000" y="5840"/>
                    <a:pt x="8320" y="5920"/>
                  </a:cubicBezTo>
                  <a:lnTo>
                    <a:pt x="8320" y="5920"/>
                  </a:lnTo>
                  <a:lnTo>
                    <a:pt x="8640" y="6240"/>
                  </a:lnTo>
                  <a:lnTo>
                    <a:pt x="8880" y="6480"/>
                  </a:lnTo>
                  <a:lnTo>
                    <a:pt x="8800" y="6480"/>
                  </a:lnTo>
                  <a:cubicBezTo>
                    <a:pt x="8720" y="6400"/>
                    <a:pt x="8720" y="6320"/>
                    <a:pt x="8720" y="6240"/>
                  </a:cubicBezTo>
                  <a:cubicBezTo>
                    <a:pt x="8720" y="6080"/>
                    <a:pt x="8800" y="5920"/>
                    <a:pt x="8800" y="5760"/>
                  </a:cubicBezTo>
                  <a:cubicBezTo>
                    <a:pt x="8880" y="5600"/>
                    <a:pt x="8800" y="5440"/>
                    <a:pt x="8800" y="5280"/>
                  </a:cubicBezTo>
                  <a:lnTo>
                    <a:pt x="8800" y="5280"/>
                  </a:lnTo>
                  <a:lnTo>
                    <a:pt x="8800" y="5280"/>
                  </a:lnTo>
                  <a:lnTo>
                    <a:pt x="8800" y="5280"/>
                  </a:lnTo>
                  <a:lnTo>
                    <a:pt x="8720" y="5360"/>
                  </a:lnTo>
                  <a:cubicBezTo>
                    <a:pt x="8720" y="5440"/>
                    <a:pt x="8640" y="5520"/>
                    <a:pt x="8560" y="5680"/>
                  </a:cubicBezTo>
                  <a:lnTo>
                    <a:pt x="8480" y="5760"/>
                  </a:lnTo>
                  <a:cubicBezTo>
                    <a:pt x="8400" y="5760"/>
                    <a:pt x="8400" y="5760"/>
                    <a:pt x="8400" y="5680"/>
                  </a:cubicBezTo>
                  <a:lnTo>
                    <a:pt x="8400" y="5680"/>
                  </a:lnTo>
                  <a:cubicBezTo>
                    <a:pt x="8400" y="5600"/>
                    <a:pt x="8400" y="5520"/>
                    <a:pt x="8480" y="5440"/>
                  </a:cubicBezTo>
                  <a:cubicBezTo>
                    <a:pt x="8480" y="5360"/>
                    <a:pt x="8480" y="5280"/>
                    <a:pt x="8560" y="5200"/>
                  </a:cubicBezTo>
                  <a:cubicBezTo>
                    <a:pt x="8640" y="5120"/>
                    <a:pt x="8720" y="5120"/>
                    <a:pt x="8800" y="5120"/>
                  </a:cubicBezTo>
                  <a:cubicBezTo>
                    <a:pt x="8880" y="5120"/>
                    <a:pt x="8960" y="5120"/>
                    <a:pt x="9040" y="5040"/>
                  </a:cubicBezTo>
                  <a:lnTo>
                    <a:pt x="9040" y="5040"/>
                  </a:lnTo>
                  <a:cubicBezTo>
                    <a:pt x="9120" y="5040"/>
                    <a:pt x="9120" y="5040"/>
                    <a:pt x="9120" y="5120"/>
                  </a:cubicBezTo>
                  <a:lnTo>
                    <a:pt x="9120" y="5200"/>
                  </a:lnTo>
                  <a:cubicBezTo>
                    <a:pt x="9040" y="5200"/>
                    <a:pt x="8960" y="5280"/>
                    <a:pt x="8880" y="5280"/>
                  </a:cubicBezTo>
                  <a:lnTo>
                    <a:pt x="8880" y="5280"/>
                  </a:lnTo>
                  <a:cubicBezTo>
                    <a:pt x="9040" y="5360"/>
                    <a:pt x="9120" y="5440"/>
                    <a:pt x="9280" y="5440"/>
                  </a:cubicBezTo>
                  <a:cubicBezTo>
                    <a:pt x="10000" y="5680"/>
                    <a:pt x="10720" y="5920"/>
                    <a:pt x="11440" y="5520"/>
                  </a:cubicBezTo>
                  <a:cubicBezTo>
                    <a:pt x="11920" y="5200"/>
                    <a:pt x="12240" y="4560"/>
                    <a:pt x="12320" y="4000"/>
                  </a:cubicBezTo>
                  <a:cubicBezTo>
                    <a:pt x="12400" y="3440"/>
                    <a:pt x="12240" y="2640"/>
                    <a:pt x="12080" y="2080"/>
                  </a:cubicBezTo>
                  <a:cubicBezTo>
                    <a:pt x="12080" y="2080"/>
                    <a:pt x="12080" y="2000"/>
                    <a:pt x="12000" y="2000"/>
                  </a:cubicBezTo>
                  <a:cubicBezTo>
                    <a:pt x="11920" y="2320"/>
                    <a:pt x="11760" y="2560"/>
                    <a:pt x="11360" y="2640"/>
                  </a:cubicBezTo>
                  <a:lnTo>
                    <a:pt x="11120" y="2640"/>
                  </a:lnTo>
                  <a:cubicBezTo>
                    <a:pt x="11040" y="2640"/>
                    <a:pt x="11040" y="2640"/>
                    <a:pt x="10960" y="2560"/>
                  </a:cubicBezTo>
                  <a:lnTo>
                    <a:pt x="10960" y="2640"/>
                  </a:lnTo>
                  <a:cubicBezTo>
                    <a:pt x="11040" y="2880"/>
                    <a:pt x="11040" y="3200"/>
                    <a:pt x="10960" y="3440"/>
                  </a:cubicBezTo>
                  <a:cubicBezTo>
                    <a:pt x="10880" y="3680"/>
                    <a:pt x="10880" y="3920"/>
                    <a:pt x="10720" y="4160"/>
                  </a:cubicBezTo>
                  <a:lnTo>
                    <a:pt x="10640" y="4160"/>
                  </a:lnTo>
                  <a:cubicBezTo>
                    <a:pt x="10560" y="4160"/>
                    <a:pt x="10560" y="4160"/>
                    <a:pt x="10560" y="4080"/>
                  </a:cubicBezTo>
                  <a:lnTo>
                    <a:pt x="10560" y="4080"/>
                  </a:lnTo>
                  <a:cubicBezTo>
                    <a:pt x="10560" y="4000"/>
                    <a:pt x="10640" y="3680"/>
                    <a:pt x="10640" y="3440"/>
                  </a:cubicBezTo>
                  <a:lnTo>
                    <a:pt x="10640" y="3120"/>
                  </a:lnTo>
                  <a:cubicBezTo>
                    <a:pt x="10640" y="3120"/>
                    <a:pt x="10560" y="3120"/>
                    <a:pt x="10560" y="3200"/>
                  </a:cubicBezTo>
                  <a:cubicBezTo>
                    <a:pt x="10480" y="3200"/>
                    <a:pt x="10480" y="3280"/>
                    <a:pt x="10480" y="3280"/>
                  </a:cubicBezTo>
                  <a:cubicBezTo>
                    <a:pt x="10400" y="3520"/>
                    <a:pt x="10400" y="3680"/>
                    <a:pt x="10240" y="3920"/>
                  </a:cubicBezTo>
                  <a:lnTo>
                    <a:pt x="10160" y="4000"/>
                  </a:lnTo>
                  <a:cubicBezTo>
                    <a:pt x="10080" y="4000"/>
                    <a:pt x="10080" y="4000"/>
                    <a:pt x="10080" y="3920"/>
                  </a:cubicBezTo>
                  <a:lnTo>
                    <a:pt x="10080" y="3920"/>
                  </a:lnTo>
                  <a:cubicBezTo>
                    <a:pt x="10160" y="3840"/>
                    <a:pt x="10160" y="3680"/>
                    <a:pt x="10160" y="3600"/>
                  </a:cubicBezTo>
                  <a:cubicBezTo>
                    <a:pt x="10160" y="3520"/>
                    <a:pt x="10160" y="3360"/>
                    <a:pt x="10240" y="3200"/>
                  </a:cubicBezTo>
                  <a:lnTo>
                    <a:pt x="10240" y="3200"/>
                  </a:lnTo>
                  <a:cubicBezTo>
                    <a:pt x="10160" y="3200"/>
                    <a:pt x="10160" y="3280"/>
                    <a:pt x="10080" y="3360"/>
                  </a:cubicBezTo>
                  <a:cubicBezTo>
                    <a:pt x="10000" y="3440"/>
                    <a:pt x="10000" y="3600"/>
                    <a:pt x="9840" y="3760"/>
                  </a:cubicBezTo>
                  <a:lnTo>
                    <a:pt x="9760" y="3760"/>
                  </a:lnTo>
                  <a:cubicBezTo>
                    <a:pt x="9680" y="3760"/>
                    <a:pt x="9680" y="3760"/>
                    <a:pt x="9680" y="3680"/>
                  </a:cubicBezTo>
                  <a:lnTo>
                    <a:pt x="9680" y="3600"/>
                  </a:lnTo>
                  <a:cubicBezTo>
                    <a:pt x="9760" y="3440"/>
                    <a:pt x="9760" y="3280"/>
                    <a:pt x="9840" y="3120"/>
                  </a:cubicBezTo>
                  <a:cubicBezTo>
                    <a:pt x="9920" y="2960"/>
                    <a:pt x="10000" y="2880"/>
                    <a:pt x="10240" y="2800"/>
                  </a:cubicBezTo>
                  <a:lnTo>
                    <a:pt x="10400" y="2800"/>
                  </a:lnTo>
                  <a:lnTo>
                    <a:pt x="10080" y="2800"/>
                  </a:lnTo>
                  <a:lnTo>
                    <a:pt x="10080" y="2800"/>
                  </a:lnTo>
                  <a:cubicBezTo>
                    <a:pt x="10000" y="2800"/>
                    <a:pt x="10000" y="2800"/>
                    <a:pt x="10000" y="2720"/>
                  </a:cubicBezTo>
                  <a:cubicBezTo>
                    <a:pt x="10000" y="2720"/>
                    <a:pt x="10000" y="2640"/>
                    <a:pt x="10080" y="2640"/>
                  </a:cubicBezTo>
                  <a:lnTo>
                    <a:pt x="10160" y="2640"/>
                  </a:lnTo>
                  <a:cubicBezTo>
                    <a:pt x="10160" y="2560"/>
                    <a:pt x="10080" y="2560"/>
                    <a:pt x="10160" y="2480"/>
                  </a:cubicBezTo>
                  <a:lnTo>
                    <a:pt x="10160" y="2480"/>
                  </a:lnTo>
                  <a:lnTo>
                    <a:pt x="10160" y="2480"/>
                  </a:lnTo>
                  <a:lnTo>
                    <a:pt x="10000" y="2480"/>
                  </a:lnTo>
                  <a:lnTo>
                    <a:pt x="9920" y="2400"/>
                  </a:lnTo>
                  <a:cubicBezTo>
                    <a:pt x="9920" y="2400"/>
                    <a:pt x="9920" y="2320"/>
                    <a:pt x="10000" y="2320"/>
                  </a:cubicBezTo>
                  <a:cubicBezTo>
                    <a:pt x="10080" y="2320"/>
                    <a:pt x="10240" y="2240"/>
                    <a:pt x="10320" y="2240"/>
                  </a:cubicBezTo>
                  <a:lnTo>
                    <a:pt x="10320" y="2240"/>
                  </a:lnTo>
                  <a:lnTo>
                    <a:pt x="10320" y="2240"/>
                  </a:lnTo>
                  <a:lnTo>
                    <a:pt x="10320" y="2240"/>
                  </a:lnTo>
                  <a:lnTo>
                    <a:pt x="10320" y="2240"/>
                  </a:lnTo>
                  <a:cubicBezTo>
                    <a:pt x="10400" y="2240"/>
                    <a:pt x="10480" y="2160"/>
                    <a:pt x="10560" y="2160"/>
                  </a:cubicBezTo>
                  <a:lnTo>
                    <a:pt x="10640" y="2160"/>
                  </a:lnTo>
                  <a:cubicBezTo>
                    <a:pt x="10560" y="2080"/>
                    <a:pt x="10560" y="2000"/>
                    <a:pt x="10480" y="1840"/>
                  </a:cubicBezTo>
                  <a:cubicBezTo>
                    <a:pt x="10400" y="1760"/>
                    <a:pt x="10320" y="1760"/>
                    <a:pt x="10160" y="1600"/>
                  </a:cubicBezTo>
                  <a:cubicBezTo>
                    <a:pt x="10160" y="1600"/>
                    <a:pt x="10080" y="1600"/>
                    <a:pt x="10080" y="1520"/>
                  </a:cubicBezTo>
                  <a:lnTo>
                    <a:pt x="9760" y="1520"/>
                  </a:lnTo>
                  <a:lnTo>
                    <a:pt x="9760" y="1520"/>
                  </a:lnTo>
                  <a:cubicBezTo>
                    <a:pt x="9680" y="1520"/>
                    <a:pt x="9680" y="1520"/>
                    <a:pt x="9680" y="1440"/>
                  </a:cubicBezTo>
                  <a:cubicBezTo>
                    <a:pt x="9680" y="1440"/>
                    <a:pt x="9680" y="1360"/>
                    <a:pt x="9760" y="1360"/>
                  </a:cubicBezTo>
                  <a:lnTo>
                    <a:pt x="9840" y="1360"/>
                  </a:lnTo>
                  <a:cubicBezTo>
                    <a:pt x="9680" y="1200"/>
                    <a:pt x="9520" y="1120"/>
                    <a:pt x="9360" y="960"/>
                  </a:cubicBezTo>
                  <a:cubicBezTo>
                    <a:pt x="8960" y="640"/>
                    <a:pt x="8560" y="480"/>
                    <a:pt x="8160" y="480"/>
                  </a:cubicBezTo>
                  <a:close/>
                  <a:moveTo>
                    <a:pt x="8400" y="1760"/>
                  </a:moveTo>
                  <a:lnTo>
                    <a:pt x="8400" y="1760"/>
                  </a:lnTo>
                  <a:cubicBezTo>
                    <a:pt x="8480" y="1760"/>
                    <a:pt x="8480" y="1760"/>
                    <a:pt x="8480" y="1840"/>
                  </a:cubicBezTo>
                  <a:cubicBezTo>
                    <a:pt x="8480" y="1840"/>
                    <a:pt x="8480" y="1920"/>
                    <a:pt x="8400" y="1920"/>
                  </a:cubicBezTo>
                  <a:cubicBezTo>
                    <a:pt x="8000" y="2080"/>
                    <a:pt x="7920" y="2320"/>
                    <a:pt x="7840" y="2640"/>
                  </a:cubicBezTo>
                  <a:lnTo>
                    <a:pt x="7760" y="2720"/>
                  </a:lnTo>
                  <a:cubicBezTo>
                    <a:pt x="7760" y="2720"/>
                    <a:pt x="7680" y="2720"/>
                    <a:pt x="7680" y="2640"/>
                  </a:cubicBezTo>
                  <a:cubicBezTo>
                    <a:pt x="7680" y="2480"/>
                    <a:pt x="7680" y="2240"/>
                    <a:pt x="7760" y="2080"/>
                  </a:cubicBezTo>
                  <a:cubicBezTo>
                    <a:pt x="7840" y="1920"/>
                    <a:pt x="8080" y="1840"/>
                    <a:pt x="8400" y="1760"/>
                  </a:cubicBezTo>
                  <a:close/>
                  <a:moveTo>
                    <a:pt x="6640" y="1760"/>
                  </a:moveTo>
                  <a:lnTo>
                    <a:pt x="6640" y="1760"/>
                  </a:lnTo>
                  <a:cubicBezTo>
                    <a:pt x="6720" y="1760"/>
                    <a:pt x="6720" y="1760"/>
                    <a:pt x="6720" y="1840"/>
                  </a:cubicBezTo>
                  <a:cubicBezTo>
                    <a:pt x="6720" y="1840"/>
                    <a:pt x="6720" y="1920"/>
                    <a:pt x="6640" y="1920"/>
                  </a:cubicBezTo>
                  <a:cubicBezTo>
                    <a:pt x="6480" y="2000"/>
                    <a:pt x="6320" y="2080"/>
                    <a:pt x="6080" y="2160"/>
                  </a:cubicBezTo>
                  <a:cubicBezTo>
                    <a:pt x="5920" y="2400"/>
                    <a:pt x="5840" y="2480"/>
                    <a:pt x="5840" y="2800"/>
                  </a:cubicBezTo>
                  <a:lnTo>
                    <a:pt x="5760" y="2880"/>
                  </a:lnTo>
                  <a:cubicBezTo>
                    <a:pt x="5760" y="2880"/>
                    <a:pt x="5680" y="2880"/>
                    <a:pt x="5680" y="2800"/>
                  </a:cubicBezTo>
                  <a:cubicBezTo>
                    <a:pt x="5600" y="2640"/>
                    <a:pt x="5600" y="2560"/>
                    <a:pt x="5600" y="2400"/>
                  </a:cubicBezTo>
                  <a:cubicBezTo>
                    <a:pt x="5520" y="2560"/>
                    <a:pt x="5520" y="2640"/>
                    <a:pt x="5440" y="2800"/>
                  </a:cubicBezTo>
                  <a:cubicBezTo>
                    <a:pt x="5360" y="3040"/>
                    <a:pt x="5200" y="3200"/>
                    <a:pt x="5200" y="3360"/>
                  </a:cubicBezTo>
                  <a:lnTo>
                    <a:pt x="5120" y="3440"/>
                  </a:lnTo>
                  <a:cubicBezTo>
                    <a:pt x="5040" y="3440"/>
                    <a:pt x="5040" y="3440"/>
                    <a:pt x="5040" y="3360"/>
                  </a:cubicBezTo>
                  <a:lnTo>
                    <a:pt x="5040" y="3360"/>
                  </a:lnTo>
                  <a:cubicBezTo>
                    <a:pt x="5040" y="3200"/>
                    <a:pt x="5120" y="2960"/>
                    <a:pt x="5200" y="2720"/>
                  </a:cubicBezTo>
                  <a:cubicBezTo>
                    <a:pt x="5280" y="2400"/>
                    <a:pt x="5440" y="2160"/>
                    <a:pt x="5520" y="2080"/>
                  </a:cubicBezTo>
                  <a:cubicBezTo>
                    <a:pt x="5600" y="2000"/>
                    <a:pt x="5680" y="1920"/>
                    <a:pt x="5760" y="1920"/>
                  </a:cubicBezTo>
                  <a:lnTo>
                    <a:pt x="6000" y="1920"/>
                  </a:lnTo>
                  <a:cubicBezTo>
                    <a:pt x="6160" y="1840"/>
                    <a:pt x="6400" y="1840"/>
                    <a:pt x="6640" y="1760"/>
                  </a:cubicBezTo>
                  <a:close/>
                  <a:moveTo>
                    <a:pt x="11920" y="1920"/>
                  </a:moveTo>
                  <a:lnTo>
                    <a:pt x="11920" y="1920"/>
                  </a:lnTo>
                  <a:cubicBezTo>
                    <a:pt x="11760" y="2080"/>
                    <a:pt x="11680" y="2240"/>
                    <a:pt x="11520" y="2400"/>
                  </a:cubicBezTo>
                  <a:cubicBezTo>
                    <a:pt x="11440" y="2480"/>
                    <a:pt x="11360" y="2480"/>
                    <a:pt x="11360" y="2480"/>
                  </a:cubicBezTo>
                  <a:lnTo>
                    <a:pt x="11440" y="2480"/>
                  </a:lnTo>
                  <a:cubicBezTo>
                    <a:pt x="11520" y="2480"/>
                    <a:pt x="11520" y="2400"/>
                    <a:pt x="11520" y="2400"/>
                  </a:cubicBezTo>
                  <a:cubicBezTo>
                    <a:pt x="11680" y="2240"/>
                    <a:pt x="11840" y="2160"/>
                    <a:pt x="11920" y="1920"/>
                  </a:cubicBezTo>
                  <a:close/>
                  <a:moveTo>
                    <a:pt x="9120" y="2480"/>
                  </a:moveTo>
                  <a:lnTo>
                    <a:pt x="9120" y="2480"/>
                  </a:lnTo>
                  <a:lnTo>
                    <a:pt x="9120" y="2480"/>
                  </a:lnTo>
                  <a:cubicBezTo>
                    <a:pt x="9200" y="2480"/>
                    <a:pt x="9200" y="2480"/>
                    <a:pt x="9200" y="2560"/>
                  </a:cubicBezTo>
                  <a:lnTo>
                    <a:pt x="9200" y="2640"/>
                  </a:lnTo>
                  <a:cubicBezTo>
                    <a:pt x="9200" y="2640"/>
                    <a:pt x="9120" y="2720"/>
                    <a:pt x="9040" y="2720"/>
                  </a:cubicBezTo>
                  <a:lnTo>
                    <a:pt x="9200" y="2880"/>
                  </a:lnTo>
                  <a:lnTo>
                    <a:pt x="9200" y="2960"/>
                  </a:lnTo>
                  <a:cubicBezTo>
                    <a:pt x="9280" y="2960"/>
                    <a:pt x="9440" y="2880"/>
                    <a:pt x="9520" y="2880"/>
                  </a:cubicBezTo>
                  <a:lnTo>
                    <a:pt x="9520" y="2880"/>
                  </a:lnTo>
                  <a:cubicBezTo>
                    <a:pt x="9600" y="2880"/>
                    <a:pt x="9600" y="2880"/>
                    <a:pt x="9600" y="2960"/>
                  </a:cubicBezTo>
                  <a:cubicBezTo>
                    <a:pt x="9600" y="2960"/>
                    <a:pt x="9600" y="3040"/>
                    <a:pt x="9520" y="3040"/>
                  </a:cubicBezTo>
                  <a:cubicBezTo>
                    <a:pt x="9120" y="3120"/>
                    <a:pt x="8800" y="3360"/>
                    <a:pt x="8480" y="3680"/>
                  </a:cubicBezTo>
                  <a:lnTo>
                    <a:pt x="8400" y="3680"/>
                  </a:lnTo>
                  <a:cubicBezTo>
                    <a:pt x="8320" y="3680"/>
                    <a:pt x="8320" y="3680"/>
                    <a:pt x="8320" y="3600"/>
                  </a:cubicBezTo>
                  <a:lnTo>
                    <a:pt x="8320" y="3600"/>
                  </a:lnTo>
                  <a:cubicBezTo>
                    <a:pt x="8320" y="3520"/>
                    <a:pt x="8400" y="3440"/>
                    <a:pt x="8400" y="3440"/>
                  </a:cubicBezTo>
                  <a:lnTo>
                    <a:pt x="8240" y="3280"/>
                  </a:lnTo>
                  <a:lnTo>
                    <a:pt x="8240" y="3200"/>
                  </a:lnTo>
                  <a:cubicBezTo>
                    <a:pt x="8160" y="3280"/>
                    <a:pt x="8080" y="3280"/>
                    <a:pt x="8000" y="3360"/>
                  </a:cubicBezTo>
                  <a:lnTo>
                    <a:pt x="8000" y="3360"/>
                  </a:lnTo>
                  <a:cubicBezTo>
                    <a:pt x="7920" y="3360"/>
                    <a:pt x="7920" y="3360"/>
                    <a:pt x="7920" y="3280"/>
                  </a:cubicBezTo>
                  <a:lnTo>
                    <a:pt x="7920" y="3200"/>
                  </a:lnTo>
                  <a:lnTo>
                    <a:pt x="8160" y="2960"/>
                  </a:lnTo>
                  <a:cubicBezTo>
                    <a:pt x="8240" y="2880"/>
                    <a:pt x="8320" y="2720"/>
                    <a:pt x="8400" y="2720"/>
                  </a:cubicBezTo>
                  <a:cubicBezTo>
                    <a:pt x="8480" y="2640"/>
                    <a:pt x="8640" y="2640"/>
                    <a:pt x="8720" y="2640"/>
                  </a:cubicBezTo>
                  <a:cubicBezTo>
                    <a:pt x="8960" y="2560"/>
                    <a:pt x="9040" y="2480"/>
                    <a:pt x="9120" y="2480"/>
                  </a:cubicBezTo>
                  <a:lnTo>
                    <a:pt x="9120" y="2480"/>
                  </a:lnTo>
                  <a:close/>
                  <a:moveTo>
                    <a:pt x="800" y="2800"/>
                  </a:moveTo>
                  <a:cubicBezTo>
                    <a:pt x="880" y="2800"/>
                    <a:pt x="880" y="2800"/>
                    <a:pt x="880" y="2880"/>
                  </a:cubicBezTo>
                  <a:lnTo>
                    <a:pt x="880" y="2960"/>
                  </a:lnTo>
                  <a:cubicBezTo>
                    <a:pt x="480" y="3360"/>
                    <a:pt x="320" y="3600"/>
                    <a:pt x="320" y="4160"/>
                  </a:cubicBezTo>
                  <a:lnTo>
                    <a:pt x="240" y="4240"/>
                  </a:lnTo>
                  <a:cubicBezTo>
                    <a:pt x="240" y="4240"/>
                    <a:pt x="160" y="4240"/>
                    <a:pt x="160" y="4160"/>
                  </a:cubicBezTo>
                  <a:lnTo>
                    <a:pt x="160" y="3760"/>
                  </a:lnTo>
                  <a:lnTo>
                    <a:pt x="160" y="3760"/>
                  </a:lnTo>
                  <a:cubicBezTo>
                    <a:pt x="80" y="3760"/>
                    <a:pt x="0" y="3680"/>
                    <a:pt x="0" y="3680"/>
                  </a:cubicBezTo>
                  <a:lnTo>
                    <a:pt x="0" y="3280"/>
                  </a:lnTo>
                  <a:cubicBezTo>
                    <a:pt x="80" y="3200"/>
                    <a:pt x="160" y="3120"/>
                    <a:pt x="320" y="3040"/>
                  </a:cubicBezTo>
                  <a:lnTo>
                    <a:pt x="400" y="3040"/>
                  </a:lnTo>
                  <a:cubicBezTo>
                    <a:pt x="400" y="3040"/>
                    <a:pt x="480" y="3040"/>
                    <a:pt x="480" y="3120"/>
                  </a:cubicBezTo>
                  <a:cubicBezTo>
                    <a:pt x="480" y="2960"/>
                    <a:pt x="640" y="2880"/>
                    <a:pt x="800" y="2800"/>
                  </a:cubicBezTo>
                  <a:cubicBezTo>
                    <a:pt x="720" y="2800"/>
                    <a:pt x="800" y="2800"/>
                    <a:pt x="800" y="2800"/>
                  </a:cubicBezTo>
                  <a:close/>
                  <a:moveTo>
                    <a:pt x="10640" y="2880"/>
                  </a:moveTo>
                  <a:lnTo>
                    <a:pt x="10720" y="2880"/>
                  </a:lnTo>
                  <a:lnTo>
                    <a:pt x="10720" y="2880"/>
                  </a:lnTo>
                  <a:lnTo>
                    <a:pt x="10640" y="2880"/>
                  </a:lnTo>
                  <a:close/>
                  <a:moveTo>
                    <a:pt x="1120" y="3440"/>
                  </a:moveTo>
                  <a:lnTo>
                    <a:pt x="1120" y="3440"/>
                  </a:lnTo>
                  <a:cubicBezTo>
                    <a:pt x="1040" y="3520"/>
                    <a:pt x="960" y="3600"/>
                    <a:pt x="960" y="3680"/>
                  </a:cubicBezTo>
                  <a:cubicBezTo>
                    <a:pt x="880" y="3680"/>
                    <a:pt x="880" y="3760"/>
                    <a:pt x="880" y="3840"/>
                  </a:cubicBezTo>
                  <a:cubicBezTo>
                    <a:pt x="880" y="3920"/>
                    <a:pt x="880" y="4000"/>
                    <a:pt x="960" y="4080"/>
                  </a:cubicBezTo>
                  <a:lnTo>
                    <a:pt x="960" y="4080"/>
                  </a:lnTo>
                  <a:cubicBezTo>
                    <a:pt x="1040" y="4000"/>
                    <a:pt x="1120" y="3920"/>
                    <a:pt x="1120" y="3760"/>
                  </a:cubicBezTo>
                  <a:lnTo>
                    <a:pt x="1120" y="3440"/>
                  </a:lnTo>
                  <a:close/>
                  <a:moveTo>
                    <a:pt x="1520" y="4400"/>
                  </a:moveTo>
                  <a:cubicBezTo>
                    <a:pt x="1440" y="4400"/>
                    <a:pt x="1440" y="4400"/>
                    <a:pt x="1520" y="4400"/>
                  </a:cubicBezTo>
                  <a:cubicBezTo>
                    <a:pt x="1360" y="4400"/>
                    <a:pt x="1280" y="4480"/>
                    <a:pt x="1200" y="4480"/>
                  </a:cubicBezTo>
                  <a:cubicBezTo>
                    <a:pt x="1120" y="4480"/>
                    <a:pt x="1120" y="4480"/>
                    <a:pt x="1040" y="4400"/>
                  </a:cubicBezTo>
                  <a:lnTo>
                    <a:pt x="1040" y="4400"/>
                  </a:lnTo>
                  <a:lnTo>
                    <a:pt x="1040" y="4400"/>
                  </a:lnTo>
                  <a:cubicBezTo>
                    <a:pt x="1040" y="4480"/>
                    <a:pt x="1120" y="4480"/>
                    <a:pt x="1200" y="4480"/>
                  </a:cubicBezTo>
                  <a:cubicBezTo>
                    <a:pt x="1280" y="4480"/>
                    <a:pt x="1360" y="4480"/>
                    <a:pt x="1520" y="4400"/>
                  </a:cubicBezTo>
                  <a:cubicBezTo>
                    <a:pt x="1440" y="4400"/>
                    <a:pt x="1440" y="4400"/>
                    <a:pt x="1520" y="4400"/>
                  </a:cubicBezTo>
                  <a:cubicBezTo>
                    <a:pt x="1440" y="4400"/>
                    <a:pt x="1520" y="4400"/>
                    <a:pt x="1520" y="4400"/>
                  </a:cubicBezTo>
                  <a:close/>
                  <a:moveTo>
                    <a:pt x="9760" y="6320"/>
                  </a:moveTo>
                  <a:cubicBezTo>
                    <a:pt x="9760" y="6400"/>
                    <a:pt x="9680" y="6400"/>
                    <a:pt x="9600" y="6400"/>
                  </a:cubicBezTo>
                  <a:lnTo>
                    <a:pt x="9600" y="6400"/>
                  </a:lnTo>
                  <a:cubicBezTo>
                    <a:pt x="9680" y="6480"/>
                    <a:pt x="9760" y="6400"/>
                    <a:pt x="9760" y="6320"/>
                  </a:cubicBezTo>
                  <a:close/>
                  <a:moveTo>
                    <a:pt x="1600" y="6560"/>
                  </a:moveTo>
                  <a:lnTo>
                    <a:pt x="1600" y="6560"/>
                  </a:lnTo>
                  <a:cubicBezTo>
                    <a:pt x="1600" y="6640"/>
                    <a:pt x="1600" y="6640"/>
                    <a:pt x="1600" y="6560"/>
                  </a:cubicBezTo>
                  <a:cubicBezTo>
                    <a:pt x="1440" y="6720"/>
                    <a:pt x="1360" y="6880"/>
                    <a:pt x="1200" y="6960"/>
                  </a:cubicBezTo>
                  <a:lnTo>
                    <a:pt x="1120" y="7040"/>
                  </a:lnTo>
                  <a:lnTo>
                    <a:pt x="1120" y="7120"/>
                  </a:lnTo>
                  <a:cubicBezTo>
                    <a:pt x="1120" y="7280"/>
                    <a:pt x="1280" y="7440"/>
                    <a:pt x="1360" y="7600"/>
                  </a:cubicBezTo>
                  <a:cubicBezTo>
                    <a:pt x="1440" y="7680"/>
                    <a:pt x="1600" y="7760"/>
                    <a:pt x="1760" y="7840"/>
                  </a:cubicBezTo>
                  <a:cubicBezTo>
                    <a:pt x="1840" y="7840"/>
                    <a:pt x="1920" y="7920"/>
                    <a:pt x="2000" y="7920"/>
                  </a:cubicBezTo>
                  <a:cubicBezTo>
                    <a:pt x="2080" y="7920"/>
                    <a:pt x="2080" y="7920"/>
                    <a:pt x="2160" y="7840"/>
                  </a:cubicBezTo>
                  <a:cubicBezTo>
                    <a:pt x="2160" y="7840"/>
                    <a:pt x="2160" y="7760"/>
                    <a:pt x="2240" y="7680"/>
                  </a:cubicBezTo>
                  <a:cubicBezTo>
                    <a:pt x="1920" y="7440"/>
                    <a:pt x="1760" y="7040"/>
                    <a:pt x="1600" y="6560"/>
                  </a:cubicBezTo>
                  <a:close/>
                  <a:moveTo>
                    <a:pt x="8160" y="6960"/>
                  </a:moveTo>
                  <a:cubicBezTo>
                    <a:pt x="8080" y="7120"/>
                    <a:pt x="8080" y="7280"/>
                    <a:pt x="8000" y="7440"/>
                  </a:cubicBezTo>
                  <a:cubicBezTo>
                    <a:pt x="7920" y="7600"/>
                    <a:pt x="7840" y="7840"/>
                    <a:pt x="7680" y="8000"/>
                  </a:cubicBezTo>
                  <a:cubicBezTo>
                    <a:pt x="7600" y="8160"/>
                    <a:pt x="7440" y="8320"/>
                    <a:pt x="7360" y="8400"/>
                  </a:cubicBezTo>
                  <a:lnTo>
                    <a:pt x="7520" y="8400"/>
                  </a:lnTo>
                  <a:lnTo>
                    <a:pt x="7840" y="8400"/>
                  </a:lnTo>
                  <a:lnTo>
                    <a:pt x="8160" y="8400"/>
                  </a:lnTo>
                  <a:lnTo>
                    <a:pt x="8320" y="8400"/>
                  </a:lnTo>
                  <a:cubicBezTo>
                    <a:pt x="8320" y="8400"/>
                    <a:pt x="8400" y="8320"/>
                    <a:pt x="8400" y="8240"/>
                  </a:cubicBezTo>
                  <a:cubicBezTo>
                    <a:pt x="8400" y="8080"/>
                    <a:pt x="8400" y="8160"/>
                    <a:pt x="8320" y="8000"/>
                  </a:cubicBezTo>
                  <a:lnTo>
                    <a:pt x="8320" y="8000"/>
                  </a:lnTo>
                  <a:lnTo>
                    <a:pt x="8320" y="7440"/>
                  </a:lnTo>
                  <a:cubicBezTo>
                    <a:pt x="8240" y="7280"/>
                    <a:pt x="8240" y="7200"/>
                    <a:pt x="8160" y="696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80" name="iconfont-11894-5689857"/>
            <p:cNvSpPr>
              <a:spLocks noChangeAspect="1"/>
            </p:cNvSpPr>
            <p:nvPr userDrawn="1"/>
          </p:nvSpPr>
          <p:spPr bwMode="auto">
            <a:xfrm>
              <a:off x="20872779" y="4596055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2" name="iconfont-11894-5689857"/>
            <p:cNvSpPr>
              <a:spLocks noChangeAspect="1"/>
            </p:cNvSpPr>
            <p:nvPr userDrawn="1"/>
          </p:nvSpPr>
          <p:spPr bwMode="auto">
            <a:xfrm>
              <a:off x="22092151" y="4594573"/>
              <a:ext cx="609685" cy="609685"/>
            </a:xfrm>
            <a:custGeom>
              <a:avLst/>
              <a:gdLst>
                <a:gd name="T0" fmla="*/ 2400 w 12800"/>
                <a:gd name="T1" fmla="*/ 10240 h 12800"/>
                <a:gd name="T2" fmla="*/ 2400 w 12800"/>
                <a:gd name="T3" fmla="*/ 2640 h 12800"/>
                <a:gd name="T4" fmla="*/ 7120 w 12800"/>
                <a:gd name="T5" fmla="*/ 6400 h 12800"/>
                <a:gd name="T6" fmla="*/ 2400 w 12800"/>
                <a:gd name="T7" fmla="*/ 10240 h 12800"/>
                <a:gd name="T8" fmla="*/ 3200 w 12800"/>
                <a:gd name="T9" fmla="*/ 4160 h 12800"/>
                <a:gd name="T10" fmla="*/ 3200 w 12800"/>
                <a:gd name="T11" fmla="*/ 8640 h 12800"/>
                <a:gd name="T12" fmla="*/ 6000 w 12800"/>
                <a:gd name="T13" fmla="*/ 6400 h 12800"/>
                <a:gd name="T14" fmla="*/ 3200 w 12800"/>
                <a:gd name="T15" fmla="*/ 4160 h 12800"/>
                <a:gd name="T16" fmla="*/ 11680 w 12800"/>
                <a:gd name="T17" fmla="*/ 12800 h 12800"/>
                <a:gd name="T18" fmla="*/ 1120 w 12800"/>
                <a:gd name="T19" fmla="*/ 12800 h 12800"/>
                <a:gd name="T20" fmla="*/ 0 w 12800"/>
                <a:gd name="T21" fmla="*/ 11680 h 12800"/>
                <a:gd name="T22" fmla="*/ 0 w 12800"/>
                <a:gd name="T23" fmla="*/ 1120 h 12800"/>
                <a:gd name="T24" fmla="*/ 1120 w 12800"/>
                <a:gd name="T25" fmla="*/ 0 h 12800"/>
                <a:gd name="T26" fmla="*/ 11680 w 12800"/>
                <a:gd name="T27" fmla="*/ 0 h 12800"/>
                <a:gd name="T28" fmla="*/ 12800 w 12800"/>
                <a:gd name="T29" fmla="*/ 1120 h 12800"/>
                <a:gd name="T30" fmla="*/ 12800 w 12800"/>
                <a:gd name="T31" fmla="*/ 11680 h 12800"/>
                <a:gd name="T32" fmla="*/ 11680 w 12800"/>
                <a:gd name="T33" fmla="*/ 12800 h 12800"/>
                <a:gd name="T34" fmla="*/ 1120 w 12800"/>
                <a:gd name="T35" fmla="*/ 800 h 12800"/>
                <a:gd name="T36" fmla="*/ 720 w 12800"/>
                <a:gd name="T37" fmla="*/ 1200 h 12800"/>
                <a:gd name="T38" fmla="*/ 720 w 12800"/>
                <a:gd name="T39" fmla="*/ 11760 h 12800"/>
                <a:gd name="T40" fmla="*/ 1120 w 12800"/>
                <a:gd name="T41" fmla="*/ 12160 h 12800"/>
                <a:gd name="T42" fmla="*/ 11680 w 12800"/>
                <a:gd name="T43" fmla="*/ 12160 h 12800"/>
                <a:gd name="T44" fmla="*/ 12080 w 12800"/>
                <a:gd name="T45" fmla="*/ 11760 h 12800"/>
                <a:gd name="T46" fmla="*/ 12080 w 12800"/>
                <a:gd name="T47" fmla="*/ 1120 h 12800"/>
                <a:gd name="T48" fmla="*/ 11680 w 12800"/>
                <a:gd name="T49" fmla="*/ 720 h 12800"/>
                <a:gd name="T50" fmla="*/ 1120 w 12800"/>
                <a:gd name="T51" fmla="*/ 720 h 12800"/>
                <a:gd name="T52" fmla="*/ 1120 w 12800"/>
                <a:gd name="T53" fmla="*/ 800 h 12800"/>
                <a:gd name="T54" fmla="*/ 6400 w 12800"/>
                <a:gd name="T55" fmla="*/ 10240 h 12800"/>
                <a:gd name="T56" fmla="*/ 6400 w 12800"/>
                <a:gd name="T57" fmla="*/ 2640 h 12800"/>
                <a:gd name="T58" fmla="*/ 11120 w 12800"/>
                <a:gd name="T59" fmla="*/ 6400 h 12800"/>
                <a:gd name="T60" fmla="*/ 6400 w 12800"/>
                <a:gd name="T61" fmla="*/ 10240 h 12800"/>
                <a:gd name="T62" fmla="*/ 7200 w 12800"/>
                <a:gd name="T63" fmla="*/ 4160 h 12800"/>
                <a:gd name="T64" fmla="*/ 7200 w 12800"/>
                <a:gd name="T65" fmla="*/ 8640 h 12800"/>
                <a:gd name="T66" fmla="*/ 10000 w 12800"/>
                <a:gd name="T67" fmla="*/ 6400 h 12800"/>
                <a:gd name="T68" fmla="*/ 7200 w 12800"/>
                <a:gd name="T69" fmla="*/ 416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800" h="12800">
                  <a:moveTo>
                    <a:pt x="2400" y="10240"/>
                  </a:moveTo>
                  <a:lnTo>
                    <a:pt x="2400" y="2640"/>
                  </a:lnTo>
                  <a:lnTo>
                    <a:pt x="7120" y="6400"/>
                  </a:lnTo>
                  <a:lnTo>
                    <a:pt x="2400" y="10240"/>
                  </a:lnTo>
                  <a:close/>
                  <a:moveTo>
                    <a:pt x="3200" y="4160"/>
                  </a:moveTo>
                  <a:lnTo>
                    <a:pt x="3200" y="8640"/>
                  </a:lnTo>
                  <a:lnTo>
                    <a:pt x="6000" y="6400"/>
                  </a:lnTo>
                  <a:lnTo>
                    <a:pt x="3200" y="4160"/>
                  </a:lnTo>
                  <a:close/>
                  <a:moveTo>
                    <a:pt x="11680" y="12800"/>
                  </a:moveTo>
                  <a:lnTo>
                    <a:pt x="1120" y="12800"/>
                  </a:lnTo>
                  <a:cubicBezTo>
                    <a:pt x="480" y="12800"/>
                    <a:pt x="0" y="12320"/>
                    <a:pt x="0" y="11680"/>
                  </a:cubicBezTo>
                  <a:lnTo>
                    <a:pt x="0" y="1120"/>
                  </a:lnTo>
                  <a:cubicBezTo>
                    <a:pt x="0" y="480"/>
                    <a:pt x="480" y="0"/>
                    <a:pt x="1120" y="0"/>
                  </a:cubicBezTo>
                  <a:lnTo>
                    <a:pt x="11680" y="0"/>
                  </a:lnTo>
                  <a:cubicBezTo>
                    <a:pt x="12320" y="0"/>
                    <a:pt x="12800" y="480"/>
                    <a:pt x="12800" y="1120"/>
                  </a:cubicBezTo>
                  <a:lnTo>
                    <a:pt x="12800" y="11680"/>
                  </a:lnTo>
                  <a:cubicBezTo>
                    <a:pt x="12800" y="12320"/>
                    <a:pt x="12240" y="12800"/>
                    <a:pt x="11680" y="12800"/>
                  </a:cubicBezTo>
                  <a:close/>
                  <a:moveTo>
                    <a:pt x="1120" y="800"/>
                  </a:moveTo>
                  <a:cubicBezTo>
                    <a:pt x="880" y="800"/>
                    <a:pt x="720" y="960"/>
                    <a:pt x="720" y="1200"/>
                  </a:cubicBezTo>
                  <a:lnTo>
                    <a:pt x="720" y="11760"/>
                  </a:lnTo>
                  <a:cubicBezTo>
                    <a:pt x="720" y="12000"/>
                    <a:pt x="880" y="12160"/>
                    <a:pt x="1120" y="12160"/>
                  </a:cubicBezTo>
                  <a:lnTo>
                    <a:pt x="11680" y="12160"/>
                  </a:lnTo>
                  <a:cubicBezTo>
                    <a:pt x="11920" y="12160"/>
                    <a:pt x="12080" y="12000"/>
                    <a:pt x="12080" y="11760"/>
                  </a:cubicBezTo>
                  <a:lnTo>
                    <a:pt x="12080" y="1120"/>
                  </a:lnTo>
                  <a:cubicBezTo>
                    <a:pt x="12080" y="880"/>
                    <a:pt x="11920" y="720"/>
                    <a:pt x="11680" y="720"/>
                  </a:cubicBezTo>
                  <a:lnTo>
                    <a:pt x="1120" y="720"/>
                  </a:lnTo>
                  <a:lnTo>
                    <a:pt x="1120" y="800"/>
                  </a:lnTo>
                  <a:close/>
                  <a:moveTo>
                    <a:pt x="6400" y="10240"/>
                  </a:moveTo>
                  <a:lnTo>
                    <a:pt x="6400" y="2640"/>
                  </a:lnTo>
                  <a:lnTo>
                    <a:pt x="11120" y="6400"/>
                  </a:lnTo>
                  <a:lnTo>
                    <a:pt x="6400" y="10240"/>
                  </a:lnTo>
                  <a:close/>
                  <a:moveTo>
                    <a:pt x="7200" y="4160"/>
                  </a:moveTo>
                  <a:lnTo>
                    <a:pt x="7200" y="8640"/>
                  </a:lnTo>
                  <a:lnTo>
                    <a:pt x="10000" y="6400"/>
                  </a:lnTo>
                  <a:lnTo>
                    <a:pt x="7200" y="416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21" name="iconfont-11894-5689857"/>
            <p:cNvSpPr>
              <a:spLocks noChangeAspect="1"/>
            </p:cNvSpPr>
            <p:nvPr userDrawn="1"/>
          </p:nvSpPr>
          <p:spPr bwMode="auto">
            <a:xfrm>
              <a:off x="23311520" y="4594574"/>
              <a:ext cx="609685" cy="609685"/>
            </a:xfrm>
            <a:custGeom>
              <a:avLst/>
              <a:gdLst>
                <a:gd name="T0" fmla="*/ 12160 w 12960"/>
                <a:gd name="T1" fmla="*/ 0 h 12960"/>
                <a:gd name="T2" fmla="*/ 6800 w 12960"/>
                <a:gd name="T3" fmla="*/ 0 h 12960"/>
                <a:gd name="T4" fmla="*/ 5920 w 12960"/>
                <a:gd name="T5" fmla="*/ 640 h 12960"/>
                <a:gd name="T6" fmla="*/ 640 w 12960"/>
                <a:gd name="T7" fmla="*/ 5920 h 12960"/>
                <a:gd name="T8" fmla="*/ 640 w 12960"/>
                <a:gd name="T9" fmla="*/ 8240 h 12960"/>
                <a:gd name="T10" fmla="*/ 4720 w 12960"/>
                <a:gd name="T11" fmla="*/ 12320 h 12960"/>
                <a:gd name="T12" fmla="*/ 7040 w 12960"/>
                <a:gd name="T13" fmla="*/ 12320 h 12960"/>
                <a:gd name="T14" fmla="*/ 12320 w 12960"/>
                <a:gd name="T15" fmla="*/ 7040 h 12960"/>
                <a:gd name="T16" fmla="*/ 12960 w 12960"/>
                <a:gd name="T17" fmla="*/ 6080 h 12960"/>
                <a:gd name="T18" fmla="*/ 12960 w 12960"/>
                <a:gd name="T19" fmla="*/ 800 h 12960"/>
                <a:gd name="T20" fmla="*/ 12160 w 12960"/>
                <a:gd name="T21" fmla="*/ 0 h 12960"/>
                <a:gd name="T22" fmla="*/ 7120 w 12960"/>
                <a:gd name="T23" fmla="*/ 11120 h 12960"/>
                <a:gd name="T24" fmla="*/ 6560 w 12960"/>
                <a:gd name="T25" fmla="*/ 11680 h 12960"/>
                <a:gd name="T26" fmla="*/ 6560 w 12960"/>
                <a:gd name="T27" fmla="*/ 11680 h 12960"/>
                <a:gd name="T28" fmla="*/ 5360 w 12960"/>
                <a:gd name="T29" fmla="*/ 11680 h 12960"/>
                <a:gd name="T30" fmla="*/ 1280 w 12960"/>
                <a:gd name="T31" fmla="*/ 7600 h 12960"/>
                <a:gd name="T32" fmla="*/ 1280 w 12960"/>
                <a:gd name="T33" fmla="*/ 6400 h 12960"/>
                <a:gd name="T34" fmla="*/ 1840 w 12960"/>
                <a:gd name="T35" fmla="*/ 5840 h 12960"/>
                <a:gd name="T36" fmla="*/ 2400 w 12960"/>
                <a:gd name="T37" fmla="*/ 5280 h 12960"/>
                <a:gd name="T38" fmla="*/ 6480 w 12960"/>
                <a:gd name="T39" fmla="*/ 1200 h 12960"/>
                <a:gd name="T40" fmla="*/ 7200 w 12960"/>
                <a:gd name="T41" fmla="*/ 800 h 12960"/>
                <a:gd name="T42" fmla="*/ 11760 w 12960"/>
                <a:gd name="T43" fmla="*/ 800 h 12960"/>
                <a:gd name="T44" fmla="*/ 12160 w 12960"/>
                <a:gd name="T45" fmla="*/ 1120 h 12960"/>
                <a:gd name="T46" fmla="*/ 12160 w 12960"/>
                <a:gd name="T47" fmla="*/ 5680 h 12960"/>
                <a:gd name="T48" fmla="*/ 12160 w 12960"/>
                <a:gd name="T49" fmla="*/ 5680 h 12960"/>
                <a:gd name="T50" fmla="*/ 11760 w 12960"/>
                <a:gd name="T51" fmla="*/ 6400 h 12960"/>
                <a:gd name="T52" fmla="*/ 7680 w 12960"/>
                <a:gd name="T53" fmla="*/ 10480 h 12960"/>
                <a:gd name="T54" fmla="*/ 7120 w 12960"/>
                <a:gd name="T55" fmla="*/ 11120 h 12960"/>
                <a:gd name="T56" fmla="*/ 8000 w 12960"/>
                <a:gd name="T57" fmla="*/ 2640 h 12960"/>
                <a:gd name="T58" fmla="*/ 8000 w 12960"/>
                <a:gd name="T59" fmla="*/ 4960 h 12960"/>
                <a:gd name="T60" fmla="*/ 10320 w 12960"/>
                <a:gd name="T61" fmla="*/ 4960 h 12960"/>
                <a:gd name="T62" fmla="*/ 10320 w 12960"/>
                <a:gd name="T63" fmla="*/ 2640 h 12960"/>
                <a:gd name="T64" fmla="*/ 8000 w 12960"/>
                <a:gd name="T65" fmla="*/ 2640 h 12960"/>
                <a:gd name="T66" fmla="*/ 9760 w 12960"/>
                <a:gd name="T67" fmla="*/ 4400 h 12960"/>
                <a:gd name="T68" fmla="*/ 8560 w 12960"/>
                <a:gd name="T69" fmla="*/ 4400 h 12960"/>
                <a:gd name="T70" fmla="*/ 8560 w 12960"/>
                <a:gd name="T71" fmla="*/ 3200 h 12960"/>
                <a:gd name="T72" fmla="*/ 9760 w 12960"/>
                <a:gd name="T73" fmla="*/ 3200 h 12960"/>
                <a:gd name="T74" fmla="*/ 9760 w 12960"/>
                <a:gd name="T75" fmla="*/ 4400 h 12960"/>
                <a:gd name="T76" fmla="*/ 8357 w 12960"/>
                <a:gd name="T77" fmla="*/ 8327 h 12960"/>
                <a:gd name="T78" fmla="*/ 4680 w 12960"/>
                <a:gd name="T79" fmla="*/ 4651 h 12960"/>
                <a:gd name="T80" fmla="*/ 5472 w 12960"/>
                <a:gd name="T81" fmla="*/ 3859 h 12960"/>
                <a:gd name="T82" fmla="*/ 9149 w 12960"/>
                <a:gd name="T83" fmla="*/ 7536 h 12960"/>
                <a:gd name="T84" fmla="*/ 8357 w 12960"/>
                <a:gd name="T85" fmla="*/ 8327 h 12960"/>
                <a:gd name="T86" fmla="*/ 6739 w 12960"/>
                <a:gd name="T87" fmla="*/ 9999 h 12960"/>
                <a:gd name="T88" fmla="*/ 3062 w 12960"/>
                <a:gd name="T89" fmla="*/ 6322 h 12960"/>
                <a:gd name="T90" fmla="*/ 3854 w 12960"/>
                <a:gd name="T91" fmla="*/ 5530 h 12960"/>
                <a:gd name="T92" fmla="*/ 7531 w 12960"/>
                <a:gd name="T93" fmla="*/ 9207 h 12960"/>
                <a:gd name="T94" fmla="*/ 6739 w 12960"/>
                <a:gd name="T95" fmla="*/ 9999 h 12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960" h="12960">
                  <a:moveTo>
                    <a:pt x="12160" y="0"/>
                  </a:moveTo>
                  <a:lnTo>
                    <a:pt x="6800" y="0"/>
                  </a:lnTo>
                  <a:cubicBezTo>
                    <a:pt x="6400" y="0"/>
                    <a:pt x="6320" y="160"/>
                    <a:pt x="5920" y="640"/>
                  </a:cubicBezTo>
                  <a:lnTo>
                    <a:pt x="640" y="5920"/>
                  </a:lnTo>
                  <a:cubicBezTo>
                    <a:pt x="0" y="6560"/>
                    <a:pt x="0" y="7600"/>
                    <a:pt x="640" y="8240"/>
                  </a:cubicBezTo>
                  <a:lnTo>
                    <a:pt x="4720" y="12320"/>
                  </a:lnTo>
                  <a:cubicBezTo>
                    <a:pt x="5360" y="12960"/>
                    <a:pt x="6400" y="12960"/>
                    <a:pt x="7040" y="12320"/>
                  </a:cubicBezTo>
                  <a:lnTo>
                    <a:pt x="12320" y="7040"/>
                  </a:lnTo>
                  <a:cubicBezTo>
                    <a:pt x="12720" y="6720"/>
                    <a:pt x="12960" y="6560"/>
                    <a:pt x="12960" y="6080"/>
                  </a:cubicBezTo>
                  <a:lnTo>
                    <a:pt x="12960" y="800"/>
                  </a:lnTo>
                  <a:cubicBezTo>
                    <a:pt x="12960" y="320"/>
                    <a:pt x="12640" y="0"/>
                    <a:pt x="12160" y="0"/>
                  </a:cubicBezTo>
                  <a:close/>
                  <a:moveTo>
                    <a:pt x="7120" y="11120"/>
                  </a:moveTo>
                  <a:lnTo>
                    <a:pt x="6560" y="11680"/>
                  </a:lnTo>
                  <a:lnTo>
                    <a:pt x="6560" y="11680"/>
                  </a:lnTo>
                  <a:cubicBezTo>
                    <a:pt x="6240" y="12000"/>
                    <a:pt x="5680" y="12000"/>
                    <a:pt x="5360" y="11680"/>
                  </a:cubicBezTo>
                  <a:lnTo>
                    <a:pt x="1280" y="7600"/>
                  </a:lnTo>
                  <a:cubicBezTo>
                    <a:pt x="960" y="7280"/>
                    <a:pt x="960" y="6720"/>
                    <a:pt x="1280" y="6400"/>
                  </a:cubicBezTo>
                  <a:lnTo>
                    <a:pt x="1840" y="5840"/>
                  </a:lnTo>
                  <a:lnTo>
                    <a:pt x="2400" y="5280"/>
                  </a:lnTo>
                  <a:lnTo>
                    <a:pt x="6480" y="1200"/>
                  </a:lnTo>
                  <a:cubicBezTo>
                    <a:pt x="6720" y="1040"/>
                    <a:pt x="7040" y="800"/>
                    <a:pt x="7200" y="800"/>
                  </a:cubicBezTo>
                  <a:lnTo>
                    <a:pt x="11760" y="800"/>
                  </a:lnTo>
                  <a:cubicBezTo>
                    <a:pt x="12000" y="800"/>
                    <a:pt x="12160" y="960"/>
                    <a:pt x="12160" y="1120"/>
                  </a:cubicBezTo>
                  <a:lnTo>
                    <a:pt x="12160" y="5680"/>
                  </a:lnTo>
                  <a:lnTo>
                    <a:pt x="12160" y="5680"/>
                  </a:lnTo>
                  <a:cubicBezTo>
                    <a:pt x="12160" y="5920"/>
                    <a:pt x="12000" y="6240"/>
                    <a:pt x="11760" y="6400"/>
                  </a:cubicBezTo>
                  <a:lnTo>
                    <a:pt x="7680" y="10480"/>
                  </a:lnTo>
                  <a:lnTo>
                    <a:pt x="7120" y="11120"/>
                  </a:lnTo>
                  <a:close/>
                  <a:moveTo>
                    <a:pt x="8000" y="2640"/>
                  </a:moveTo>
                  <a:cubicBezTo>
                    <a:pt x="7360" y="3280"/>
                    <a:pt x="7360" y="4320"/>
                    <a:pt x="8000" y="4960"/>
                  </a:cubicBezTo>
                  <a:cubicBezTo>
                    <a:pt x="8640" y="5600"/>
                    <a:pt x="9680" y="5600"/>
                    <a:pt x="10320" y="4960"/>
                  </a:cubicBezTo>
                  <a:cubicBezTo>
                    <a:pt x="10960" y="4320"/>
                    <a:pt x="10960" y="3280"/>
                    <a:pt x="10320" y="2640"/>
                  </a:cubicBezTo>
                  <a:cubicBezTo>
                    <a:pt x="9680" y="2000"/>
                    <a:pt x="8640" y="2000"/>
                    <a:pt x="8000" y="2640"/>
                  </a:cubicBezTo>
                  <a:close/>
                  <a:moveTo>
                    <a:pt x="9760" y="4400"/>
                  </a:moveTo>
                  <a:cubicBezTo>
                    <a:pt x="9440" y="4720"/>
                    <a:pt x="8880" y="4720"/>
                    <a:pt x="8560" y="4400"/>
                  </a:cubicBezTo>
                  <a:cubicBezTo>
                    <a:pt x="8240" y="4080"/>
                    <a:pt x="8240" y="3520"/>
                    <a:pt x="8560" y="3200"/>
                  </a:cubicBezTo>
                  <a:cubicBezTo>
                    <a:pt x="8880" y="2880"/>
                    <a:pt x="9440" y="2880"/>
                    <a:pt x="9760" y="3200"/>
                  </a:cubicBezTo>
                  <a:cubicBezTo>
                    <a:pt x="10080" y="3600"/>
                    <a:pt x="10080" y="4080"/>
                    <a:pt x="9760" y="4400"/>
                  </a:cubicBezTo>
                  <a:close/>
                  <a:moveTo>
                    <a:pt x="8357" y="8327"/>
                  </a:moveTo>
                  <a:lnTo>
                    <a:pt x="4680" y="4651"/>
                  </a:lnTo>
                  <a:lnTo>
                    <a:pt x="5472" y="3859"/>
                  </a:lnTo>
                  <a:lnTo>
                    <a:pt x="9149" y="7536"/>
                  </a:lnTo>
                  <a:lnTo>
                    <a:pt x="8357" y="8327"/>
                  </a:lnTo>
                  <a:close/>
                  <a:moveTo>
                    <a:pt x="6739" y="9999"/>
                  </a:moveTo>
                  <a:lnTo>
                    <a:pt x="3062" y="6322"/>
                  </a:lnTo>
                  <a:lnTo>
                    <a:pt x="3854" y="5530"/>
                  </a:lnTo>
                  <a:lnTo>
                    <a:pt x="7531" y="9207"/>
                  </a:lnTo>
                  <a:lnTo>
                    <a:pt x="6739" y="99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20" name="iconfont-11894-5689857"/>
            <p:cNvSpPr>
              <a:spLocks noChangeAspect="1"/>
            </p:cNvSpPr>
            <p:nvPr userDrawn="1"/>
          </p:nvSpPr>
          <p:spPr bwMode="auto">
            <a:xfrm>
              <a:off x="24559690" y="4594574"/>
              <a:ext cx="552081" cy="609685"/>
            </a:xfrm>
            <a:custGeom>
              <a:avLst/>
              <a:gdLst>
                <a:gd name="T0" fmla="*/ 8880 w 11520"/>
                <a:gd name="T1" fmla="*/ 7520 h 12720"/>
                <a:gd name="T2" fmla="*/ 8720 w 11520"/>
                <a:gd name="T3" fmla="*/ 7520 h 12720"/>
                <a:gd name="T4" fmla="*/ 6240 w 11520"/>
                <a:gd name="T5" fmla="*/ 5280 h 12720"/>
                <a:gd name="T6" fmla="*/ 11360 w 11520"/>
                <a:gd name="T7" fmla="*/ 640 h 12720"/>
                <a:gd name="T8" fmla="*/ 10880 w 11520"/>
                <a:gd name="T9" fmla="*/ 80 h 12720"/>
                <a:gd name="T10" fmla="*/ 5680 w 11520"/>
                <a:gd name="T11" fmla="*/ 4720 h 12720"/>
                <a:gd name="T12" fmla="*/ 480 w 11520"/>
                <a:gd name="T13" fmla="*/ 0 h 12720"/>
                <a:gd name="T14" fmla="*/ 0 w 11520"/>
                <a:gd name="T15" fmla="*/ 560 h 12720"/>
                <a:gd name="T16" fmla="*/ 5120 w 11520"/>
                <a:gd name="T17" fmla="*/ 5200 h 12720"/>
                <a:gd name="T18" fmla="*/ 2640 w 11520"/>
                <a:gd name="T19" fmla="*/ 7440 h 12720"/>
                <a:gd name="T20" fmla="*/ 160 w 11520"/>
                <a:gd name="T21" fmla="*/ 10080 h 12720"/>
                <a:gd name="T22" fmla="*/ 2800 w 11520"/>
                <a:gd name="T23" fmla="*/ 12720 h 12720"/>
                <a:gd name="T24" fmla="*/ 5440 w 11520"/>
                <a:gd name="T25" fmla="*/ 10080 h 12720"/>
                <a:gd name="T26" fmla="*/ 3600 w 11520"/>
                <a:gd name="T27" fmla="*/ 7600 h 12720"/>
                <a:gd name="T28" fmla="*/ 5680 w 11520"/>
                <a:gd name="T29" fmla="*/ 5760 h 12720"/>
                <a:gd name="T30" fmla="*/ 7840 w 11520"/>
                <a:gd name="T31" fmla="*/ 7680 h 12720"/>
                <a:gd name="T32" fmla="*/ 6240 w 11520"/>
                <a:gd name="T33" fmla="*/ 10080 h 12720"/>
                <a:gd name="T34" fmla="*/ 8880 w 11520"/>
                <a:gd name="T35" fmla="*/ 12720 h 12720"/>
                <a:gd name="T36" fmla="*/ 11520 w 11520"/>
                <a:gd name="T37" fmla="*/ 10080 h 12720"/>
                <a:gd name="T38" fmla="*/ 8880 w 11520"/>
                <a:gd name="T39" fmla="*/ 7520 h 12720"/>
                <a:gd name="T40" fmla="*/ 4720 w 11520"/>
                <a:gd name="T41" fmla="*/ 10080 h 12720"/>
                <a:gd name="T42" fmla="*/ 2800 w 11520"/>
                <a:gd name="T43" fmla="*/ 12000 h 12720"/>
                <a:gd name="T44" fmla="*/ 880 w 11520"/>
                <a:gd name="T45" fmla="*/ 10080 h 12720"/>
                <a:gd name="T46" fmla="*/ 2800 w 11520"/>
                <a:gd name="T47" fmla="*/ 8160 h 12720"/>
                <a:gd name="T48" fmla="*/ 4720 w 11520"/>
                <a:gd name="T49" fmla="*/ 10080 h 12720"/>
                <a:gd name="T50" fmla="*/ 8880 w 11520"/>
                <a:gd name="T51" fmla="*/ 12000 h 12720"/>
                <a:gd name="T52" fmla="*/ 6960 w 11520"/>
                <a:gd name="T53" fmla="*/ 10080 h 12720"/>
                <a:gd name="T54" fmla="*/ 8880 w 11520"/>
                <a:gd name="T55" fmla="*/ 8160 h 12720"/>
                <a:gd name="T56" fmla="*/ 10800 w 11520"/>
                <a:gd name="T57" fmla="*/ 10080 h 12720"/>
                <a:gd name="T58" fmla="*/ 8880 w 11520"/>
                <a:gd name="T59" fmla="*/ 1200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20" h="12720">
                  <a:moveTo>
                    <a:pt x="8880" y="7520"/>
                  </a:moveTo>
                  <a:lnTo>
                    <a:pt x="8720" y="7520"/>
                  </a:lnTo>
                  <a:lnTo>
                    <a:pt x="6240" y="5280"/>
                  </a:lnTo>
                  <a:lnTo>
                    <a:pt x="11360" y="640"/>
                  </a:lnTo>
                  <a:lnTo>
                    <a:pt x="10880" y="80"/>
                  </a:lnTo>
                  <a:lnTo>
                    <a:pt x="5680" y="4720"/>
                  </a:lnTo>
                  <a:lnTo>
                    <a:pt x="480" y="0"/>
                  </a:lnTo>
                  <a:lnTo>
                    <a:pt x="0" y="560"/>
                  </a:lnTo>
                  <a:lnTo>
                    <a:pt x="5120" y="5200"/>
                  </a:lnTo>
                  <a:lnTo>
                    <a:pt x="2640" y="7440"/>
                  </a:lnTo>
                  <a:cubicBezTo>
                    <a:pt x="1280" y="7520"/>
                    <a:pt x="160" y="8640"/>
                    <a:pt x="160" y="10080"/>
                  </a:cubicBezTo>
                  <a:cubicBezTo>
                    <a:pt x="160" y="11520"/>
                    <a:pt x="1360" y="12720"/>
                    <a:pt x="2800" y="12720"/>
                  </a:cubicBezTo>
                  <a:cubicBezTo>
                    <a:pt x="4240" y="12720"/>
                    <a:pt x="5440" y="11520"/>
                    <a:pt x="5440" y="10080"/>
                  </a:cubicBezTo>
                  <a:cubicBezTo>
                    <a:pt x="5440" y="8880"/>
                    <a:pt x="4640" y="7920"/>
                    <a:pt x="3600" y="7600"/>
                  </a:cubicBezTo>
                  <a:lnTo>
                    <a:pt x="5680" y="5760"/>
                  </a:lnTo>
                  <a:lnTo>
                    <a:pt x="7840" y="7680"/>
                  </a:lnTo>
                  <a:cubicBezTo>
                    <a:pt x="6880" y="8080"/>
                    <a:pt x="6240" y="9040"/>
                    <a:pt x="6240" y="10080"/>
                  </a:cubicBezTo>
                  <a:cubicBezTo>
                    <a:pt x="6240" y="11520"/>
                    <a:pt x="7440" y="12720"/>
                    <a:pt x="8880" y="12720"/>
                  </a:cubicBezTo>
                  <a:cubicBezTo>
                    <a:pt x="10320" y="12720"/>
                    <a:pt x="11520" y="11520"/>
                    <a:pt x="11520" y="10080"/>
                  </a:cubicBezTo>
                  <a:cubicBezTo>
                    <a:pt x="11520" y="8640"/>
                    <a:pt x="10320" y="7520"/>
                    <a:pt x="8880" y="7520"/>
                  </a:cubicBezTo>
                  <a:close/>
                  <a:moveTo>
                    <a:pt x="4720" y="10080"/>
                  </a:moveTo>
                  <a:cubicBezTo>
                    <a:pt x="4720" y="11120"/>
                    <a:pt x="3840" y="12000"/>
                    <a:pt x="2800" y="12000"/>
                  </a:cubicBezTo>
                  <a:cubicBezTo>
                    <a:pt x="1760" y="12000"/>
                    <a:pt x="880" y="11120"/>
                    <a:pt x="880" y="10080"/>
                  </a:cubicBezTo>
                  <a:cubicBezTo>
                    <a:pt x="880" y="9040"/>
                    <a:pt x="1760" y="8160"/>
                    <a:pt x="2800" y="8160"/>
                  </a:cubicBezTo>
                  <a:cubicBezTo>
                    <a:pt x="3840" y="8160"/>
                    <a:pt x="4720" y="9040"/>
                    <a:pt x="4720" y="10080"/>
                  </a:cubicBezTo>
                  <a:close/>
                  <a:moveTo>
                    <a:pt x="8880" y="12000"/>
                  </a:moveTo>
                  <a:cubicBezTo>
                    <a:pt x="7840" y="12000"/>
                    <a:pt x="6960" y="11120"/>
                    <a:pt x="6960" y="10080"/>
                  </a:cubicBezTo>
                  <a:cubicBezTo>
                    <a:pt x="6960" y="9040"/>
                    <a:pt x="7840" y="8160"/>
                    <a:pt x="8880" y="8160"/>
                  </a:cubicBezTo>
                  <a:cubicBezTo>
                    <a:pt x="9920" y="8160"/>
                    <a:pt x="10800" y="9040"/>
                    <a:pt x="10800" y="10080"/>
                  </a:cubicBezTo>
                  <a:cubicBezTo>
                    <a:pt x="10800" y="11120"/>
                    <a:pt x="9920" y="12000"/>
                    <a:pt x="8880" y="1200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37" name="iconfont-11894-5689857"/>
            <p:cNvSpPr>
              <a:spLocks noChangeAspect="1"/>
            </p:cNvSpPr>
            <p:nvPr userDrawn="1"/>
          </p:nvSpPr>
          <p:spPr bwMode="auto">
            <a:xfrm>
              <a:off x="25750259" y="4617762"/>
              <a:ext cx="609685" cy="563308"/>
            </a:xfrm>
            <a:custGeom>
              <a:avLst/>
              <a:gdLst>
                <a:gd name="T0" fmla="*/ 10230 w 11229"/>
                <a:gd name="T1" fmla="*/ 8212 h 10372"/>
                <a:gd name="T2" fmla="*/ 10167 w 11229"/>
                <a:gd name="T3" fmla="*/ 8205 h 10372"/>
                <a:gd name="T4" fmla="*/ 4884 w 11229"/>
                <a:gd name="T5" fmla="*/ 8205 h 10372"/>
                <a:gd name="T6" fmla="*/ 4649 w 11229"/>
                <a:gd name="T7" fmla="*/ 7316 h 10372"/>
                <a:gd name="T8" fmla="*/ 9093 w 11229"/>
                <a:gd name="T9" fmla="*/ 6985 h 10372"/>
                <a:gd name="T10" fmla="*/ 9388 w 11229"/>
                <a:gd name="T11" fmla="*/ 6673 h 10372"/>
                <a:gd name="T12" fmla="*/ 10234 w 11229"/>
                <a:gd name="T13" fmla="*/ 1982 h 10372"/>
                <a:gd name="T14" fmla="*/ 10236 w 11229"/>
                <a:gd name="T15" fmla="*/ 1875 h 10372"/>
                <a:gd name="T16" fmla="*/ 9917 w 11229"/>
                <a:gd name="T17" fmla="*/ 1593 h 10372"/>
                <a:gd name="T18" fmla="*/ 3134 w 11229"/>
                <a:gd name="T19" fmla="*/ 1593 h 10372"/>
                <a:gd name="T20" fmla="*/ 2792 w 11229"/>
                <a:gd name="T21" fmla="*/ 302 h 10372"/>
                <a:gd name="T22" fmla="*/ 2472 w 11229"/>
                <a:gd name="T23" fmla="*/ 0 h 10372"/>
                <a:gd name="T24" fmla="*/ 320 w 11229"/>
                <a:gd name="T25" fmla="*/ 0 h 10372"/>
                <a:gd name="T26" fmla="*/ 0 w 11229"/>
                <a:gd name="T27" fmla="*/ 309 h 10372"/>
                <a:gd name="T28" fmla="*/ 320 w 11229"/>
                <a:gd name="T29" fmla="*/ 619 h 10372"/>
                <a:gd name="T30" fmla="*/ 2216 w 11229"/>
                <a:gd name="T31" fmla="*/ 619 h 10372"/>
                <a:gd name="T32" fmla="*/ 4224 w 11229"/>
                <a:gd name="T33" fmla="*/ 8205 h 10372"/>
                <a:gd name="T34" fmla="*/ 3622 w 11229"/>
                <a:gd name="T35" fmla="*/ 8205 h 10372"/>
                <a:gd name="T36" fmla="*/ 3562 w 11229"/>
                <a:gd name="T37" fmla="*/ 8211 h 10372"/>
                <a:gd name="T38" fmla="*/ 3447 w 11229"/>
                <a:gd name="T39" fmla="*/ 8205 h 10372"/>
                <a:gd name="T40" fmla="*/ 2327 w 11229"/>
                <a:gd name="T41" fmla="*/ 9289 h 10372"/>
                <a:gd name="T42" fmla="*/ 3447 w 11229"/>
                <a:gd name="T43" fmla="*/ 10372 h 10372"/>
                <a:gd name="T44" fmla="*/ 4567 w 11229"/>
                <a:gd name="T45" fmla="*/ 9289 h 10372"/>
                <a:gd name="T46" fmla="*/ 4445 w 11229"/>
                <a:gd name="T47" fmla="*/ 8796 h 10372"/>
                <a:gd name="T48" fmla="*/ 4584 w 11229"/>
                <a:gd name="T49" fmla="*/ 8796 h 10372"/>
                <a:gd name="T50" fmla="*/ 4674 w 11229"/>
                <a:gd name="T51" fmla="*/ 8796 h 10372"/>
                <a:gd name="T52" fmla="*/ 9111 w 11229"/>
                <a:gd name="T53" fmla="*/ 8796 h 10372"/>
                <a:gd name="T54" fmla="*/ 8988 w 11229"/>
                <a:gd name="T55" fmla="*/ 9289 h 10372"/>
                <a:gd name="T56" fmla="*/ 10109 w 11229"/>
                <a:gd name="T57" fmla="*/ 10372 h 10372"/>
                <a:gd name="T58" fmla="*/ 11229 w 11229"/>
                <a:gd name="T59" fmla="*/ 9289 h 10372"/>
                <a:gd name="T60" fmla="*/ 10230 w 11229"/>
                <a:gd name="T61" fmla="*/ 8212 h 10372"/>
                <a:gd name="T62" fmla="*/ 3447 w 11229"/>
                <a:gd name="T63" fmla="*/ 9879 h 10372"/>
                <a:gd name="T64" fmla="*/ 2836 w 11229"/>
                <a:gd name="T65" fmla="*/ 9289 h 10372"/>
                <a:gd name="T66" fmla="*/ 3447 w 11229"/>
                <a:gd name="T67" fmla="*/ 8697 h 10372"/>
                <a:gd name="T68" fmla="*/ 4058 w 11229"/>
                <a:gd name="T69" fmla="*/ 9289 h 10372"/>
                <a:gd name="T70" fmla="*/ 3447 w 11229"/>
                <a:gd name="T71" fmla="*/ 9879 h 10372"/>
                <a:gd name="T72" fmla="*/ 4487 w 11229"/>
                <a:gd name="T73" fmla="*/ 6707 h 10372"/>
                <a:gd name="T74" fmla="*/ 3298 w 11229"/>
                <a:gd name="T75" fmla="*/ 2212 h 10372"/>
                <a:gd name="T76" fmla="*/ 9543 w 11229"/>
                <a:gd name="T77" fmla="*/ 2212 h 10372"/>
                <a:gd name="T78" fmla="*/ 8790 w 11229"/>
                <a:gd name="T79" fmla="*/ 6387 h 10372"/>
                <a:gd name="T80" fmla="*/ 4487 w 11229"/>
                <a:gd name="T81" fmla="*/ 6707 h 10372"/>
                <a:gd name="T82" fmla="*/ 10109 w 11229"/>
                <a:gd name="T83" fmla="*/ 9879 h 10372"/>
                <a:gd name="T84" fmla="*/ 9498 w 11229"/>
                <a:gd name="T85" fmla="*/ 9289 h 10372"/>
                <a:gd name="T86" fmla="*/ 10109 w 11229"/>
                <a:gd name="T87" fmla="*/ 8697 h 10372"/>
                <a:gd name="T88" fmla="*/ 10719 w 11229"/>
                <a:gd name="T89" fmla="*/ 9289 h 10372"/>
                <a:gd name="T90" fmla="*/ 10109 w 11229"/>
                <a:gd name="T91" fmla="*/ 9879 h 10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229" h="10372">
                  <a:moveTo>
                    <a:pt x="10230" y="8212"/>
                  </a:moveTo>
                  <a:cubicBezTo>
                    <a:pt x="10209" y="8207"/>
                    <a:pt x="10188" y="8205"/>
                    <a:pt x="10167" y="8205"/>
                  </a:cubicBezTo>
                  <a:lnTo>
                    <a:pt x="4884" y="8205"/>
                  </a:lnTo>
                  <a:lnTo>
                    <a:pt x="4649" y="7316"/>
                  </a:lnTo>
                  <a:lnTo>
                    <a:pt x="9093" y="6985"/>
                  </a:lnTo>
                  <a:cubicBezTo>
                    <a:pt x="9263" y="6973"/>
                    <a:pt x="9391" y="6835"/>
                    <a:pt x="9388" y="6673"/>
                  </a:cubicBezTo>
                  <a:lnTo>
                    <a:pt x="10234" y="1982"/>
                  </a:lnTo>
                  <a:cubicBezTo>
                    <a:pt x="10241" y="1945"/>
                    <a:pt x="10242" y="1909"/>
                    <a:pt x="10236" y="1875"/>
                  </a:cubicBezTo>
                  <a:cubicBezTo>
                    <a:pt x="10222" y="1717"/>
                    <a:pt x="10085" y="1593"/>
                    <a:pt x="9917" y="1593"/>
                  </a:cubicBezTo>
                  <a:lnTo>
                    <a:pt x="3134" y="1593"/>
                  </a:lnTo>
                  <a:lnTo>
                    <a:pt x="2792" y="302"/>
                  </a:lnTo>
                  <a:cubicBezTo>
                    <a:pt x="2788" y="134"/>
                    <a:pt x="2647" y="0"/>
                    <a:pt x="2472" y="0"/>
                  </a:cubicBezTo>
                  <a:lnTo>
                    <a:pt x="320" y="0"/>
                  </a:lnTo>
                  <a:cubicBezTo>
                    <a:pt x="143" y="0"/>
                    <a:pt x="0" y="138"/>
                    <a:pt x="0" y="309"/>
                  </a:cubicBezTo>
                  <a:cubicBezTo>
                    <a:pt x="0" y="480"/>
                    <a:pt x="143" y="619"/>
                    <a:pt x="320" y="619"/>
                  </a:cubicBezTo>
                  <a:lnTo>
                    <a:pt x="2216" y="619"/>
                  </a:lnTo>
                  <a:lnTo>
                    <a:pt x="4224" y="8205"/>
                  </a:lnTo>
                  <a:lnTo>
                    <a:pt x="3622" y="8205"/>
                  </a:lnTo>
                  <a:cubicBezTo>
                    <a:pt x="3601" y="8205"/>
                    <a:pt x="3581" y="8207"/>
                    <a:pt x="3562" y="8211"/>
                  </a:cubicBezTo>
                  <a:cubicBezTo>
                    <a:pt x="3524" y="8207"/>
                    <a:pt x="3486" y="8205"/>
                    <a:pt x="3447" y="8205"/>
                  </a:cubicBezTo>
                  <a:cubicBezTo>
                    <a:pt x="2828" y="8205"/>
                    <a:pt x="2327" y="8690"/>
                    <a:pt x="2327" y="9289"/>
                  </a:cubicBezTo>
                  <a:cubicBezTo>
                    <a:pt x="2327" y="9887"/>
                    <a:pt x="2828" y="10372"/>
                    <a:pt x="3447" y="10372"/>
                  </a:cubicBezTo>
                  <a:cubicBezTo>
                    <a:pt x="4066" y="10372"/>
                    <a:pt x="4567" y="9887"/>
                    <a:pt x="4567" y="9289"/>
                  </a:cubicBezTo>
                  <a:cubicBezTo>
                    <a:pt x="4567" y="9111"/>
                    <a:pt x="4523" y="8944"/>
                    <a:pt x="4445" y="8796"/>
                  </a:cubicBezTo>
                  <a:lnTo>
                    <a:pt x="4584" y="8796"/>
                  </a:lnTo>
                  <a:cubicBezTo>
                    <a:pt x="4613" y="8800"/>
                    <a:pt x="4643" y="8800"/>
                    <a:pt x="4674" y="8796"/>
                  </a:cubicBezTo>
                  <a:lnTo>
                    <a:pt x="9111" y="8796"/>
                  </a:lnTo>
                  <a:cubicBezTo>
                    <a:pt x="9032" y="8944"/>
                    <a:pt x="8988" y="9111"/>
                    <a:pt x="8988" y="9289"/>
                  </a:cubicBezTo>
                  <a:cubicBezTo>
                    <a:pt x="8988" y="9887"/>
                    <a:pt x="9490" y="10372"/>
                    <a:pt x="10109" y="10372"/>
                  </a:cubicBezTo>
                  <a:cubicBezTo>
                    <a:pt x="10727" y="10372"/>
                    <a:pt x="11229" y="9887"/>
                    <a:pt x="11229" y="9289"/>
                  </a:cubicBezTo>
                  <a:cubicBezTo>
                    <a:pt x="11228" y="8730"/>
                    <a:pt x="10791" y="8270"/>
                    <a:pt x="10230" y="8212"/>
                  </a:cubicBezTo>
                  <a:close/>
                  <a:moveTo>
                    <a:pt x="3447" y="9879"/>
                  </a:moveTo>
                  <a:cubicBezTo>
                    <a:pt x="3109" y="9879"/>
                    <a:pt x="2836" y="9615"/>
                    <a:pt x="2836" y="9289"/>
                  </a:cubicBezTo>
                  <a:cubicBezTo>
                    <a:pt x="2836" y="8962"/>
                    <a:pt x="3110" y="8697"/>
                    <a:pt x="3447" y="8697"/>
                  </a:cubicBezTo>
                  <a:cubicBezTo>
                    <a:pt x="3784" y="8697"/>
                    <a:pt x="4058" y="8962"/>
                    <a:pt x="4058" y="9289"/>
                  </a:cubicBezTo>
                  <a:cubicBezTo>
                    <a:pt x="4058" y="9615"/>
                    <a:pt x="3784" y="9879"/>
                    <a:pt x="3447" y="9879"/>
                  </a:cubicBezTo>
                  <a:close/>
                  <a:moveTo>
                    <a:pt x="4487" y="6707"/>
                  </a:moveTo>
                  <a:lnTo>
                    <a:pt x="3298" y="2212"/>
                  </a:lnTo>
                  <a:lnTo>
                    <a:pt x="9543" y="2212"/>
                  </a:lnTo>
                  <a:lnTo>
                    <a:pt x="8790" y="6387"/>
                  </a:lnTo>
                  <a:lnTo>
                    <a:pt x="4487" y="6707"/>
                  </a:lnTo>
                  <a:close/>
                  <a:moveTo>
                    <a:pt x="10109" y="9879"/>
                  </a:moveTo>
                  <a:cubicBezTo>
                    <a:pt x="9771" y="9879"/>
                    <a:pt x="9498" y="9615"/>
                    <a:pt x="9498" y="9289"/>
                  </a:cubicBezTo>
                  <a:cubicBezTo>
                    <a:pt x="9498" y="8962"/>
                    <a:pt x="9771" y="8697"/>
                    <a:pt x="10109" y="8697"/>
                  </a:cubicBezTo>
                  <a:cubicBezTo>
                    <a:pt x="10446" y="8697"/>
                    <a:pt x="10719" y="8962"/>
                    <a:pt x="10719" y="9289"/>
                  </a:cubicBezTo>
                  <a:cubicBezTo>
                    <a:pt x="10719" y="9615"/>
                    <a:pt x="10446" y="9879"/>
                    <a:pt x="10109" y="9879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9" name="iconfont-11894-5689857"/>
            <p:cNvSpPr>
              <a:spLocks noChangeAspect="1"/>
            </p:cNvSpPr>
            <p:nvPr userDrawn="1"/>
          </p:nvSpPr>
          <p:spPr bwMode="auto">
            <a:xfrm>
              <a:off x="26998436" y="4594574"/>
              <a:ext cx="552081" cy="609685"/>
            </a:xfrm>
            <a:custGeom>
              <a:avLst/>
              <a:gdLst>
                <a:gd name="T0" fmla="*/ 8880 w 11520"/>
                <a:gd name="T1" fmla="*/ 7520 h 12720"/>
                <a:gd name="T2" fmla="*/ 8720 w 11520"/>
                <a:gd name="T3" fmla="*/ 7520 h 12720"/>
                <a:gd name="T4" fmla="*/ 6240 w 11520"/>
                <a:gd name="T5" fmla="*/ 5280 h 12720"/>
                <a:gd name="T6" fmla="*/ 11360 w 11520"/>
                <a:gd name="T7" fmla="*/ 640 h 12720"/>
                <a:gd name="T8" fmla="*/ 10880 w 11520"/>
                <a:gd name="T9" fmla="*/ 80 h 12720"/>
                <a:gd name="T10" fmla="*/ 5680 w 11520"/>
                <a:gd name="T11" fmla="*/ 4720 h 12720"/>
                <a:gd name="T12" fmla="*/ 480 w 11520"/>
                <a:gd name="T13" fmla="*/ 0 h 12720"/>
                <a:gd name="T14" fmla="*/ 0 w 11520"/>
                <a:gd name="T15" fmla="*/ 560 h 12720"/>
                <a:gd name="T16" fmla="*/ 5120 w 11520"/>
                <a:gd name="T17" fmla="*/ 5200 h 12720"/>
                <a:gd name="T18" fmla="*/ 2640 w 11520"/>
                <a:gd name="T19" fmla="*/ 7440 h 12720"/>
                <a:gd name="T20" fmla="*/ 160 w 11520"/>
                <a:gd name="T21" fmla="*/ 10080 h 12720"/>
                <a:gd name="T22" fmla="*/ 2800 w 11520"/>
                <a:gd name="T23" fmla="*/ 12720 h 12720"/>
                <a:gd name="T24" fmla="*/ 5440 w 11520"/>
                <a:gd name="T25" fmla="*/ 10080 h 12720"/>
                <a:gd name="T26" fmla="*/ 3600 w 11520"/>
                <a:gd name="T27" fmla="*/ 7600 h 12720"/>
                <a:gd name="T28" fmla="*/ 5680 w 11520"/>
                <a:gd name="T29" fmla="*/ 5760 h 12720"/>
                <a:gd name="T30" fmla="*/ 7840 w 11520"/>
                <a:gd name="T31" fmla="*/ 7680 h 12720"/>
                <a:gd name="T32" fmla="*/ 6240 w 11520"/>
                <a:gd name="T33" fmla="*/ 10080 h 12720"/>
                <a:gd name="T34" fmla="*/ 8880 w 11520"/>
                <a:gd name="T35" fmla="*/ 12720 h 12720"/>
                <a:gd name="T36" fmla="*/ 11520 w 11520"/>
                <a:gd name="T37" fmla="*/ 10080 h 12720"/>
                <a:gd name="T38" fmla="*/ 8880 w 11520"/>
                <a:gd name="T39" fmla="*/ 7520 h 12720"/>
                <a:gd name="T40" fmla="*/ 4720 w 11520"/>
                <a:gd name="T41" fmla="*/ 10080 h 12720"/>
                <a:gd name="T42" fmla="*/ 2800 w 11520"/>
                <a:gd name="T43" fmla="*/ 12000 h 12720"/>
                <a:gd name="T44" fmla="*/ 880 w 11520"/>
                <a:gd name="T45" fmla="*/ 10080 h 12720"/>
                <a:gd name="T46" fmla="*/ 2800 w 11520"/>
                <a:gd name="T47" fmla="*/ 8160 h 12720"/>
                <a:gd name="T48" fmla="*/ 4720 w 11520"/>
                <a:gd name="T49" fmla="*/ 10080 h 12720"/>
                <a:gd name="T50" fmla="*/ 8880 w 11520"/>
                <a:gd name="T51" fmla="*/ 12000 h 12720"/>
                <a:gd name="T52" fmla="*/ 6960 w 11520"/>
                <a:gd name="T53" fmla="*/ 10080 h 12720"/>
                <a:gd name="T54" fmla="*/ 8880 w 11520"/>
                <a:gd name="T55" fmla="*/ 8160 h 12720"/>
                <a:gd name="T56" fmla="*/ 10800 w 11520"/>
                <a:gd name="T57" fmla="*/ 10080 h 12720"/>
                <a:gd name="T58" fmla="*/ 8880 w 11520"/>
                <a:gd name="T59" fmla="*/ 1200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20" h="12720">
                  <a:moveTo>
                    <a:pt x="8880" y="7520"/>
                  </a:moveTo>
                  <a:lnTo>
                    <a:pt x="8720" y="7520"/>
                  </a:lnTo>
                  <a:lnTo>
                    <a:pt x="6240" y="5280"/>
                  </a:lnTo>
                  <a:lnTo>
                    <a:pt x="11360" y="640"/>
                  </a:lnTo>
                  <a:lnTo>
                    <a:pt x="10880" y="80"/>
                  </a:lnTo>
                  <a:lnTo>
                    <a:pt x="5680" y="4720"/>
                  </a:lnTo>
                  <a:lnTo>
                    <a:pt x="480" y="0"/>
                  </a:lnTo>
                  <a:lnTo>
                    <a:pt x="0" y="560"/>
                  </a:lnTo>
                  <a:lnTo>
                    <a:pt x="5120" y="5200"/>
                  </a:lnTo>
                  <a:lnTo>
                    <a:pt x="2640" y="7440"/>
                  </a:lnTo>
                  <a:cubicBezTo>
                    <a:pt x="1280" y="7520"/>
                    <a:pt x="160" y="8640"/>
                    <a:pt x="160" y="10080"/>
                  </a:cubicBezTo>
                  <a:cubicBezTo>
                    <a:pt x="160" y="11520"/>
                    <a:pt x="1360" y="12720"/>
                    <a:pt x="2800" y="12720"/>
                  </a:cubicBezTo>
                  <a:cubicBezTo>
                    <a:pt x="4240" y="12720"/>
                    <a:pt x="5440" y="11520"/>
                    <a:pt x="5440" y="10080"/>
                  </a:cubicBezTo>
                  <a:cubicBezTo>
                    <a:pt x="5440" y="8880"/>
                    <a:pt x="4640" y="7920"/>
                    <a:pt x="3600" y="7600"/>
                  </a:cubicBezTo>
                  <a:lnTo>
                    <a:pt x="5680" y="5760"/>
                  </a:lnTo>
                  <a:lnTo>
                    <a:pt x="7840" y="7680"/>
                  </a:lnTo>
                  <a:cubicBezTo>
                    <a:pt x="6880" y="8080"/>
                    <a:pt x="6240" y="9040"/>
                    <a:pt x="6240" y="10080"/>
                  </a:cubicBezTo>
                  <a:cubicBezTo>
                    <a:pt x="6240" y="11520"/>
                    <a:pt x="7440" y="12720"/>
                    <a:pt x="8880" y="12720"/>
                  </a:cubicBezTo>
                  <a:cubicBezTo>
                    <a:pt x="10320" y="12720"/>
                    <a:pt x="11520" y="11520"/>
                    <a:pt x="11520" y="10080"/>
                  </a:cubicBezTo>
                  <a:cubicBezTo>
                    <a:pt x="11520" y="8640"/>
                    <a:pt x="10320" y="7520"/>
                    <a:pt x="8880" y="7520"/>
                  </a:cubicBezTo>
                  <a:close/>
                  <a:moveTo>
                    <a:pt x="4720" y="10080"/>
                  </a:moveTo>
                  <a:cubicBezTo>
                    <a:pt x="4720" y="11120"/>
                    <a:pt x="3840" y="12000"/>
                    <a:pt x="2800" y="12000"/>
                  </a:cubicBezTo>
                  <a:cubicBezTo>
                    <a:pt x="1760" y="12000"/>
                    <a:pt x="880" y="11120"/>
                    <a:pt x="880" y="10080"/>
                  </a:cubicBezTo>
                  <a:cubicBezTo>
                    <a:pt x="880" y="9040"/>
                    <a:pt x="1760" y="8160"/>
                    <a:pt x="2800" y="8160"/>
                  </a:cubicBezTo>
                  <a:cubicBezTo>
                    <a:pt x="3840" y="8160"/>
                    <a:pt x="4720" y="9040"/>
                    <a:pt x="4720" y="10080"/>
                  </a:cubicBezTo>
                  <a:close/>
                  <a:moveTo>
                    <a:pt x="8880" y="12000"/>
                  </a:moveTo>
                  <a:cubicBezTo>
                    <a:pt x="7840" y="12000"/>
                    <a:pt x="6960" y="11120"/>
                    <a:pt x="6960" y="10080"/>
                  </a:cubicBezTo>
                  <a:cubicBezTo>
                    <a:pt x="6960" y="9040"/>
                    <a:pt x="7840" y="8160"/>
                    <a:pt x="8880" y="8160"/>
                  </a:cubicBezTo>
                  <a:cubicBezTo>
                    <a:pt x="9920" y="8160"/>
                    <a:pt x="10800" y="9040"/>
                    <a:pt x="10800" y="10080"/>
                  </a:cubicBezTo>
                  <a:cubicBezTo>
                    <a:pt x="10800" y="11120"/>
                    <a:pt x="9920" y="12000"/>
                    <a:pt x="8880" y="1200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86" name="iconfont-11894-5689857"/>
            <p:cNvSpPr>
              <a:spLocks noChangeAspect="1"/>
            </p:cNvSpPr>
            <p:nvPr userDrawn="1"/>
          </p:nvSpPr>
          <p:spPr bwMode="auto">
            <a:xfrm>
              <a:off x="28188999" y="459457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88" name="iconfont-11894-5689857"/>
            <p:cNvSpPr>
              <a:spLocks noChangeAspect="1"/>
            </p:cNvSpPr>
            <p:nvPr userDrawn="1"/>
          </p:nvSpPr>
          <p:spPr bwMode="auto">
            <a:xfrm>
              <a:off x="13556559" y="6064991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389" name="iconfont-11894-5689857"/>
            <p:cNvSpPr>
              <a:spLocks noChangeAspect="1"/>
            </p:cNvSpPr>
            <p:nvPr userDrawn="1"/>
          </p:nvSpPr>
          <p:spPr bwMode="auto">
            <a:xfrm>
              <a:off x="14775929" y="6100660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90" name="iconfont-11894-5689857"/>
            <p:cNvSpPr>
              <a:spLocks noChangeAspect="1"/>
            </p:cNvSpPr>
            <p:nvPr userDrawn="1"/>
          </p:nvSpPr>
          <p:spPr bwMode="auto">
            <a:xfrm>
              <a:off x="15995299" y="6087662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1" name="iconfont-11894-5689857"/>
            <p:cNvSpPr>
              <a:spLocks noChangeAspect="1"/>
            </p:cNvSpPr>
            <p:nvPr userDrawn="1"/>
          </p:nvSpPr>
          <p:spPr bwMode="auto">
            <a:xfrm>
              <a:off x="17214969" y="6064991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2" name="iconfont-11894-5689857"/>
            <p:cNvSpPr>
              <a:spLocks noChangeAspect="1"/>
            </p:cNvSpPr>
            <p:nvPr userDrawn="1"/>
          </p:nvSpPr>
          <p:spPr bwMode="auto">
            <a:xfrm>
              <a:off x="18434538" y="6064991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3" name="iconfont-11894-5689857"/>
            <p:cNvSpPr>
              <a:spLocks noChangeAspect="1"/>
            </p:cNvSpPr>
            <p:nvPr userDrawn="1"/>
          </p:nvSpPr>
          <p:spPr bwMode="auto">
            <a:xfrm>
              <a:off x="19746077" y="6064991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4" name="iconfont-11894-5689857"/>
            <p:cNvSpPr>
              <a:spLocks noChangeAspect="1"/>
            </p:cNvSpPr>
            <p:nvPr userDrawn="1"/>
          </p:nvSpPr>
          <p:spPr bwMode="auto">
            <a:xfrm>
              <a:off x="20872779" y="6066472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5" name="iconfont-11894-5689857"/>
            <p:cNvSpPr>
              <a:spLocks noChangeAspect="1"/>
            </p:cNvSpPr>
            <p:nvPr userDrawn="1"/>
          </p:nvSpPr>
          <p:spPr bwMode="auto">
            <a:xfrm>
              <a:off x="22092150" y="6071390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6" name="iconfont-11894-5689857"/>
            <p:cNvSpPr>
              <a:spLocks noChangeAspect="1"/>
            </p:cNvSpPr>
            <p:nvPr userDrawn="1"/>
          </p:nvSpPr>
          <p:spPr bwMode="auto">
            <a:xfrm>
              <a:off x="23401954" y="6064991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7" name="iconfont-11894-5689857"/>
            <p:cNvSpPr>
              <a:spLocks noChangeAspect="1"/>
            </p:cNvSpPr>
            <p:nvPr userDrawn="1"/>
          </p:nvSpPr>
          <p:spPr bwMode="auto">
            <a:xfrm>
              <a:off x="24530889" y="6064991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398" name="iconfont-11894-5689857"/>
            <p:cNvSpPr>
              <a:spLocks noChangeAspect="1"/>
            </p:cNvSpPr>
            <p:nvPr userDrawn="1"/>
          </p:nvSpPr>
          <p:spPr bwMode="auto">
            <a:xfrm>
              <a:off x="25750260" y="6134244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99" name="iconfont-11894-5689857"/>
            <p:cNvSpPr>
              <a:spLocks noChangeAspect="1"/>
            </p:cNvSpPr>
            <p:nvPr userDrawn="1"/>
          </p:nvSpPr>
          <p:spPr bwMode="auto">
            <a:xfrm>
              <a:off x="26969630" y="6071093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00" name="iconfont-11894-5689857"/>
            <p:cNvSpPr>
              <a:spLocks noChangeAspect="1"/>
            </p:cNvSpPr>
            <p:nvPr userDrawn="1"/>
          </p:nvSpPr>
          <p:spPr bwMode="auto">
            <a:xfrm>
              <a:off x="28188999" y="6064991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cxnSp>
        <p:nvCxnSpPr>
          <p:cNvPr id="121" name="连接符: 肘形 120"/>
          <p:cNvCxnSpPr/>
          <p:nvPr userDrawn="1"/>
        </p:nvCxnSpPr>
        <p:spPr>
          <a:xfrm flipV="1">
            <a:off x="0" y="742951"/>
            <a:ext cx="12192000" cy="3615826"/>
          </a:xfrm>
          <a:prstGeom prst="bentConnector3">
            <a:avLst>
              <a:gd name="adj1" fmla="val 26250"/>
            </a:avLst>
          </a:prstGeom>
          <a:ln w="76200">
            <a:solidFill>
              <a:schemeClr val="accent1">
                <a:alpha val="5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任意多边形: 形状 2"/>
          <p:cNvSpPr/>
          <p:nvPr userDrawn="1"/>
        </p:nvSpPr>
        <p:spPr>
          <a:xfrm>
            <a:off x="-1880624" y="3679483"/>
            <a:ext cx="15098218" cy="4364697"/>
          </a:xfrm>
          <a:custGeom>
            <a:avLst/>
            <a:gdLst>
              <a:gd name="connsiteX0" fmla="*/ 356624 w 15098218"/>
              <a:gd name="connsiteY0" fmla="*/ 3214803 h 4364697"/>
              <a:gd name="connsiteX1" fmla="*/ 356624 w 15098218"/>
              <a:gd name="connsiteY1" fmla="*/ 3142231 h 4364697"/>
              <a:gd name="connsiteX2" fmla="*/ 4173881 w 15098218"/>
              <a:gd name="connsiteY2" fmla="*/ 631260 h 4364697"/>
              <a:gd name="connsiteX3" fmla="*/ 9674795 w 15098218"/>
              <a:gd name="connsiteY3" fmla="*/ 36174 h 4364697"/>
              <a:gd name="connsiteX4" fmla="*/ 12809881 w 15098218"/>
              <a:gd name="connsiteY4" fmla="*/ 1386003 h 4364697"/>
              <a:gd name="connsiteX5" fmla="*/ 14740281 w 15098218"/>
              <a:gd name="connsiteY5" fmla="*/ 2242346 h 4364697"/>
              <a:gd name="connsiteX6" fmla="*/ 14479024 w 15098218"/>
              <a:gd name="connsiteY6" fmla="*/ 3418003 h 4364697"/>
              <a:gd name="connsiteX7" fmla="*/ 8644281 w 15098218"/>
              <a:gd name="connsiteY7" fmla="*/ 4187260 h 4364697"/>
              <a:gd name="connsiteX8" fmla="*/ 2054795 w 15098218"/>
              <a:gd name="connsiteY8" fmla="*/ 4288860 h 4364697"/>
              <a:gd name="connsiteX9" fmla="*/ 356624 w 15098218"/>
              <a:gd name="connsiteY9" fmla="*/ 3214803 h 4364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098218" h="4364697">
                <a:moveTo>
                  <a:pt x="356624" y="3214803"/>
                </a:moveTo>
                <a:cubicBezTo>
                  <a:pt x="73596" y="3023698"/>
                  <a:pt x="-279585" y="3572821"/>
                  <a:pt x="356624" y="3142231"/>
                </a:cubicBezTo>
                <a:cubicBezTo>
                  <a:pt x="992833" y="2711641"/>
                  <a:pt x="2620853" y="1148936"/>
                  <a:pt x="4173881" y="631260"/>
                </a:cubicBezTo>
                <a:cubicBezTo>
                  <a:pt x="5726910" y="113584"/>
                  <a:pt x="8235462" y="-89616"/>
                  <a:pt x="9674795" y="36174"/>
                </a:cubicBezTo>
                <a:cubicBezTo>
                  <a:pt x="11114128" y="161964"/>
                  <a:pt x="12809881" y="1386003"/>
                  <a:pt x="12809881" y="1386003"/>
                </a:cubicBezTo>
                <a:cubicBezTo>
                  <a:pt x="13654129" y="1753698"/>
                  <a:pt x="14462091" y="1903679"/>
                  <a:pt x="14740281" y="2242346"/>
                </a:cubicBezTo>
                <a:cubicBezTo>
                  <a:pt x="15018471" y="2581013"/>
                  <a:pt x="15495024" y="3093851"/>
                  <a:pt x="14479024" y="3418003"/>
                </a:cubicBezTo>
                <a:cubicBezTo>
                  <a:pt x="13463024" y="3742155"/>
                  <a:pt x="10714986" y="4042117"/>
                  <a:pt x="8644281" y="4187260"/>
                </a:cubicBezTo>
                <a:cubicBezTo>
                  <a:pt x="6573576" y="4332403"/>
                  <a:pt x="3433652" y="4446098"/>
                  <a:pt x="2054795" y="4288860"/>
                </a:cubicBezTo>
                <a:cubicBezTo>
                  <a:pt x="675938" y="4131622"/>
                  <a:pt x="639652" y="3405908"/>
                  <a:pt x="356624" y="321480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04" name="矩形 103"/>
          <p:cNvSpPr/>
          <p:nvPr userDrawn="1"/>
        </p:nvSpPr>
        <p:spPr>
          <a:xfrm>
            <a:off x="2228850" y="1282951"/>
            <a:ext cx="7867650" cy="4640248"/>
          </a:xfrm>
          <a:prstGeom prst="rect">
            <a:avLst/>
          </a:prstGeom>
          <a:solidFill>
            <a:schemeClr val="accent4"/>
          </a:solidFill>
          <a:ln w="263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标题幻灯片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rgbClr val="E6E6E6"/>
              </a:solidFill>
            </a:endParaRPr>
          </a:p>
        </p:txBody>
      </p:sp>
      <p:pic>
        <p:nvPicPr>
          <p:cNvPr id="115" name="图片 114"/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-1244749" y="4093641"/>
            <a:ext cx="13436749" cy="4529721"/>
          </a:xfrm>
          <a:prstGeom prst="rect">
            <a:avLst/>
          </a:prstGeom>
        </p:spPr>
      </p:pic>
      <p:grpSp>
        <p:nvGrpSpPr>
          <p:cNvPr id="10" name="组合 9"/>
          <p:cNvGrpSpPr/>
          <p:nvPr userDrawn="1"/>
        </p:nvGrpSpPr>
        <p:grpSpPr>
          <a:xfrm rot="20715591">
            <a:off x="-2678010" y="-1722569"/>
            <a:ext cx="14438908" cy="11720996"/>
            <a:chOff x="13556559" y="-5698344"/>
            <a:chExt cx="15242125" cy="12373020"/>
          </a:xfrm>
        </p:grpSpPr>
        <p:sp>
          <p:nvSpPr>
            <p:cNvPr id="11" name="iconfont-11894-5689857"/>
            <p:cNvSpPr>
              <a:spLocks noChangeAspect="1"/>
            </p:cNvSpPr>
            <p:nvPr userDrawn="1"/>
          </p:nvSpPr>
          <p:spPr bwMode="auto">
            <a:xfrm>
              <a:off x="13556559" y="-569834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14" name="iconfont-11894-5689857"/>
            <p:cNvSpPr>
              <a:spLocks noChangeAspect="1"/>
            </p:cNvSpPr>
            <p:nvPr userDrawn="1"/>
          </p:nvSpPr>
          <p:spPr bwMode="auto">
            <a:xfrm>
              <a:off x="14775929" y="-5662675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5" name="iconfont-11894-5689857"/>
            <p:cNvSpPr>
              <a:spLocks noChangeAspect="1"/>
            </p:cNvSpPr>
            <p:nvPr userDrawn="1"/>
          </p:nvSpPr>
          <p:spPr bwMode="auto">
            <a:xfrm>
              <a:off x="15995299" y="-5675673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6" name="iconfont-11894-5689857"/>
            <p:cNvSpPr>
              <a:spLocks noChangeAspect="1"/>
            </p:cNvSpPr>
            <p:nvPr userDrawn="1"/>
          </p:nvSpPr>
          <p:spPr bwMode="auto">
            <a:xfrm>
              <a:off x="17214969" y="-569834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" name="iconfont-11894-5689857"/>
            <p:cNvSpPr>
              <a:spLocks noChangeAspect="1"/>
            </p:cNvSpPr>
            <p:nvPr userDrawn="1"/>
          </p:nvSpPr>
          <p:spPr bwMode="auto">
            <a:xfrm>
              <a:off x="18434538" y="-5698344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" name="iconfont-11894-5689857"/>
            <p:cNvSpPr>
              <a:spLocks noChangeAspect="1"/>
            </p:cNvSpPr>
            <p:nvPr userDrawn="1"/>
          </p:nvSpPr>
          <p:spPr bwMode="auto">
            <a:xfrm>
              <a:off x="19746077" y="-5698344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" name="iconfont-11894-5689857"/>
            <p:cNvSpPr>
              <a:spLocks noChangeAspect="1"/>
            </p:cNvSpPr>
            <p:nvPr userDrawn="1"/>
          </p:nvSpPr>
          <p:spPr bwMode="auto">
            <a:xfrm>
              <a:off x="20872779" y="-5696863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1" name="iconfont-11894-5689857"/>
            <p:cNvSpPr>
              <a:spLocks noChangeAspect="1"/>
            </p:cNvSpPr>
            <p:nvPr userDrawn="1"/>
          </p:nvSpPr>
          <p:spPr bwMode="auto">
            <a:xfrm>
              <a:off x="22092150" y="-5691945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3" name="iconfont-11894-5689857"/>
            <p:cNvSpPr>
              <a:spLocks noChangeAspect="1"/>
            </p:cNvSpPr>
            <p:nvPr userDrawn="1"/>
          </p:nvSpPr>
          <p:spPr bwMode="auto">
            <a:xfrm>
              <a:off x="23401954" y="-5698344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4" name="iconfont-11894-5689857"/>
            <p:cNvSpPr>
              <a:spLocks noChangeAspect="1"/>
            </p:cNvSpPr>
            <p:nvPr userDrawn="1"/>
          </p:nvSpPr>
          <p:spPr bwMode="auto">
            <a:xfrm>
              <a:off x="24530889" y="-569834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25" name="iconfont-11894-5689857"/>
            <p:cNvSpPr>
              <a:spLocks noChangeAspect="1"/>
            </p:cNvSpPr>
            <p:nvPr userDrawn="1"/>
          </p:nvSpPr>
          <p:spPr bwMode="auto">
            <a:xfrm>
              <a:off x="25750260" y="-5629091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6" name="iconfont-11894-5689857"/>
            <p:cNvSpPr>
              <a:spLocks noChangeAspect="1"/>
            </p:cNvSpPr>
            <p:nvPr userDrawn="1"/>
          </p:nvSpPr>
          <p:spPr bwMode="auto">
            <a:xfrm>
              <a:off x="26969630" y="-5692242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7" name="iconfont-11894-5689857"/>
            <p:cNvSpPr>
              <a:spLocks noChangeAspect="1"/>
            </p:cNvSpPr>
            <p:nvPr userDrawn="1"/>
          </p:nvSpPr>
          <p:spPr bwMode="auto">
            <a:xfrm>
              <a:off x="28188999" y="-569834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8" name="iconfont-11894-5689857"/>
            <p:cNvSpPr>
              <a:spLocks noChangeAspect="1"/>
            </p:cNvSpPr>
            <p:nvPr userDrawn="1"/>
          </p:nvSpPr>
          <p:spPr bwMode="auto">
            <a:xfrm>
              <a:off x="13556559" y="-422792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29" name="iconfont-11894-5689857"/>
            <p:cNvSpPr>
              <a:spLocks noChangeAspect="1"/>
            </p:cNvSpPr>
            <p:nvPr userDrawn="1"/>
          </p:nvSpPr>
          <p:spPr bwMode="auto">
            <a:xfrm>
              <a:off x="14775929" y="-4192258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0" name="iconfont-11894-5689857"/>
            <p:cNvSpPr>
              <a:spLocks noChangeAspect="1"/>
            </p:cNvSpPr>
            <p:nvPr userDrawn="1"/>
          </p:nvSpPr>
          <p:spPr bwMode="auto">
            <a:xfrm>
              <a:off x="15995299" y="-4205256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" name="iconfont-11894-5689857"/>
            <p:cNvSpPr>
              <a:spLocks noChangeAspect="1"/>
            </p:cNvSpPr>
            <p:nvPr userDrawn="1"/>
          </p:nvSpPr>
          <p:spPr bwMode="auto">
            <a:xfrm>
              <a:off x="17214969" y="-4227927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2" name="iconfont-11894-5689857"/>
            <p:cNvSpPr>
              <a:spLocks noChangeAspect="1"/>
            </p:cNvSpPr>
            <p:nvPr userDrawn="1"/>
          </p:nvSpPr>
          <p:spPr bwMode="auto">
            <a:xfrm>
              <a:off x="18434041" y="-4227927"/>
              <a:ext cx="609685" cy="609685"/>
            </a:xfrm>
            <a:custGeom>
              <a:avLst/>
              <a:gdLst>
                <a:gd name="T0" fmla="*/ 12800 w 12800"/>
                <a:gd name="T1" fmla="*/ 11680 h 12800"/>
                <a:gd name="T2" fmla="*/ 11680 w 12800"/>
                <a:gd name="T3" fmla="*/ 12800 h 12800"/>
                <a:gd name="T4" fmla="*/ 1120 w 12800"/>
                <a:gd name="T5" fmla="*/ 12800 h 12800"/>
                <a:gd name="T6" fmla="*/ 0 w 12800"/>
                <a:gd name="T7" fmla="*/ 11680 h 12800"/>
                <a:gd name="T8" fmla="*/ 0 w 12800"/>
                <a:gd name="T9" fmla="*/ 1120 h 12800"/>
                <a:gd name="T10" fmla="*/ 1120 w 12800"/>
                <a:gd name="T11" fmla="*/ 0 h 12800"/>
                <a:gd name="T12" fmla="*/ 11680 w 12800"/>
                <a:gd name="T13" fmla="*/ 0 h 12800"/>
                <a:gd name="T14" fmla="*/ 12800 w 12800"/>
                <a:gd name="T15" fmla="*/ 1120 h 12800"/>
                <a:gd name="T16" fmla="*/ 12800 w 12800"/>
                <a:gd name="T17" fmla="*/ 11680 h 12800"/>
                <a:gd name="T18" fmla="*/ 12005 w 12800"/>
                <a:gd name="T19" fmla="*/ 1366 h 12800"/>
                <a:gd name="T20" fmla="*/ 11466 w 12800"/>
                <a:gd name="T21" fmla="*/ 800 h 12800"/>
                <a:gd name="T22" fmla="*/ 1200 w 12800"/>
                <a:gd name="T23" fmla="*/ 800 h 12800"/>
                <a:gd name="T24" fmla="*/ 800 w 12800"/>
                <a:gd name="T25" fmla="*/ 1200 h 12800"/>
                <a:gd name="T26" fmla="*/ 800 w 12800"/>
                <a:gd name="T27" fmla="*/ 11500 h 12800"/>
                <a:gd name="T28" fmla="*/ 1300 w 12800"/>
                <a:gd name="T29" fmla="*/ 12000 h 12800"/>
                <a:gd name="T30" fmla="*/ 11500 w 12800"/>
                <a:gd name="T31" fmla="*/ 12000 h 12800"/>
                <a:gd name="T32" fmla="*/ 12005 w 12800"/>
                <a:gd name="T33" fmla="*/ 11434 h 12800"/>
                <a:gd name="T34" fmla="*/ 12000 w 12800"/>
                <a:gd name="T35" fmla="*/ 1200 h 12800"/>
                <a:gd name="T36" fmla="*/ 12005 w 12800"/>
                <a:gd name="T37" fmla="*/ 1366 h 12800"/>
                <a:gd name="T38" fmla="*/ 8800 w 12800"/>
                <a:gd name="T39" fmla="*/ 10400 h 12800"/>
                <a:gd name="T40" fmla="*/ 4000 w 12800"/>
                <a:gd name="T41" fmla="*/ 10400 h 12800"/>
                <a:gd name="T42" fmla="*/ 4000 w 12800"/>
                <a:gd name="T43" fmla="*/ 7200 h 12800"/>
                <a:gd name="T44" fmla="*/ 1600 w 12800"/>
                <a:gd name="T45" fmla="*/ 7200 h 12800"/>
                <a:gd name="T46" fmla="*/ 6400 w 12800"/>
                <a:gd name="T47" fmla="*/ 1562 h 12800"/>
                <a:gd name="T48" fmla="*/ 11200 w 12800"/>
                <a:gd name="T49" fmla="*/ 7200 h 12800"/>
                <a:gd name="T50" fmla="*/ 8800 w 12800"/>
                <a:gd name="T51" fmla="*/ 7200 h 12800"/>
                <a:gd name="T52" fmla="*/ 8800 w 12800"/>
                <a:gd name="T53" fmla="*/ 10400 h 12800"/>
                <a:gd name="T54" fmla="*/ 4800 w 12800"/>
                <a:gd name="T55" fmla="*/ 9600 h 12800"/>
                <a:gd name="T56" fmla="*/ 8000 w 12800"/>
                <a:gd name="T57" fmla="*/ 9600 h 12800"/>
                <a:gd name="T58" fmla="*/ 8000 w 12800"/>
                <a:gd name="T59" fmla="*/ 6400 h 12800"/>
                <a:gd name="T60" fmla="*/ 9566 w 12800"/>
                <a:gd name="T61" fmla="*/ 6400 h 12800"/>
                <a:gd name="T62" fmla="*/ 6400 w 12800"/>
                <a:gd name="T63" fmla="*/ 2900 h 12800"/>
                <a:gd name="T64" fmla="*/ 3280 w 12800"/>
                <a:gd name="T65" fmla="*/ 6400 h 12800"/>
                <a:gd name="T66" fmla="*/ 4800 w 12800"/>
                <a:gd name="T67" fmla="*/ 6400 h 12800"/>
                <a:gd name="T68" fmla="*/ 4800 w 12800"/>
                <a:gd name="T69" fmla="*/ 96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800" h="12800">
                  <a:moveTo>
                    <a:pt x="12800" y="11680"/>
                  </a:moveTo>
                  <a:cubicBezTo>
                    <a:pt x="12800" y="12298"/>
                    <a:pt x="12298" y="12800"/>
                    <a:pt x="11680" y="12800"/>
                  </a:cubicBezTo>
                  <a:lnTo>
                    <a:pt x="1120" y="12800"/>
                  </a:lnTo>
                  <a:cubicBezTo>
                    <a:pt x="502" y="12800"/>
                    <a:pt x="0" y="12298"/>
                    <a:pt x="0" y="11680"/>
                  </a:cubicBezTo>
                  <a:lnTo>
                    <a:pt x="0" y="1120"/>
                  </a:lnTo>
                  <a:cubicBezTo>
                    <a:pt x="0" y="502"/>
                    <a:pt x="502" y="0"/>
                    <a:pt x="1120" y="0"/>
                  </a:cubicBezTo>
                  <a:lnTo>
                    <a:pt x="11680" y="0"/>
                  </a:lnTo>
                  <a:cubicBezTo>
                    <a:pt x="12298" y="0"/>
                    <a:pt x="12800" y="502"/>
                    <a:pt x="12800" y="1120"/>
                  </a:cubicBezTo>
                  <a:lnTo>
                    <a:pt x="12800" y="11680"/>
                  </a:lnTo>
                  <a:close/>
                  <a:moveTo>
                    <a:pt x="12005" y="1366"/>
                  </a:moveTo>
                  <a:cubicBezTo>
                    <a:pt x="12005" y="1017"/>
                    <a:pt x="11706" y="800"/>
                    <a:pt x="11466" y="800"/>
                  </a:cubicBezTo>
                  <a:lnTo>
                    <a:pt x="1200" y="800"/>
                  </a:lnTo>
                  <a:cubicBezTo>
                    <a:pt x="1038" y="800"/>
                    <a:pt x="800" y="1001"/>
                    <a:pt x="800" y="1200"/>
                  </a:cubicBezTo>
                  <a:lnTo>
                    <a:pt x="800" y="11500"/>
                  </a:lnTo>
                  <a:cubicBezTo>
                    <a:pt x="800" y="11740"/>
                    <a:pt x="1060" y="12000"/>
                    <a:pt x="1300" y="12000"/>
                  </a:cubicBezTo>
                  <a:lnTo>
                    <a:pt x="11500" y="12000"/>
                  </a:lnTo>
                  <a:cubicBezTo>
                    <a:pt x="11740" y="12000"/>
                    <a:pt x="12005" y="11674"/>
                    <a:pt x="12005" y="11434"/>
                  </a:cubicBezTo>
                  <a:lnTo>
                    <a:pt x="12000" y="1200"/>
                  </a:lnTo>
                  <a:lnTo>
                    <a:pt x="12005" y="1366"/>
                  </a:lnTo>
                  <a:close/>
                  <a:moveTo>
                    <a:pt x="8800" y="10400"/>
                  </a:moveTo>
                  <a:lnTo>
                    <a:pt x="4000" y="10400"/>
                  </a:lnTo>
                  <a:lnTo>
                    <a:pt x="4000" y="7200"/>
                  </a:lnTo>
                  <a:lnTo>
                    <a:pt x="1600" y="7200"/>
                  </a:lnTo>
                  <a:lnTo>
                    <a:pt x="6400" y="1562"/>
                  </a:lnTo>
                  <a:lnTo>
                    <a:pt x="11200" y="7200"/>
                  </a:lnTo>
                  <a:lnTo>
                    <a:pt x="8800" y="7200"/>
                  </a:lnTo>
                  <a:lnTo>
                    <a:pt x="8800" y="10400"/>
                  </a:lnTo>
                  <a:close/>
                  <a:moveTo>
                    <a:pt x="4800" y="9600"/>
                  </a:moveTo>
                  <a:lnTo>
                    <a:pt x="8000" y="9600"/>
                  </a:lnTo>
                  <a:lnTo>
                    <a:pt x="8000" y="6400"/>
                  </a:lnTo>
                  <a:lnTo>
                    <a:pt x="9566" y="6400"/>
                  </a:lnTo>
                  <a:lnTo>
                    <a:pt x="6400" y="2900"/>
                  </a:lnTo>
                  <a:lnTo>
                    <a:pt x="3280" y="6400"/>
                  </a:lnTo>
                  <a:lnTo>
                    <a:pt x="4800" y="6400"/>
                  </a:lnTo>
                  <a:lnTo>
                    <a:pt x="4800" y="96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3" name="iconfont-11894-5689857"/>
            <p:cNvSpPr>
              <a:spLocks noChangeAspect="1"/>
            </p:cNvSpPr>
            <p:nvPr userDrawn="1"/>
          </p:nvSpPr>
          <p:spPr bwMode="auto">
            <a:xfrm>
              <a:off x="19653408" y="-4227927"/>
              <a:ext cx="609685" cy="609685"/>
            </a:xfrm>
            <a:custGeom>
              <a:avLst/>
              <a:gdLst>
                <a:gd name="T0" fmla="*/ 12800 w 12800"/>
                <a:gd name="T1" fmla="*/ 12800 h 12800"/>
                <a:gd name="T2" fmla="*/ 0 w 12800"/>
                <a:gd name="T3" fmla="*/ 12800 h 12800"/>
                <a:gd name="T4" fmla="*/ 0 w 12800"/>
                <a:gd name="T5" fmla="*/ 0 h 12800"/>
                <a:gd name="T6" fmla="*/ 800 w 12800"/>
                <a:gd name="T7" fmla="*/ 0 h 12800"/>
                <a:gd name="T8" fmla="*/ 800 w 12800"/>
                <a:gd name="T9" fmla="*/ 12000 h 12800"/>
                <a:gd name="T10" fmla="*/ 12800 w 12800"/>
                <a:gd name="T11" fmla="*/ 12000 h 12800"/>
                <a:gd name="T12" fmla="*/ 12800 w 12800"/>
                <a:gd name="T13" fmla="*/ 12800 h 12800"/>
                <a:gd name="T14" fmla="*/ 800 w 12800"/>
                <a:gd name="T15" fmla="*/ 12480 h 12800"/>
                <a:gd name="T16" fmla="*/ 0 w 12800"/>
                <a:gd name="T17" fmla="*/ 12240 h 12800"/>
                <a:gd name="T18" fmla="*/ 2720 w 12800"/>
                <a:gd name="T19" fmla="*/ 2320 h 12800"/>
                <a:gd name="T20" fmla="*/ 6080 w 12800"/>
                <a:gd name="T21" fmla="*/ 7600 h 12800"/>
                <a:gd name="T22" fmla="*/ 8400 w 12800"/>
                <a:gd name="T23" fmla="*/ 2400 h 12800"/>
                <a:gd name="T24" fmla="*/ 12800 w 12800"/>
                <a:gd name="T25" fmla="*/ 2400 h 12800"/>
                <a:gd name="T26" fmla="*/ 12800 w 12800"/>
                <a:gd name="T27" fmla="*/ 3200 h 12800"/>
                <a:gd name="T28" fmla="*/ 8960 w 12800"/>
                <a:gd name="T29" fmla="*/ 3200 h 12800"/>
                <a:gd name="T30" fmla="*/ 6240 w 12800"/>
                <a:gd name="T31" fmla="*/ 9280 h 12800"/>
                <a:gd name="T32" fmla="*/ 3040 w 12800"/>
                <a:gd name="T33" fmla="*/ 4400 h 12800"/>
                <a:gd name="T34" fmla="*/ 800 w 12800"/>
                <a:gd name="T35" fmla="*/ 1248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00" h="12800">
                  <a:moveTo>
                    <a:pt x="12800" y="12800"/>
                  </a:moveTo>
                  <a:lnTo>
                    <a:pt x="0" y="12800"/>
                  </a:lnTo>
                  <a:lnTo>
                    <a:pt x="0" y="0"/>
                  </a:lnTo>
                  <a:lnTo>
                    <a:pt x="800" y="0"/>
                  </a:lnTo>
                  <a:lnTo>
                    <a:pt x="800" y="12000"/>
                  </a:lnTo>
                  <a:lnTo>
                    <a:pt x="12800" y="12000"/>
                  </a:lnTo>
                  <a:lnTo>
                    <a:pt x="12800" y="12800"/>
                  </a:lnTo>
                  <a:close/>
                  <a:moveTo>
                    <a:pt x="800" y="12480"/>
                  </a:moveTo>
                  <a:lnTo>
                    <a:pt x="0" y="12240"/>
                  </a:lnTo>
                  <a:lnTo>
                    <a:pt x="2720" y="2320"/>
                  </a:lnTo>
                  <a:lnTo>
                    <a:pt x="6080" y="7600"/>
                  </a:lnTo>
                  <a:lnTo>
                    <a:pt x="8400" y="2400"/>
                  </a:lnTo>
                  <a:lnTo>
                    <a:pt x="12800" y="2400"/>
                  </a:lnTo>
                  <a:lnTo>
                    <a:pt x="12800" y="3200"/>
                  </a:lnTo>
                  <a:lnTo>
                    <a:pt x="8960" y="3200"/>
                  </a:lnTo>
                  <a:lnTo>
                    <a:pt x="6240" y="9280"/>
                  </a:lnTo>
                  <a:lnTo>
                    <a:pt x="3040" y="4400"/>
                  </a:lnTo>
                  <a:lnTo>
                    <a:pt x="800" y="1248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4" name="iconfont-11894-5689857"/>
            <p:cNvSpPr>
              <a:spLocks noChangeAspect="1"/>
            </p:cNvSpPr>
            <p:nvPr userDrawn="1"/>
          </p:nvSpPr>
          <p:spPr bwMode="auto">
            <a:xfrm>
              <a:off x="20872779" y="-4226446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5" name="iconfont-11894-5689857"/>
            <p:cNvSpPr>
              <a:spLocks noChangeAspect="1"/>
            </p:cNvSpPr>
            <p:nvPr userDrawn="1"/>
          </p:nvSpPr>
          <p:spPr bwMode="auto">
            <a:xfrm>
              <a:off x="22092150" y="-4221528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6" name="iconfont-11894-5689857"/>
            <p:cNvSpPr>
              <a:spLocks noChangeAspect="1"/>
            </p:cNvSpPr>
            <p:nvPr userDrawn="1"/>
          </p:nvSpPr>
          <p:spPr bwMode="auto">
            <a:xfrm>
              <a:off x="23311520" y="-4227927"/>
              <a:ext cx="609685" cy="609685"/>
            </a:xfrm>
            <a:custGeom>
              <a:avLst/>
              <a:gdLst>
                <a:gd name="T0" fmla="*/ 0 w 12800"/>
                <a:gd name="T1" fmla="*/ 800 h 12800"/>
                <a:gd name="T2" fmla="*/ 0 w 12800"/>
                <a:gd name="T3" fmla="*/ 12000 h 12800"/>
                <a:gd name="T4" fmla="*/ 800 w 12800"/>
                <a:gd name="T5" fmla="*/ 12800 h 12800"/>
                <a:gd name="T6" fmla="*/ 4800 w 12800"/>
                <a:gd name="T7" fmla="*/ 12800 h 12800"/>
                <a:gd name="T8" fmla="*/ 4800 w 12800"/>
                <a:gd name="T9" fmla="*/ 12000 h 12800"/>
                <a:gd name="T10" fmla="*/ 8000 w 12800"/>
                <a:gd name="T11" fmla="*/ 12000 h 12800"/>
                <a:gd name="T12" fmla="*/ 8000 w 12800"/>
                <a:gd name="T13" fmla="*/ 12800 h 12800"/>
                <a:gd name="T14" fmla="*/ 12000 w 12800"/>
                <a:gd name="T15" fmla="*/ 12800 h 12800"/>
                <a:gd name="T16" fmla="*/ 12800 w 12800"/>
                <a:gd name="T17" fmla="*/ 12000 h 12800"/>
                <a:gd name="T18" fmla="*/ 12800 w 12800"/>
                <a:gd name="T19" fmla="*/ 800 h 12800"/>
                <a:gd name="T20" fmla="*/ 12000 w 12800"/>
                <a:gd name="T21" fmla="*/ 0 h 12800"/>
                <a:gd name="T22" fmla="*/ 800 w 12800"/>
                <a:gd name="T23" fmla="*/ 0 h 12800"/>
                <a:gd name="T24" fmla="*/ 0 w 12800"/>
                <a:gd name="T25" fmla="*/ 800 h 12800"/>
                <a:gd name="T26" fmla="*/ 8000 w 12800"/>
                <a:gd name="T27" fmla="*/ 11200 h 12800"/>
                <a:gd name="T28" fmla="*/ 4800 w 12800"/>
                <a:gd name="T29" fmla="*/ 11200 h 12800"/>
                <a:gd name="T30" fmla="*/ 4800 w 12800"/>
                <a:gd name="T31" fmla="*/ 10400 h 12800"/>
                <a:gd name="T32" fmla="*/ 8000 w 12800"/>
                <a:gd name="T33" fmla="*/ 10400 h 12800"/>
                <a:gd name="T34" fmla="*/ 8000 w 12800"/>
                <a:gd name="T35" fmla="*/ 11200 h 12800"/>
                <a:gd name="T36" fmla="*/ 11200 w 12800"/>
                <a:gd name="T37" fmla="*/ 12000 h 12800"/>
                <a:gd name="T38" fmla="*/ 8800 w 12800"/>
                <a:gd name="T39" fmla="*/ 12000 h 12800"/>
                <a:gd name="T40" fmla="*/ 8800 w 12800"/>
                <a:gd name="T41" fmla="*/ 9600 h 12800"/>
                <a:gd name="T42" fmla="*/ 4000 w 12800"/>
                <a:gd name="T43" fmla="*/ 9600 h 12800"/>
                <a:gd name="T44" fmla="*/ 4000 w 12800"/>
                <a:gd name="T45" fmla="*/ 12000 h 12800"/>
                <a:gd name="T46" fmla="*/ 1600 w 12800"/>
                <a:gd name="T47" fmla="*/ 12000 h 12800"/>
                <a:gd name="T48" fmla="*/ 800 w 12800"/>
                <a:gd name="T49" fmla="*/ 11200 h 12800"/>
                <a:gd name="T50" fmla="*/ 800 w 12800"/>
                <a:gd name="T51" fmla="*/ 1600 h 12800"/>
                <a:gd name="T52" fmla="*/ 1600 w 12800"/>
                <a:gd name="T53" fmla="*/ 800 h 12800"/>
                <a:gd name="T54" fmla="*/ 11200 w 12800"/>
                <a:gd name="T55" fmla="*/ 800 h 12800"/>
                <a:gd name="T56" fmla="*/ 12000 w 12800"/>
                <a:gd name="T57" fmla="*/ 1600 h 12800"/>
                <a:gd name="T58" fmla="*/ 12000 w 12800"/>
                <a:gd name="T59" fmla="*/ 11200 h 12800"/>
                <a:gd name="T60" fmla="*/ 11200 w 12800"/>
                <a:gd name="T61" fmla="*/ 12000 h 12800"/>
                <a:gd name="T62" fmla="*/ 4000 w 12800"/>
                <a:gd name="T63" fmla="*/ 4800 h 12800"/>
                <a:gd name="T64" fmla="*/ 8800 w 12800"/>
                <a:gd name="T65" fmla="*/ 4800 h 12800"/>
                <a:gd name="T66" fmla="*/ 8800 w 12800"/>
                <a:gd name="T67" fmla="*/ 6400 h 12800"/>
                <a:gd name="T68" fmla="*/ 4000 w 12800"/>
                <a:gd name="T69" fmla="*/ 6400 h 12800"/>
                <a:gd name="T70" fmla="*/ 4000 w 12800"/>
                <a:gd name="T71" fmla="*/ 4800 h 12800"/>
                <a:gd name="T72" fmla="*/ 4000 w 12800"/>
                <a:gd name="T73" fmla="*/ 2400 h 12800"/>
                <a:gd name="T74" fmla="*/ 8800 w 12800"/>
                <a:gd name="T75" fmla="*/ 2400 h 12800"/>
                <a:gd name="T76" fmla="*/ 8800 w 12800"/>
                <a:gd name="T77" fmla="*/ 4000 h 12800"/>
                <a:gd name="T78" fmla="*/ 4000 w 12800"/>
                <a:gd name="T79" fmla="*/ 4000 h 12800"/>
                <a:gd name="T80" fmla="*/ 4000 w 12800"/>
                <a:gd name="T81" fmla="*/ 2400 h 12800"/>
                <a:gd name="T82" fmla="*/ 4000 w 12800"/>
                <a:gd name="T83" fmla="*/ 7200 h 12800"/>
                <a:gd name="T84" fmla="*/ 8800 w 12800"/>
                <a:gd name="T85" fmla="*/ 7200 h 12800"/>
                <a:gd name="T86" fmla="*/ 8800 w 12800"/>
                <a:gd name="T87" fmla="*/ 8800 h 12800"/>
                <a:gd name="T88" fmla="*/ 4000 w 12800"/>
                <a:gd name="T89" fmla="*/ 8800 h 12800"/>
                <a:gd name="T90" fmla="*/ 4000 w 12800"/>
                <a:gd name="T91" fmla="*/ 72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00" h="12800">
                  <a:moveTo>
                    <a:pt x="0" y="800"/>
                  </a:moveTo>
                  <a:lnTo>
                    <a:pt x="0" y="12000"/>
                  </a:lnTo>
                  <a:cubicBezTo>
                    <a:pt x="0" y="12442"/>
                    <a:pt x="358" y="12800"/>
                    <a:pt x="800" y="12800"/>
                  </a:cubicBezTo>
                  <a:lnTo>
                    <a:pt x="4800" y="12800"/>
                  </a:lnTo>
                  <a:lnTo>
                    <a:pt x="4800" y="12000"/>
                  </a:lnTo>
                  <a:lnTo>
                    <a:pt x="8000" y="12000"/>
                  </a:lnTo>
                  <a:lnTo>
                    <a:pt x="8000" y="12800"/>
                  </a:lnTo>
                  <a:lnTo>
                    <a:pt x="12000" y="12800"/>
                  </a:lnTo>
                  <a:cubicBezTo>
                    <a:pt x="12442" y="12800"/>
                    <a:pt x="12800" y="12442"/>
                    <a:pt x="12800" y="12000"/>
                  </a:cubicBezTo>
                  <a:lnTo>
                    <a:pt x="12800" y="800"/>
                  </a:lnTo>
                  <a:cubicBezTo>
                    <a:pt x="12800" y="358"/>
                    <a:pt x="12442" y="0"/>
                    <a:pt x="12000" y="0"/>
                  </a:cubicBezTo>
                  <a:lnTo>
                    <a:pt x="800" y="0"/>
                  </a:lnTo>
                  <a:cubicBezTo>
                    <a:pt x="358" y="0"/>
                    <a:pt x="0" y="358"/>
                    <a:pt x="0" y="800"/>
                  </a:cubicBezTo>
                  <a:close/>
                  <a:moveTo>
                    <a:pt x="8000" y="11200"/>
                  </a:moveTo>
                  <a:lnTo>
                    <a:pt x="4800" y="11200"/>
                  </a:lnTo>
                  <a:lnTo>
                    <a:pt x="4800" y="10400"/>
                  </a:lnTo>
                  <a:lnTo>
                    <a:pt x="8000" y="10400"/>
                  </a:lnTo>
                  <a:lnTo>
                    <a:pt x="8000" y="11200"/>
                  </a:lnTo>
                  <a:close/>
                  <a:moveTo>
                    <a:pt x="11200" y="12000"/>
                  </a:moveTo>
                  <a:lnTo>
                    <a:pt x="8800" y="12000"/>
                  </a:lnTo>
                  <a:lnTo>
                    <a:pt x="8800" y="9600"/>
                  </a:lnTo>
                  <a:lnTo>
                    <a:pt x="4000" y="9600"/>
                  </a:lnTo>
                  <a:lnTo>
                    <a:pt x="4000" y="12000"/>
                  </a:lnTo>
                  <a:lnTo>
                    <a:pt x="1600" y="12000"/>
                  </a:lnTo>
                  <a:cubicBezTo>
                    <a:pt x="1158" y="12000"/>
                    <a:pt x="800" y="11642"/>
                    <a:pt x="800" y="11200"/>
                  </a:cubicBezTo>
                  <a:lnTo>
                    <a:pt x="800" y="1600"/>
                  </a:lnTo>
                  <a:cubicBezTo>
                    <a:pt x="800" y="1158"/>
                    <a:pt x="1158" y="800"/>
                    <a:pt x="1600" y="800"/>
                  </a:cubicBezTo>
                  <a:lnTo>
                    <a:pt x="11200" y="800"/>
                  </a:lnTo>
                  <a:cubicBezTo>
                    <a:pt x="11642" y="800"/>
                    <a:pt x="12000" y="1158"/>
                    <a:pt x="12000" y="1600"/>
                  </a:cubicBezTo>
                  <a:lnTo>
                    <a:pt x="12000" y="11200"/>
                  </a:lnTo>
                  <a:cubicBezTo>
                    <a:pt x="12000" y="11642"/>
                    <a:pt x="11642" y="12000"/>
                    <a:pt x="11200" y="12000"/>
                  </a:cubicBezTo>
                  <a:close/>
                  <a:moveTo>
                    <a:pt x="4000" y="4800"/>
                  </a:moveTo>
                  <a:lnTo>
                    <a:pt x="8800" y="4800"/>
                  </a:lnTo>
                  <a:lnTo>
                    <a:pt x="8800" y="6400"/>
                  </a:lnTo>
                  <a:lnTo>
                    <a:pt x="4000" y="6400"/>
                  </a:lnTo>
                  <a:lnTo>
                    <a:pt x="4000" y="4800"/>
                  </a:lnTo>
                  <a:close/>
                  <a:moveTo>
                    <a:pt x="4000" y="2400"/>
                  </a:moveTo>
                  <a:lnTo>
                    <a:pt x="8800" y="2400"/>
                  </a:lnTo>
                  <a:lnTo>
                    <a:pt x="8800" y="4000"/>
                  </a:lnTo>
                  <a:lnTo>
                    <a:pt x="4000" y="4000"/>
                  </a:lnTo>
                  <a:lnTo>
                    <a:pt x="4000" y="2400"/>
                  </a:lnTo>
                  <a:close/>
                  <a:moveTo>
                    <a:pt x="4000" y="7200"/>
                  </a:moveTo>
                  <a:lnTo>
                    <a:pt x="8800" y="7200"/>
                  </a:lnTo>
                  <a:lnTo>
                    <a:pt x="8800" y="8800"/>
                  </a:lnTo>
                  <a:lnTo>
                    <a:pt x="4000" y="8800"/>
                  </a:lnTo>
                  <a:lnTo>
                    <a:pt x="4000" y="72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7" name="iconfont-11894-5689857"/>
            <p:cNvSpPr>
              <a:spLocks noChangeAspect="1"/>
            </p:cNvSpPr>
            <p:nvPr userDrawn="1"/>
          </p:nvSpPr>
          <p:spPr bwMode="auto">
            <a:xfrm>
              <a:off x="24530889" y="-422792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38" name="iconfont-11894-5689857"/>
            <p:cNvSpPr>
              <a:spLocks noChangeAspect="1"/>
            </p:cNvSpPr>
            <p:nvPr userDrawn="1"/>
          </p:nvSpPr>
          <p:spPr bwMode="auto">
            <a:xfrm>
              <a:off x="25750260" y="-4158674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9" name="iconfont-11894-5689857"/>
            <p:cNvSpPr>
              <a:spLocks noChangeAspect="1"/>
            </p:cNvSpPr>
            <p:nvPr userDrawn="1"/>
          </p:nvSpPr>
          <p:spPr bwMode="auto">
            <a:xfrm>
              <a:off x="26969630" y="-4221825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0" name="iconfont-11894-5689857"/>
            <p:cNvSpPr>
              <a:spLocks noChangeAspect="1"/>
            </p:cNvSpPr>
            <p:nvPr userDrawn="1"/>
          </p:nvSpPr>
          <p:spPr bwMode="auto">
            <a:xfrm>
              <a:off x="28188999" y="-4227927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" name="iconfont-11894-5689857"/>
            <p:cNvSpPr>
              <a:spLocks noChangeAspect="1"/>
            </p:cNvSpPr>
            <p:nvPr userDrawn="1"/>
          </p:nvSpPr>
          <p:spPr bwMode="auto">
            <a:xfrm>
              <a:off x="13556559" y="-2757510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42" name="iconfont-11894-5689857"/>
            <p:cNvSpPr>
              <a:spLocks noChangeAspect="1"/>
            </p:cNvSpPr>
            <p:nvPr userDrawn="1"/>
          </p:nvSpPr>
          <p:spPr bwMode="auto">
            <a:xfrm>
              <a:off x="14775929" y="-2721841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" name="iconfont-11894-5689857"/>
            <p:cNvSpPr>
              <a:spLocks noChangeAspect="1"/>
            </p:cNvSpPr>
            <p:nvPr userDrawn="1"/>
          </p:nvSpPr>
          <p:spPr bwMode="auto">
            <a:xfrm>
              <a:off x="15995299" y="-2734839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4" name="iconfont-11894-5689857"/>
            <p:cNvSpPr>
              <a:spLocks noChangeAspect="1"/>
            </p:cNvSpPr>
            <p:nvPr userDrawn="1"/>
          </p:nvSpPr>
          <p:spPr bwMode="auto">
            <a:xfrm>
              <a:off x="17214969" y="-2757510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5" name="iconfont-11894-5689857"/>
            <p:cNvSpPr>
              <a:spLocks noChangeAspect="1"/>
            </p:cNvSpPr>
            <p:nvPr userDrawn="1"/>
          </p:nvSpPr>
          <p:spPr bwMode="auto">
            <a:xfrm>
              <a:off x="18434538" y="-2757510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6" name="iconfont-11894-5689857"/>
            <p:cNvSpPr>
              <a:spLocks noChangeAspect="1"/>
            </p:cNvSpPr>
            <p:nvPr userDrawn="1"/>
          </p:nvSpPr>
          <p:spPr bwMode="auto">
            <a:xfrm>
              <a:off x="19746077" y="-2757510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7" name="iconfont-11894-5689857"/>
            <p:cNvSpPr>
              <a:spLocks noChangeAspect="1"/>
            </p:cNvSpPr>
            <p:nvPr userDrawn="1"/>
          </p:nvSpPr>
          <p:spPr bwMode="auto">
            <a:xfrm>
              <a:off x="20905719" y="-2757510"/>
              <a:ext cx="543805" cy="609685"/>
            </a:xfrm>
            <a:custGeom>
              <a:avLst/>
              <a:gdLst>
                <a:gd name="T0" fmla="*/ 10400 w 11417"/>
                <a:gd name="T1" fmla="*/ 4000 h 12800"/>
                <a:gd name="T2" fmla="*/ 6400 w 11417"/>
                <a:gd name="T3" fmla="*/ 4000 h 12800"/>
                <a:gd name="T4" fmla="*/ 6400 w 11417"/>
                <a:gd name="T5" fmla="*/ 800 h 12800"/>
                <a:gd name="T6" fmla="*/ 7200 w 11417"/>
                <a:gd name="T7" fmla="*/ 800 h 12800"/>
                <a:gd name="T8" fmla="*/ 7200 w 11417"/>
                <a:gd name="T9" fmla="*/ 3200 h 12800"/>
                <a:gd name="T10" fmla="*/ 10400 w 11417"/>
                <a:gd name="T11" fmla="*/ 3200 h 12800"/>
                <a:gd name="T12" fmla="*/ 10400 w 11417"/>
                <a:gd name="T13" fmla="*/ 4000 h 12800"/>
                <a:gd name="T14" fmla="*/ 9087 w 11417"/>
                <a:gd name="T15" fmla="*/ 9425 h 12800"/>
                <a:gd name="T16" fmla="*/ 11417 w 11417"/>
                <a:gd name="T17" fmla="*/ 11755 h 12800"/>
                <a:gd name="T18" fmla="*/ 10908 w 11417"/>
                <a:gd name="T19" fmla="*/ 12264 h 12800"/>
                <a:gd name="T20" fmla="*/ 8578 w 11417"/>
                <a:gd name="T21" fmla="*/ 9934 h 12800"/>
                <a:gd name="T22" fmla="*/ 9087 w 11417"/>
                <a:gd name="T23" fmla="*/ 9425 h 12800"/>
                <a:gd name="T24" fmla="*/ 7782 w 11417"/>
                <a:gd name="T25" fmla="*/ 10560 h 12800"/>
                <a:gd name="T26" fmla="*/ 5862 w 11417"/>
                <a:gd name="T27" fmla="*/ 8640 h 12800"/>
                <a:gd name="T28" fmla="*/ 7782 w 11417"/>
                <a:gd name="T29" fmla="*/ 6720 h 12800"/>
                <a:gd name="T30" fmla="*/ 9702 w 11417"/>
                <a:gd name="T31" fmla="*/ 8640 h 12800"/>
                <a:gd name="T32" fmla="*/ 7782 w 11417"/>
                <a:gd name="T33" fmla="*/ 10560 h 12800"/>
                <a:gd name="T34" fmla="*/ 7782 w 11417"/>
                <a:gd name="T35" fmla="*/ 7520 h 12800"/>
                <a:gd name="T36" fmla="*/ 6662 w 11417"/>
                <a:gd name="T37" fmla="*/ 8640 h 12800"/>
                <a:gd name="T38" fmla="*/ 7782 w 11417"/>
                <a:gd name="T39" fmla="*/ 9760 h 12800"/>
                <a:gd name="T40" fmla="*/ 8902 w 11417"/>
                <a:gd name="T41" fmla="*/ 8640 h 12800"/>
                <a:gd name="T42" fmla="*/ 7782 w 11417"/>
                <a:gd name="T43" fmla="*/ 7520 h 12800"/>
                <a:gd name="T44" fmla="*/ 7200 w 11417"/>
                <a:gd name="T45" fmla="*/ 12800 h 12800"/>
                <a:gd name="T46" fmla="*/ 1542 w 11417"/>
                <a:gd name="T47" fmla="*/ 12800 h 12800"/>
                <a:gd name="T48" fmla="*/ 0 w 11417"/>
                <a:gd name="T49" fmla="*/ 10880 h 12800"/>
                <a:gd name="T50" fmla="*/ 0 w 11417"/>
                <a:gd name="T51" fmla="*/ 1615 h 12800"/>
                <a:gd name="T52" fmla="*/ 1542 w 11417"/>
                <a:gd name="T53" fmla="*/ 0 h 12800"/>
                <a:gd name="T54" fmla="*/ 7062 w 11417"/>
                <a:gd name="T55" fmla="*/ 0 h 12800"/>
                <a:gd name="T56" fmla="*/ 11200 w 11417"/>
                <a:gd name="T57" fmla="*/ 3120 h 12800"/>
                <a:gd name="T58" fmla="*/ 11200 w 11417"/>
                <a:gd name="T59" fmla="*/ 8000 h 12800"/>
                <a:gd name="T60" fmla="*/ 10400 w 11417"/>
                <a:gd name="T61" fmla="*/ 8000 h 12800"/>
                <a:gd name="T62" fmla="*/ 10400 w 11417"/>
                <a:gd name="T63" fmla="*/ 3440 h 12800"/>
                <a:gd name="T64" fmla="*/ 6822 w 11417"/>
                <a:gd name="T65" fmla="*/ 800 h 12800"/>
                <a:gd name="T66" fmla="*/ 1542 w 11417"/>
                <a:gd name="T67" fmla="*/ 800 h 12800"/>
                <a:gd name="T68" fmla="*/ 800 w 11417"/>
                <a:gd name="T69" fmla="*/ 1668 h 12800"/>
                <a:gd name="T70" fmla="*/ 800 w 11417"/>
                <a:gd name="T71" fmla="*/ 10960 h 12800"/>
                <a:gd name="T72" fmla="*/ 1542 w 11417"/>
                <a:gd name="T73" fmla="*/ 12000 h 12800"/>
                <a:gd name="T74" fmla="*/ 7200 w 11417"/>
                <a:gd name="T75" fmla="*/ 12000 h 12800"/>
                <a:gd name="T76" fmla="*/ 7200 w 11417"/>
                <a:gd name="T77" fmla="*/ 12800 h 12800"/>
                <a:gd name="T78" fmla="*/ 1600 w 11417"/>
                <a:gd name="T79" fmla="*/ 2400 h 12800"/>
                <a:gd name="T80" fmla="*/ 4800 w 11417"/>
                <a:gd name="T81" fmla="*/ 2400 h 12800"/>
                <a:gd name="T82" fmla="*/ 4800 w 11417"/>
                <a:gd name="T83" fmla="*/ 3200 h 12800"/>
                <a:gd name="T84" fmla="*/ 1600 w 11417"/>
                <a:gd name="T85" fmla="*/ 3200 h 12800"/>
                <a:gd name="T86" fmla="*/ 1600 w 11417"/>
                <a:gd name="T87" fmla="*/ 2400 h 12800"/>
                <a:gd name="T88" fmla="*/ 1600 w 11417"/>
                <a:gd name="T89" fmla="*/ 4000 h 12800"/>
                <a:gd name="T90" fmla="*/ 5600 w 11417"/>
                <a:gd name="T91" fmla="*/ 4000 h 12800"/>
                <a:gd name="T92" fmla="*/ 5600 w 11417"/>
                <a:gd name="T93" fmla="*/ 4800 h 12800"/>
                <a:gd name="T94" fmla="*/ 1600 w 11417"/>
                <a:gd name="T95" fmla="*/ 4800 h 12800"/>
                <a:gd name="T96" fmla="*/ 1600 w 11417"/>
                <a:gd name="T97" fmla="*/ 4000 h 12800"/>
                <a:gd name="T98" fmla="*/ 1600 w 11417"/>
                <a:gd name="T99" fmla="*/ 5600 h 12800"/>
                <a:gd name="T100" fmla="*/ 6400 w 11417"/>
                <a:gd name="T101" fmla="*/ 5600 h 12800"/>
                <a:gd name="T102" fmla="*/ 6400 w 11417"/>
                <a:gd name="T103" fmla="*/ 6400 h 12800"/>
                <a:gd name="T104" fmla="*/ 1600 w 11417"/>
                <a:gd name="T105" fmla="*/ 6400 h 12800"/>
                <a:gd name="T106" fmla="*/ 1600 w 11417"/>
                <a:gd name="T107" fmla="*/ 56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417" h="12800">
                  <a:moveTo>
                    <a:pt x="10400" y="4000"/>
                  </a:moveTo>
                  <a:lnTo>
                    <a:pt x="6400" y="4000"/>
                  </a:lnTo>
                  <a:lnTo>
                    <a:pt x="6400" y="800"/>
                  </a:lnTo>
                  <a:lnTo>
                    <a:pt x="7200" y="800"/>
                  </a:lnTo>
                  <a:lnTo>
                    <a:pt x="7200" y="3200"/>
                  </a:lnTo>
                  <a:lnTo>
                    <a:pt x="10400" y="3200"/>
                  </a:lnTo>
                  <a:lnTo>
                    <a:pt x="10400" y="4000"/>
                  </a:lnTo>
                  <a:close/>
                  <a:moveTo>
                    <a:pt x="9087" y="9425"/>
                  </a:moveTo>
                  <a:lnTo>
                    <a:pt x="11417" y="11755"/>
                  </a:lnTo>
                  <a:lnTo>
                    <a:pt x="10908" y="12264"/>
                  </a:lnTo>
                  <a:lnTo>
                    <a:pt x="8578" y="9934"/>
                  </a:lnTo>
                  <a:lnTo>
                    <a:pt x="9087" y="9425"/>
                  </a:lnTo>
                  <a:close/>
                  <a:moveTo>
                    <a:pt x="7782" y="10560"/>
                  </a:moveTo>
                  <a:cubicBezTo>
                    <a:pt x="6742" y="10560"/>
                    <a:pt x="5862" y="9680"/>
                    <a:pt x="5862" y="8640"/>
                  </a:cubicBezTo>
                  <a:cubicBezTo>
                    <a:pt x="5862" y="7600"/>
                    <a:pt x="6742" y="6720"/>
                    <a:pt x="7782" y="6720"/>
                  </a:cubicBezTo>
                  <a:cubicBezTo>
                    <a:pt x="8822" y="6720"/>
                    <a:pt x="9702" y="7600"/>
                    <a:pt x="9702" y="8640"/>
                  </a:cubicBezTo>
                  <a:cubicBezTo>
                    <a:pt x="9622" y="9680"/>
                    <a:pt x="8822" y="10560"/>
                    <a:pt x="7782" y="10560"/>
                  </a:cubicBezTo>
                  <a:close/>
                  <a:moveTo>
                    <a:pt x="7782" y="7520"/>
                  </a:moveTo>
                  <a:cubicBezTo>
                    <a:pt x="7142" y="7520"/>
                    <a:pt x="6662" y="8000"/>
                    <a:pt x="6662" y="8640"/>
                  </a:cubicBezTo>
                  <a:cubicBezTo>
                    <a:pt x="6662" y="9280"/>
                    <a:pt x="7142" y="9760"/>
                    <a:pt x="7782" y="9760"/>
                  </a:cubicBezTo>
                  <a:cubicBezTo>
                    <a:pt x="8422" y="9760"/>
                    <a:pt x="8902" y="9280"/>
                    <a:pt x="8902" y="8640"/>
                  </a:cubicBezTo>
                  <a:cubicBezTo>
                    <a:pt x="8902" y="8000"/>
                    <a:pt x="8342" y="7520"/>
                    <a:pt x="7782" y="7520"/>
                  </a:cubicBezTo>
                  <a:close/>
                  <a:moveTo>
                    <a:pt x="7200" y="12800"/>
                  </a:moveTo>
                  <a:lnTo>
                    <a:pt x="1542" y="12800"/>
                  </a:lnTo>
                  <a:cubicBezTo>
                    <a:pt x="582" y="12800"/>
                    <a:pt x="0" y="11920"/>
                    <a:pt x="0" y="10880"/>
                  </a:cubicBezTo>
                  <a:lnTo>
                    <a:pt x="0" y="1615"/>
                  </a:lnTo>
                  <a:cubicBezTo>
                    <a:pt x="0" y="683"/>
                    <a:pt x="582" y="0"/>
                    <a:pt x="1542" y="0"/>
                  </a:cubicBezTo>
                  <a:lnTo>
                    <a:pt x="7062" y="0"/>
                  </a:lnTo>
                  <a:lnTo>
                    <a:pt x="11200" y="3120"/>
                  </a:lnTo>
                  <a:lnTo>
                    <a:pt x="11200" y="8000"/>
                  </a:lnTo>
                  <a:lnTo>
                    <a:pt x="10400" y="8000"/>
                  </a:lnTo>
                  <a:lnTo>
                    <a:pt x="10400" y="3440"/>
                  </a:lnTo>
                  <a:lnTo>
                    <a:pt x="6822" y="800"/>
                  </a:lnTo>
                  <a:lnTo>
                    <a:pt x="1542" y="800"/>
                  </a:lnTo>
                  <a:cubicBezTo>
                    <a:pt x="982" y="800"/>
                    <a:pt x="800" y="1222"/>
                    <a:pt x="800" y="1668"/>
                  </a:cubicBezTo>
                  <a:lnTo>
                    <a:pt x="800" y="10960"/>
                  </a:lnTo>
                  <a:cubicBezTo>
                    <a:pt x="800" y="11520"/>
                    <a:pt x="982" y="12000"/>
                    <a:pt x="1542" y="12000"/>
                  </a:cubicBezTo>
                  <a:lnTo>
                    <a:pt x="7200" y="12000"/>
                  </a:lnTo>
                  <a:lnTo>
                    <a:pt x="7200" y="12800"/>
                  </a:lnTo>
                  <a:close/>
                  <a:moveTo>
                    <a:pt x="1600" y="2400"/>
                  </a:moveTo>
                  <a:lnTo>
                    <a:pt x="4800" y="2400"/>
                  </a:lnTo>
                  <a:lnTo>
                    <a:pt x="4800" y="3200"/>
                  </a:lnTo>
                  <a:lnTo>
                    <a:pt x="1600" y="3200"/>
                  </a:lnTo>
                  <a:lnTo>
                    <a:pt x="1600" y="2400"/>
                  </a:lnTo>
                  <a:close/>
                  <a:moveTo>
                    <a:pt x="1600" y="4000"/>
                  </a:moveTo>
                  <a:lnTo>
                    <a:pt x="5600" y="4000"/>
                  </a:lnTo>
                  <a:lnTo>
                    <a:pt x="5600" y="4800"/>
                  </a:lnTo>
                  <a:lnTo>
                    <a:pt x="1600" y="4800"/>
                  </a:lnTo>
                  <a:lnTo>
                    <a:pt x="1600" y="4000"/>
                  </a:lnTo>
                  <a:close/>
                  <a:moveTo>
                    <a:pt x="1600" y="5600"/>
                  </a:moveTo>
                  <a:lnTo>
                    <a:pt x="6400" y="5600"/>
                  </a:lnTo>
                  <a:lnTo>
                    <a:pt x="6400" y="6400"/>
                  </a:lnTo>
                  <a:lnTo>
                    <a:pt x="1600" y="6400"/>
                  </a:lnTo>
                  <a:lnTo>
                    <a:pt x="1600" y="56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8" name="iconfont-11894-5689857"/>
            <p:cNvSpPr>
              <a:spLocks noChangeAspect="1"/>
            </p:cNvSpPr>
            <p:nvPr userDrawn="1"/>
          </p:nvSpPr>
          <p:spPr bwMode="auto">
            <a:xfrm>
              <a:off x="22092150" y="-2751111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9" name="iconfont-11894-5689857"/>
            <p:cNvSpPr>
              <a:spLocks noChangeAspect="1"/>
            </p:cNvSpPr>
            <p:nvPr userDrawn="1"/>
          </p:nvSpPr>
          <p:spPr bwMode="auto">
            <a:xfrm>
              <a:off x="23401954" y="-2757510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0" name="iconfont-11894-5689857"/>
            <p:cNvSpPr>
              <a:spLocks noChangeAspect="1"/>
            </p:cNvSpPr>
            <p:nvPr userDrawn="1"/>
          </p:nvSpPr>
          <p:spPr bwMode="auto">
            <a:xfrm>
              <a:off x="24530945" y="-2757510"/>
              <a:ext cx="609571" cy="609685"/>
            </a:xfrm>
            <a:custGeom>
              <a:avLst/>
              <a:gdLst>
                <a:gd name="T0" fmla="*/ 0 w 11163"/>
                <a:gd name="T1" fmla="*/ 5582 h 11163"/>
                <a:gd name="T2" fmla="*/ 11163 w 11163"/>
                <a:gd name="T3" fmla="*/ 5582 h 11163"/>
                <a:gd name="T4" fmla="*/ 5581 w 11163"/>
                <a:gd name="T5" fmla="*/ 9964 h 11163"/>
                <a:gd name="T6" fmla="*/ 5581 w 11163"/>
                <a:gd name="T7" fmla="*/ 1200 h 11163"/>
                <a:gd name="T8" fmla="*/ 5581 w 11163"/>
                <a:gd name="T9" fmla="*/ 9964 h 11163"/>
                <a:gd name="T10" fmla="*/ 1699 w 11163"/>
                <a:gd name="T11" fmla="*/ 5582 h 11163"/>
                <a:gd name="T12" fmla="*/ 9464 w 11163"/>
                <a:gd name="T13" fmla="*/ 5582 h 11163"/>
                <a:gd name="T14" fmla="*/ 8410 w 11163"/>
                <a:gd name="T15" fmla="*/ 6786 h 11163"/>
                <a:gd name="T16" fmla="*/ 6994 w 11163"/>
                <a:gd name="T17" fmla="*/ 5848 h 11163"/>
                <a:gd name="T18" fmla="*/ 6994 w 11163"/>
                <a:gd name="T19" fmla="*/ 5315 h 11163"/>
                <a:gd name="T20" fmla="*/ 8410 w 11163"/>
                <a:gd name="T21" fmla="*/ 4377 h 11163"/>
                <a:gd name="T22" fmla="*/ 8410 w 11163"/>
                <a:gd name="T23" fmla="*/ 6786 h 11163"/>
                <a:gd name="T24" fmla="*/ 8012 w 11163"/>
                <a:gd name="T25" fmla="*/ 3714 h 11163"/>
                <a:gd name="T26" fmla="*/ 6069 w 11163"/>
                <a:gd name="T27" fmla="*/ 4233 h 11163"/>
                <a:gd name="T28" fmla="*/ 5980 w 11163"/>
                <a:gd name="T29" fmla="*/ 2534 h 11163"/>
                <a:gd name="T30" fmla="*/ 5580 w 11163"/>
                <a:gd name="T31" fmla="*/ 6267 h 11163"/>
                <a:gd name="T32" fmla="*/ 5580 w 11163"/>
                <a:gd name="T33" fmla="*/ 4897 h 11163"/>
                <a:gd name="T34" fmla="*/ 5580 w 11163"/>
                <a:gd name="T35" fmla="*/ 6267 h 11163"/>
                <a:gd name="T36" fmla="*/ 5205 w 11163"/>
                <a:gd name="T37" fmla="*/ 2542 h 11163"/>
                <a:gd name="T38" fmla="*/ 4646 w 11163"/>
                <a:gd name="T39" fmla="*/ 4493 h 11163"/>
                <a:gd name="T40" fmla="*/ 3127 w 11163"/>
                <a:gd name="T41" fmla="*/ 3735 h 11163"/>
                <a:gd name="T42" fmla="*/ 2741 w 11163"/>
                <a:gd name="T43" fmla="*/ 4405 h 11163"/>
                <a:gd name="T44" fmla="*/ 4165 w 11163"/>
                <a:gd name="T45" fmla="*/ 5329 h 11163"/>
                <a:gd name="T46" fmla="*/ 4165 w 11163"/>
                <a:gd name="T47" fmla="*/ 5834 h 11163"/>
                <a:gd name="T48" fmla="*/ 2741 w 11163"/>
                <a:gd name="T49" fmla="*/ 6759 h 11163"/>
                <a:gd name="T50" fmla="*/ 2741 w 11163"/>
                <a:gd name="T51" fmla="*/ 4405 h 11163"/>
                <a:gd name="T52" fmla="*/ 3135 w 11163"/>
                <a:gd name="T53" fmla="*/ 7426 h 11163"/>
                <a:gd name="T54" fmla="*/ 5105 w 11163"/>
                <a:gd name="T55" fmla="*/ 6934 h 11163"/>
                <a:gd name="T56" fmla="*/ 5208 w 11163"/>
                <a:gd name="T57" fmla="*/ 8632 h 11163"/>
                <a:gd name="T58" fmla="*/ 5981 w 11163"/>
                <a:gd name="T59" fmla="*/ 8629 h 11163"/>
                <a:gd name="T60" fmla="*/ 6069 w 11163"/>
                <a:gd name="T61" fmla="*/ 6931 h 11163"/>
                <a:gd name="T62" fmla="*/ 8013 w 11163"/>
                <a:gd name="T63" fmla="*/ 7450 h 11163"/>
                <a:gd name="T64" fmla="*/ 5981 w 11163"/>
                <a:gd name="T65" fmla="*/ 8629 h 1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163" h="11163">
                  <a:moveTo>
                    <a:pt x="5581" y="0"/>
                  </a:moveTo>
                  <a:cubicBezTo>
                    <a:pt x="2498" y="0"/>
                    <a:pt x="0" y="2499"/>
                    <a:pt x="0" y="5582"/>
                  </a:cubicBezTo>
                  <a:cubicBezTo>
                    <a:pt x="0" y="8664"/>
                    <a:pt x="2498" y="11163"/>
                    <a:pt x="5581" y="11163"/>
                  </a:cubicBezTo>
                  <a:cubicBezTo>
                    <a:pt x="8664" y="11163"/>
                    <a:pt x="11163" y="8664"/>
                    <a:pt x="11163" y="5582"/>
                  </a:cubicBezTo>
                  <a:cubicBezTo>
                    <a:pt x="11163" y="2499"/>
                    <a:pt x="8664" y="0"/>
                    <a:pt x="5581" y="0"/>
                  </a:cubicBezTo>
                  <a:close/>
                  <a:moveTo>
                    <a:pt x="5581" y="9964"/>
                  </a:moveTo>
                  <a:cubicBezTo>
                    <a:pt x="3164" y="9964"/>
                    <a:pt x="1199" y="7998"/>
                    <a:pt x="1199" y="5582"/>
                  </a:cubicBezTo>
                  <a:cubicBezTo>
                    <a:pt x="1199" y="3165"/>
                    <a:pt x="3164" y="1200"/>
                    <a:pt x="5581" y="1200"/>
                  </a:cubicBezTo>
                  <a:cubicBezTo>
                    <a:pt x="7998" y="1200"/>
                    <a:pt x="9964" y="3165"/>
                    <a:pt x="9964" y="5582"/>
                  </a:cubicBezTo>
                  <a:cubicBezTo>
                    <a:pt x="9964" y="7998"/>
                    <a:pt x="7998" y="9964"/>
                    <a:pt x="5581" y="9964"/>
                  </a:cubicBezTo>
                  <a:close/>
                  <a:moveTo>
                    <a:pt x="5581" y="1699"/>
                  </a:moveTo>
                  <a:cubicBezTo>
                    <a:pt x="3436" y="1699"/>
                    <a:pt x="1699" y="3437"/>
                    <a:pt x="1699" y="5582"/>
                  </a:cubicBezTo>
                  <a:cubicBezTo>
                    <a:pt x="1699" y="7726"/>
                    <a:pt x="3436" y="9464"/>
                    <a:pt x="5581" y="9464"/>
                  </a:cubicBezTo>
                  <a:cubicBezTo>
                    <a:pt x="7726" y="9464"/>
                    <a:pt x="9464" y="7726"/>
                    <a:pt x="9464" y="5582"/>
                  </a:cubicBezTo>
                  <a:cubicBezTo>
                    <a:pt x="9464" y="3437"/>
                    <a:pt x="7726" y="1699"/>
                    <a:pt x="5581" y="1699"/>
                  </a:cubicBezTo>
                  <a:close/>
                  <a:moveTo>
                    <a:pt x="8410" y="6786"/>
                  </a:moveTo>
                  <a:cubicBezTo>
                    <a:pt x="8407" y="6784"/>
                    <a:pt x="8404" y="6779"/>
                    <a:pt x="8401" y="6777"/>
                  </a:cubicBezTo>
                  <a:lnTo>
                    <a:pt x="6994" y="5848"/>
                  </a:lnTo>
                  <a:cubicBezTo>
                    <a:pt x="7010" y="5761"/>
                    <a:pt x="7021" y="5673"/>
                    <a:pt x="7021" y="5582"/>
                  </a:cubicBezTo>
                  <a:cubicBezTo>
                    <a:pt x="7021" y="5491"/>
                    <a:pt x="7011" y="5402"/>
                    <a:pt x="6994" y="5315"/>
                  </a:cubicBezTo>
                  <a:lnTo>
                    <a:pt x="8401" y="4386"/>
                  </a:lnTo>
                  <a:cubicBezTo>
                    <a:pt x="8404" y="4384"/>
                    <a:pt x="8407" y="4379"/>
                    <a:pt x="8410" y="4377"/>
                  </a:cubicBezTo>
                  <a:cubicBezTo>
                    <a:pt x="8568" y="4747"/>
                    <a:pt x="8656" y="5154"/>
                    <a:pt x="8656" y="5582"/>
                  </a:cubicBezTo>
                  <a:cubicBezTo>
                    <a:pt x="8656" y="6009"/>
                    <a:pt x="8568" y="6416"/>
                    <a:pt x="8410" y="6786"/>
                  </a:cubicBezTo>
                  <a:close/>
                  <a:moveTo>
                    <a:pt x="8018" y="3712"/>
                  </a:moveTo>
                  <a:cubicBezTo>
                    <a:pt x="8016" y="3713"/>
                    <a:pt x="8014" y="3713"/>
                    <a:pt x="8012" y="3714"/>
                  </a:cubicBezTo>
                  <a:lnTo>
                    <a:pt x="6503" y="4485"/>
                  </a:lnTo>
                  <a:cubicBezTo>
                    <a:pt x="6375" y="4377"/>
                    <a:pt x="6229" y="4291"/>
                    <a:pt x="6069" y="4233"/>
                  </a:cubicBezTo>
                  <a:lnTo>
                    <a:pt x="5982" y="2542"/>
                  </a:lnTo>
                  <a:cubicBezTo>
                    <a:pt x="5982" y="2540"/>
                    <a:pt x="5980" y="2537"/>
                    <a:pt x="5980" y="2534"/>
                  </a:cubicBezTo>
                  <a:cubicBezTo>
                    <a:pt x="6808" y="2643"/>
                    <a:pt x="7532" y="3081"/>
                    <a:pt x="8018" y="3712"/>
                  </a:cubicBezTo>
                  <a:close/>
                  <a:moveTo>
                    <a:pt x="5580" y="6267"/>
                  </a:moveTo>
                  <a:cubicBezTo>
                    <a:pt x="5202" y="6267"/>
                    <a:pt x="4895" y="5960"/>
                    <a:pt x="4895" y="5582"/>
                  </a:cubicBezTo>
                  <a:cubicBezTo>
                    <a:pt x="4895" y="5204"/>
                    <a:pt x="5202" y="4897"/>
                    <a:pt x="5580" y="4897"/>
                  </a:cubicBezTo>
                  <a:cubicBezTo>
                    <a:pt x="5958" y="4897"/>
                    <a:pt x="6264" y="5204"/>
                    <a:pt x="6264" y="5582"/>
                  </a:cubicBezTo>
                  <a:cubicBezTo>
                    <a:pt x="6264" y="5960"/>
                    <a:pt x="5958" y="6267"/>
                    <a:pt x="5580" y="6267"/>
                  </a:cubicBezTo>
                  <a:close/>
                  <a:moveTo>
                    <a:pt x="5208" y="2531"/>
                  </a:moveTo>
                  <a:cubicBezTo>
                    <a:pt x="5207" y="2534"/>
                    <a:pt x="5205" y="2539"/>
                    <a:pt x="5205" y="2542"/>
                  </a:cubicBezTo>
                  <a:lnTo>
                    <a:pt x="5104" y="4229"/>
                  </a:lnTo>
                  <a:cubicBezTo>
                    <a:pt x="4934" y="4289"/>
                    <a:pt x="4780" y="4379"/>
                    <a:pt x="4646" y="4493"/>
                  </a:cubicBezTo>
                  <a:lnTo>
                    <a:pt x="3135" y="3738"/>
                  </a:lnTo>
                  <a:cubicBezTo>
                    <a:pt x="3132" y="3737"/>
                    <a:pt x="3129" y="3737"/>
                    <a:pt x="3127" y="3735"/>
                  </a:cubicBezTo>
                  <a:cubicBezTo>
                    <a:pt x="3618" y="3085"/>
                    <a:pt x="4359" y="2634"/>
                    <a:pt x="5208" y="2531"/>
                  </a:cubicBezTo>
                  <a:close/>
                  <a:moveTo>
                    <a:pt x="2741" y="4405"/>
                  </a:moveTo>
                  <a:cubicBezTo>
                    <a:pt x="2742" y="4406"/>
                    <a:pt x="2744" y="4409"/>
                    <a:pt x="2746" y="4410"/>
                  </a:cubicBezTo>
                  <a:lnTo>
                    <a:pt x="4165" y="5329"/>
                  </a:lnTo>
                  <a:cubicBezTo>
                    <a:pt x="4151" y="5411"/>
                    <a:pt x="4140" y="5495"/>
                    <a:pt x="4140" y="5582"/>
                  </a:cubicBezTo>
                  <a:cubicBezTo>
                    <a:pt x="4140" y="5668"/>
                    <a:pt x="4150" y="5752"/>
                    <a:pt x="4165" y="5834"/>
                  </a:cubicBezTo>
                  <a:lnTo>
                    <a:pt x="2746" y="6753"/>
                  </a:lnTo>
                  <a:cubicBezTo>
                    <a:pt x="2745" y="6754"/>
                    <a:pt x="2742" y="6757"/>
                    <a:pt x="2741" y="6759"/>
                  </a:cubicBezTo>
                  <a:cubicBezTo>
                    <a:pt x="2590" y="6396"/>
                    <a:pt x="2505" y="5999"/>
                    <a:pt x="2505" y="5582"/>
                  </a:cubicBezTo>
                  <a:cubicBezTo>
                    <a:pt x="2506" y="5165"/>
                    <a:pt x="2590" y="4768"/>
                    <a:pt x="2741" y="4405"/>
                  </a:cubicBezTo>
                  <a:close/>
                  <a:moveTo>
                    <a:pt x="3128" y="7428"/>
                  </a:moveTo>
                  <a:cubicBezTo>
                    <a:pt x="3129" y="7428"/>
                    <a:pt x="3133" y="7427"/>
                    <a:pt x="3135" y="7426"/>
                  </a:cubicBezTo>
                  <a:lnTo>
                    <a:pt x="4647" y="6670"/>
                  </a:lnTo>
                  <a:cubicBezTo>
                    <a:pt x="4781" y="6786"/>
                    <a:pt x="4934" y="6875"/>
                    <a:pt x="5105" y="6934"/>
                  </a:cubicBezTo>
                  <a:lnTo>
                    <a:pt x="5205" y="8622"/>
                  </a:lnTo>
                  <a:cubicBezTo>
                    <a:pt x="5205" y="8625"/>
                    <a:pt x="5208" y="8629"/>
                    <a:pt x="5208" y="8632"/>
                  </a:cubicBezTo>
                  <a:cubicBezTo>
                    <a:pt x="4359" y="8530"/>
                    <a:pt x="3618" y="8079"/>
                    <a:pt x="3128" y="7428"/>
                  </a:cubicBezTo>
                  <a:close/>
                  <a:moveTo>
                    <a:pt x="5981" y="8629"/>
                  </a:moveTo>
                  <a:cubicBezTo>
                    <a:pt x="5981" y="8626"/>
                    <a:pt x="5982" y="8624"/>
                    <a:pt x="5982" y="8622"/>
                  </a:cubicBezTo>
                  <a:lnTo>
                    <a:pt x="6069" y="6931"/>
                  </a:lnTo>
                  <a:cubicBezTo>
                    <a:pt x="6229" y="6872"/>
                    <a:pt x="6375" y="6786"/>
                    <a:pt x="6503" y="6678"/>
                  </a:cubicBezTo>
                  <a:lnTo>
                    <a:pt x="8013" y="7450"/>
                  </a:lnTo>
                  <a:cubicBezTo>
                    <a:pt x="8014" y="7450"/>
                    <a:pt x="8016" y="7451"/>
                    <a:pt x="8018" y="7451"/>
                  </a:cubicBezTo>
                  <a:cubicBezTo>
                    <a:pt x="7532" y="8083"/>
                    <a:pt x="6808" y="8520"/>
                    <a:pt x="5981" y="8629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1" name="iconfont-11894-5689857"/>
            <p:cNvSpPr>
              <a:spLocks noChangeAspect="1"/>
            </p:cNvSpPr>
            <p:nvPr userDrawn="1"/>
          </p:nvSpPr>
          <p:spPr bwMode="auto">
            <a:xfrm>
              <a:off x="25750260" y="-2688257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52" name="iconfont-11894-5689857"/>
            <p:cNvSpPr>
              <a:spLocks noChangeAspect="1"/>
            </p:cNvSpPr>
            <p:nvPr userDrawn="1"/>
          </p:nvSpPr>
          <p:spPr bwMode="auto">
            <a:xfrm>
              <a:off x="26978856" y="-2757510"/>
              <a:ext cx="591237" cy="609685"/>
            </a:xfrm>
            <a:custGeom>
              <a:avLst/>
              <a:gdLst>
                <a:gd name="T0" fmla="*/ 5719 w 12417"/>
                <a:gd name="T1" fmla="*/ 2264 h 12804"/>
                <a:gd name="T2" fmla="*/ 5719 w 12417"/>
                <a:gd name="T3" fmla="*/ 5366 h 12804"/>
                <a:gd name="T4" fmla="*/ 5720 w 12417"/>
                <a:gd name="T5" fmla="*/ 2816 h 12804"/>
                <a:gd name="T6" fmla="*/ 4596 w 12417"/>
                <a:gd name="T7" fmla="*/ 3938 h 12804"/>
                <a:gd name="T8" fmla="*/ 5720 w 12417"/>
                <a:gd name="T9" fmla="*/ 5917 h 12804"/>
                <a:gd name="T10" fmla="*/ 7700 w 12417"/>
                <a:gd name="T11" fmla="*/ 6211 h 12804"/>
                <a:gd name="T12" fmla="*/ 5034 w 12417"/>
                <a:gd name="T13" fmla="*/ 5462 h 12804"/>
                <a:gd name="T14" fmla="*/ 5871 w 12417"/>
                <a:gd name="T15" fmla="*/ 8460 h 12804"/>
                <a:gd name="T16" fmla="*/ 5763 w 12417"/>
                <a:gd name="T17" fmla="*/ 5268 h 12804"/>
                <a:gd name="T18" fmla="*/ 6409 w 12417"/>
                <a:gd name="T19" fmla="*/ 5466 h 12804"/>
                <a:gd name="T20" fmla="*/ 8933 w 12417"/>
                <a:gd name="T21" fmla="*/ 10332 h 12804"/>
                <a:gd name="T22" fmla="*/ 9845 w 12417"/>
                <a:gd name="T23" fmla="*/ 9087 h 12804"/>
                <a:gd name="T24" fmla="*/ 12413 w 12417"/>
                <a:gd name="T25" fmla="*/ 9743 h 12804"/>
                <a:gd name="T26" fmla="*/ 11727 w 12417"/>
                <a:gd name="T27" fmla="*/ 9056 h 12804"/>
                <a:gd name="T28" fmla="*/ 11732 w 12417"/>
                <a:gd name="T29" fmla="*/ 7666 h 12804"/>
                <a:gd name="T30" fmla="*/ 10925 w 12417"/>
                <a:gd name="T31" fmla="*/ 6943 h 12804"/>
                <a:gd name="T32" fmla="*/ 9988 w 12417"/>
                <a:gd name="T33" fmla="*/ 7193 h 12804"/>
                <a:gd name="T34" fmla="*/ 9357 w 12417"/>
                <a:gd name="T35" fmla="*/ 6463 h 12804"/>
                <a:gd name="T36" fmla="*/ 8670 w 12417"/>
                <a:gd name="T37" fmla="*/ 7149 h 12804"/>
                <a:gd name="T38" fmla="*/ 7758 w 12417"/>
                <a:gd name="T39" fmla="*/ 6832 h 12804"/>
                <a:gd name="T40" fmla="*/ 7508 w 12417"/>
                <a:gd name="T41" fmla="*/ 7768 h 12804"/>
                <a:gd name="T42" fmla="*/ 6559 w 12417"/>
                <a:gd name="T43" fmla="*/ 7950 h 12804"/>
                <a:gd name="T44" fmla="*/ 6526 w 12417"/>
                <a:gd name="T45" fmla="*/ 8658 h 12804"/>
                <a:gd name="T46" fmla="*/ 6079 w 12417"/>
                <a:gd name="T47" fmla="*/ 9519 h 12804"/>
                <a:gd name="T48" fmla="*/ 6766 w 12417"/>
                <a:gd name="T49" fmla="*/ 10205 h 12804"/>
                <a:gd name="T50" fmla="*/ 6614 w 12417"/>
                <a:gd name="T51" fmla="*/ 10934 h 12804"/>
                <a:gd name="T52" fmla="*/ 7385 w 12417"/>
                <a:gd name="T53" fmla="*/ 11368 h 12804"/>
                <a:gd name="T54" fmla="*/ 8074 w 12417"/>
                <a:gd name="T55" fmla="*/ 12575 h 12804"/>
                <a:gd name="T56" fmla="*/ 9133 w 12417"/>
                <a:gd name="T57" fmla="*/ 12798 h 12804"/>
                <a:gd name="T58" fmla="*/ 9819 w 12417"/>
                <a:gd name="T59" fmla="*/ 12112 h 12804"/>
                <a:gd name="T60" fmla="*/ 11209 w 12417"/>
                <a:gd name="T61" fmla="*/ 12118 h 12804"/>
                <a:gd name="T62" fmla="*/ 11932 w 12417"/>
                <a:gd name="T63" fmla="*/ 11312 h 12804"/>
                <a:gd name="T64" fmla="*/ 11774 w 12417"/>
                <a:gd name="T65" fmla="*/ 9929 h 12804"/>
                <a:gd name="T66" fmla="*/ 7604 w 12417"/>
                <a:gd name="T67" fmla="*/ 10422 h 12804"/>
                <a:gd name="T68" fmla="*/ 8454 w 12417"/>
                <a:gd name="T69" fmla="*/ 7988 h 12804"/>
                <a:gd name="T70" fmla="*/ 10356 w 12417"/>
                <a:gd name="T71" fmla="*/ 8175 h 12804"/>
                <a:gd name="T72" fmla="*/ 4705 w 12417"/>
                <a:gd name="T73" fmla="*/ 9599 h 12804"/>
                <a:gd name="T74" fmla="*/ 800 w 12417"/>
                <a:gd name="T75" fmla="*/ 1920 h 12804"/>
                <a:gd name="T76" fmla="*/ 9600 w 12417"/>
                <a:gd name="T77" fmla="*/ 1920 h 12804"/>
                <a:gd name="T78" fmla="*/ 10400 w 12417"/>
                <a:gd name="T79" fmla="*/ 1600 h 12804"/>
                <a:gd name="T80" fmla="*/ 0 w 12417"/>
                <a:gd name="T81" fmla="*/ 1600 h 12804"/>
                <a:gd name="T82" fmla="*/ 4827 w 12417"/>
                <a:gd name="T83" fmla="*/ 10399 h 12804"/>
                <a:gd name="T84" fmla="*/ 1351 w 12417"/>
                <a:gd name="T85" fmla="*/ 7983 h 12804"/>
                <a:gd name="T86" fmla="*/ 4119 w 12417"/>
                <a:gd name="T87" fmla="*/ 4940 h 12804"/>
                <a:gd name="T88" fmla="*/ 4120 w 12417"/>
                <a:gd name="T89" fmla="*/ 5331 h 12804"/>
                <a:gd name="T90" fmla="*/ 4120 w 12417"/>
                <a:gd name="T91" fmla="*/ 2856 h 12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417" h="12804">
                  <a:moveTo>
                    <a:pt x="6404" y="5462"/>
                  </a:moveTo>
                  <a:cubicBezTo>
                    <a:pt x="6986" y="5200"/>
                    <a:pt x="7394" y="4616"/>
                    <a:pt x="7394" y="3938"/>
                  </a:cubicBezTo>
                  <a:cubicBezTo>
                    <a:pt x="7394" y="3015"/>
                    <a:pt x="6642" y="2264"/>
                    <a:pt x="5719" y="2264"/>
                  </a:cubicBezTo>
                  <a:cubicBezTo>
                    <a:pt x="4796" y="2264"/>
                    <a:pt x="4045" y="3014"/>
                    <a:pt x="4045" y="3938"/>
                  </a:cubicBezTo>
                  <a:cubicBezTo>
                    <a:pt x="4045" y="4616"/>
                    <a:pt x="4452" y="5200"/>
                    <a:pt x="5034" y="5462"/>
                  </a:cubicBezTo>
                  <a:cubicBezTo>
                    <a:pt x="5254" y="5405"/>
                    <a:pt x="5482" y="5366"/>
                    <a:pt x="5719" y="5366"/>
                  </a:cubicBezTo>
                  <a:cubicBezTo>
                    <a:pt x="5958" y="5366"/>
                    <a:pt x="6184" y="5405"/>
                    <a:pt x="6404" y="5462"/>
                  </a:cubicBezTo>
                  <a:close/>
                  <a:moveTo>
                    <a:pt x="4596" y="3938"/>
                  </a:moveTo>
                  <a:cubicBezTo>
                    <a:pt x="4596" y="3318"/>
                    <a:pt x="5100" y="2816"/>
                    <a:pt x="5720" y="2816"/>
                  </a:cubicBezTo>
                  <a:cubicBezTo>
                    <a:pt x="6339" y="2816"/>
                    <a:pt x="6843" y="3319"/>
                    <a:pt x="6843" y="3938"/>
                  </a:cubicBezTo>
                  <a:cubicBezTo>
                    <a:pt x="6843" y="4557"/>
                    <a:pt x="6339" y="5062"/>
                    <a:pt x="5720" y="5062"/>
                  </a:cubicBezTo>
                  <a:cubicBezTo>
                    <a:pt x="5100" y="5062"/>
                    <a:pt x="4596" y="4556"/>
                    <a:pt x="4596" y="3938"/>
                  </a:cubicBezTo>
                  <a:close/>
                  <a:moveTo>
                    <a:pt x="6230" y="7859"/>
                  </a:moveTo>
                  <a:lnTo>
                    <a:pt x="3518" y="7859"/>
                  </a:lnTo>
                  <a:cubicBezTo>
                    <a:pt x="3655" y="6766"/>
                    <a:pt x="4590" y="5917"/>
                    <a:pt x="5720" y="5917"/>
                  </a:cubicBezTo>
                  <a:cubicBezTo>
                    <a:pt x="6300" y="5917"/>
                    <a:pt x="6826" y="6143"/>
                    <a:pt x="7221" y="6508"/>
                  </a:cubicBezTo>
                  <a:cubicBezTo>
                    <a:pt x="7341" y="6424"/>
                    <a:pt x="7460" y="6336"/>
                    <a:pt x="7584" y="6271"/>
                  </a:cubicBezTo>
                  <a:lnTo>
                    <a:pt x="7700" y="6211"/>
                  </a:lnTo>
                  <a:cubicBezTo>
                    <a:pt x="7350" y="5851"/>
                    <a:pt x="6905" y="5591"/>
                    <a:pt x="6404" y="5461"/>
                  </a:cubicBezTo>
                  <a:cubicBezTo>
                    <a:pt x="6195" y="5556"/>
                    <a:pt x="5964" y="5612"/>
                    <a:pt x="5720" y="5612"/>
                  </a:cubicBezTo>
                  <a:cubicBezTo>
                    <a:pt x="5476" y="5612"/>
                    <a:pt x="5244" y="5556"/>
                    <a:pt x="5034" y="5462"/>
                  </a:cubicBezTo>
                  <a:cubicBezTo>
                    <a:pt x="3840" y="5768"/>
                    <a:pt x="2951" y="6846"/>
                    <a:pt x="2951" y="8135"/>
                  </a:cubicBezTo>
                  <a:cubicBezTo>
                    <a:pt x="2951" y="8287"/>
                    <a:pt x="3075" y="8411"/>
                    <a:pt x="3226" y="8411"/>
                  </a:cubicBezTo>
                  <a:lnTo>
                    <a:pt x="5871" y="8460"/>
                  </a:lnTo>
                  <a:cubicBezTo>
                    <a:pt x="5871" y="8460"/>
                    <a:pt x="6198" y="7930"/>
                    <a:pt x="6230" y="7859"/>
                  </a:cubicBezTo>
                  <a:close/>
                  <a:moveTo>
                    <a:pt x="6409" y="5466"/>
                  </a:moveTo>
                  <a:cubicBezTo>
                    <a:pt x="6224" y="5268"/>
                    <a:pt x="6001" y="5268"/>
                    <a:pt x="5763" y="5268"/>
                  </a:cubicBezTo>
                  <a:cubicBezTo>
                    <a:pt x="5526" y="5268"/>
                    <a:pt x="5210" y="5268"/>
                    <a:pt x="5038" y="5466"/>
                  </a:cubicBezTo>
                  <a:cubicBezTo>
                    <a:pt x="5249" y="5570"/>
                    <a:pt x="5480" y="5632"/>
                    <a:pt x="5724" y="5632"/>
                  </a:cubicBezTo>
                  <a:cubicBezTo>
                    <a:pt x="5969" y="5632"/>
                    <a:pt x="6199" y="5570"/>
                    <a:pt x="6409" y="5466"/>
                  </a:cubicBezTo>
                  <a:close/>
                  <a:moveTo>
                    <a:pt x="9621" y="8916"/>
                  </a:moveTo>
                  <a:cubicBezTo>
                    <a:pt x="9231" y="8727"/>
                    <a:pt x="8760" y="8889"/>
                    <a:pt x="8569" y="9280"/>
                  </a:cubicBezTo>
                  <a:cubicBezTo>
                    <a:pt x="8380" y="9671"/>
                    <a:pt x="8542" y="10142"/>
                    <a:pt x="8933" y="10332"/>
                  </a:cubicBezTo>
                  <a:cubicBezTo>
                    <a:pt x="9005" y="10367"/>
                    <a:pt x="9079" y="10378"/>
                    <a:pt x="9154" y="10390"/>
                  </a:cubicBezTo>
                  <a:cubicBezTo>
                    <a:pt x="9488" y="10442"/>
                    <a:pt x="9830" y="10288"/>
                    <a:pt x="9986" y="9969"/>
                  </a:cubicBezTo>
                  <a:cubicBezTo>
                    <a:pt x="10132" y="9666"/>
                    <a:pt x="10064" y="9319"/>
                    <a:pt x="9845" y="9087"/>
                  </a:cubicBezTo>
                  <a:cubicBezTo>
                    <a:pt x="9782" y="9020"/>
                    <a:pt x="9709" y="8959"/>
                    <a:pt x="9621" y="8916"/>
                  </a:cubicBezTo>
                  <a:close/>
                  <a:moveTo>
                    <a:pt x="11774" y="9929"/>
                  </a:moveTo>
                  <a:cubicBezTo>
                    <a:pt x="12032" y="9864"/>
                    <a:pt x="12245" y="9802"/>
                    <a:pt x="12413" y="9743"/>
                  </a:cubicBezTo>
                  <a:cubicBezTo>
                    <a:pt x="12417" y="9570"/>
                    <a:pt x="12412" y="9394"/>
                    <a:pt x="12386" y="9218"/>
                  </a:cubicBezTo>
                  <a:cubicBezTo>
                    <a:pt x="12385" y="9203"/>
                    <a:pt x="12383" y="9187"/>
                    <a:pt x="12381" y="9172"/>
                  </a:cubicBezTo>
                  <a:cubicBezTo>
                    <a:pt x="12207" y="9131"/>
                    <a:pt x="11991" y="9092"/>
                    <a:pt x="11727" y="9056"/>
                  </a:cubicBezTo>
                  <a:cubicBezTo>
                    <a:pt x="11692" y="8906"/>
                    <a:pt x="11644" y="8762"/>
                    <a:pt x="11586" y="8623"/>
                  </a:cubicBezTo>
                  <a:cubicBezTo>
                    <a:pt x="11776" y="8439"/>
                    <a:pt x="11929" y="8279"/>
                    <a:pt x="12044" y="8143"/>
                  </a:cubicBezTo>
                  <a:cubicBezTo>
                    <a:pt x="11953" y="7974"/>
                    <a:pt x="11848" y="7814"/>
                    <a:pt x="11732" y="7666"/>
                  </a:cubicBezTo>
                  <a:cubicBezTo>
                    <a:pt x="11560" y="7717"/>
                    <a:pt x="11352" y="7792"/>
                    <a:pt x="11106" y="7893"/>
                  </a:cubicBezTo>
                  <a:cubicBezTo>
                    <a:pt x="11004" y="7781"/>
                    <a:pt x="10889" y="7680"/>
                    <a:pt x="10768" y="7589"/>
                  </a:cubicBezTo>
                  <a:cubicBezTo>
                    <a:pt x="10840" y="7334"/>
                    <a:pt x="10892" y="7119"/>
                    <a:pt x="10925" y="6943"/>
                  </a:cubicBezTo>
                  <a:cubicBezTo>
                    <a:pt x="10764" y="6843"/>
                    <a:pt x="10592" y="6756"/>
                    <a:pt x="10417" y="6684"/>
                  </a:cubicBezTo>
                  <a:cubicBezTo>
                    <a:pt x="10398" y="6705"/>
                    <a:pt x="10375" y="6732"/>
                    <a:pt x="10355" y="6753"/>
                  </a:cubicBezTo>
                  <a:cubicBezTo>
                    <a:pt x="10246" y="6874"/>
                    <a:pt x="10126" y="7015"/>
                    <a:pt x="9988" y="7193"/>
                  </a:cubicBezTo>
                  <a:cubicBezTo>
                    <a:pt x="9941" y="7179"/>
                    <a:pt x="9892" y="7175"/>
                    <a:pt x="9845" y="7163"/>
                  </a:cubicBezTo>
                  <a:cubicBezTo>
                    <a:pt x="9745" y="7139"/>
                    <a:pt x="9646" y="7112"/>
                    <a:pt x="9544" y="7099"/>
                  </a:cubicBezTo>
                  <a:cubicBezTo>
                    <a:pt x="9478" y="6843"/>
                    <a:pt x="9417" y="6630"/>
                    <a:pt x="9357" y="6463"/>
                  </a:cubicBezTo>
                  <a:cubicBezTo>
                    <a:pt x="9184" y="6457"/>
                    <a:pt x="9009" y="6464"/>
                    <a:pt x="8833" y="6488"/>
                  </a:cubicBezTo>
                  <a:cubicBezTo>
                    <a:pt x="8815" y="6490"/>
                    <a:pt x="8801" y="6492"/>
                    <a:pt x="8785" y="6495"/>
                  </a:cubicBezTo>
                  <a:cubicBezTo>
                    <a:pt x="8746" y="6668"/>
                    <a:pt x="8705" y="6885"/>
                    <a:pt x="8670" y="7149"/>
                  </a:cubicBezTo>
                  <a:cubicBezTo>
                    <a:pt x="8531" y="7180"/>
                    <a:pt x="8397" y="7227"/>
                    <a:pt x="8269" y="7280"/>
                  </a:cubicBezTo>
                  <a:cubicBezTo>
                    <a:pt x="8258" y="7284"/>
                    <a:pt x="8248" y="7285"/>
                    <a:pt x="8238" y="7290"/>
                  </a:cubicBezTo>
                  <a:cubicBezTo>
                    <a:pt x="8053" y="7099"/>
                    <a:pt x="7894" y="6946"/>
                    <a:pt x="7758" y="6832"/>
                  </a:cubicBezTo>
                  <a:cubicBezTo>
                    <a:pt x="7657" y="6884"/>
                    <a:pt x="7568" y="6954"/>
                    <a:pt x="7474" y="7017"/>
                  </a:cubicBezTo>
                  <a:cubicBezTo>
                    <a:pt x="7410" y="7061"/>
                    <a:pt x="7341" y="7095"/>
                    <a:pt x="7281" y="7143"/>
                  </a:cubicBezTo>
                  <a:cubicBezTo>
                    <a:pt x="7332" y="7315"/>
                    <a:pt x="7407" y="7522"/>
                    <a:pt x="7508" y="7768"/>
                  </a:cubicBezTo>
                  <a:cubicBezTo>
                    <a:pt x="7402" y="7868"/>
                    <a:pt x="7305" y="7977"/>
                    <a:pt x="7218" y="8092"/>
                  </a:cubicBezTo>
                  <a:lnTo>
                    <a:pt x="7150" y="8092"/>
                  </a:lnTo>
                  <a:cubicBezTo>
                    <a:pt x="6921" y="8028"/>
                    <a:pt x="6721" y="7979"/>
                    <a:pt x="6559" y="7950"/>
                  </a:cubicBezTo>
                  <a:cubicBezTo>
                    <a:pt x="6531" y="7995"/>
                    <a:pt x="6513" y="8046"/>
                    <a:pt x="6487" y="8092"/>
                  </a:cubicBezTo>
                  <a:cubicBezTo>
                    <a:pt x="6420" y="8212"/>
                    <a:pt x="6352" y="8332"/>
                    <a:pt x="6301" y="8459"/>
                  </a:cubicBezTo>
                  <a:cubicBezTo>
                    <a:pt x="6366" y="8521"/>
                    <a:pt x="6441" y="8587"/>
                    <a:pt x="6526" y="8658"/>
                  </a:cubicBezTo>
                  <a:cubicBezTo>
                    <a:pt x="6610" y="8729"/>
                    <a:pt x="6705" y="8805"/>
                    <a:pt x="6810" y="8886"/>
                  </a:cubicBezTo>
                  <a:cubicBezTo>
                    <a:pt x="6768" y="9031"/>
                    <a:pt x="6734" y="9179"/>
                    <a:pt x="6718" y="9332"/>
                  </a:cubicBezTo>
                  <a:cubicBezTo>
                    <a:pt x="6460" y="9396"/>
                    <a:pt x="6247" y="9459"/>
                    <a:pt x="6079" y="9519"/>
                  </a:cubicBezTo>
                  <a:cubicBezTo>
                    <a:pt x="6073" y="9691"/>
                    <a:pt x="6082" y="9866"/>
                    <a:pt x="6104" y="10042"/>
                  </a:cubicBezTo>
                  <a:cubicBezTo>
                    <a:pt x="6106" y="10058"/>
                    <a:pt x="6109" y="10074"/>
                    <a:pt x="6111" y="10089"/>
                  </a:cubicBezTo>
                  <a:cubicBezTo>
                    <a:pt x="6284" y="10130"/>
                    <a:pt x="6502" y="10168"/>
                    <a:pt x="6766" y="10205"/>
                  </a:cubicBezTo>
                  <a:cubicBezTo>
                    <a:pt x="6783" y="10280"/>
                    <a:pt x="6814" y="10350"/>
                    <a:pt x="6837" y="10422"/>
                  </a:cubicBezTo>
                  <a:cubicBezTo>
                    <a:pt x="6860" y="10494"/>
                    <a:pt x="6877" y="10568"/>
                    <a:pt x="6906" y="10637"/>
                  </a:cubicBezTo>
                  <a:cubicBezTo>
                    <a:pt x="6795" y="10745"/>
                    <a:pt x="6700" y="10842"/>
                    <a:pt x="6614" y="10934"/>
                  </a:cubicBezTo>
                  <a:cubicBezTo>
                    <a:pt x="6552" y="10998"/>
                    <a:pt x="6494" y="11061"/>
                    <a:pt x="6446" y="11117"/>
                  </a:cubicBezTo>
                  <a:cubicBezTo>
                    <a:pt x="6537" y="11287"/>
                    <a:pt x="6641" y="11446"/>
                    <a:pt x="6759" y="11597"/>
                  </a:cubicBezTo>
                  <a:cubicBezTo>
                    <a:pt x="6929" y="11546"/>
                    <a:pt x="7139" y="11469"/>
                    <a:pt x="7385" y="11368"/>
                  </a:cubicBezTo>
                  <a:cubicBezTo>
                    <a:pt x="7487" y="11480"/>
                    <a:pt x="7602" y="11581"/>
                    <a:pt x="7723" y="11672"/>
                  </a:cubicBezTo>
                  <a:cubicBezTo>
                    <a:pt x="7650" y="11926"/>
                    <a:pt x="7597" y="12142"/>
                    <a:pt x="7566" y="12318"/>
                  </a:cubicBezTo>
                  <a:cubicBezTo>
                    <a:pt x="7726" y="12418"/>
                    <a:pt x="7897" y="12505"/>
                    <a:pt x="8074" y="12575"/>
                  </a:cubicBezTo>
                  <a:cubicBezTo>
                    <a:pt x="8197" y="12447"/>
                    <a:pt x="8338" y="12278"/>
                    <a:pt x="8501" y="12067"/>
                  </a:cubicBezTo>
                  <a:cubicBezTo>
                    <a:pt x="8646" y="12112"/>
                    <a:pt x="8794" y="12142"/>
                    <a:pt x="8947" y="12161"/>
                  </a:cubicBezTo>
                  <a:cubicBezTo>
                    <a:pt x="9012" y="12418"/>
                    <a:pt x="9074" y="12630"/>
                    <a:pt x="9133" y="12798"/>
                  </a:cubicBezTo>
                  <a:cubicBezTo>
                    <a:pt x="9305" y="12804"/>
                    <a:pt x="9481" y="12796"/>
                    <a:pt x="9658" y="12773"/>
                  </a:cubicBezTo>
                  <a:cubicBezTo>
                    <a:pt x="9673" y="12771"/>
                    <a:pt x="9689" y="12769"/>
                    <a:pt x="9705" y="12767"/>
                  </a:cubicBezTo>
                  <a:cubicBezTo>
                    <a:pt x="9745" y="12593"/>
                    <a:pt x="9784" y="12376"/>
                    <a:pt x="9819" y="12112"/>
                  </a:cubicBezTo>
                  <a:cubicBezTo>
                    <a:pt x="9969" y="12078"/>
                    <a:pt x="10113" y="12030"/>
                    <a:pt x="10251" y="11971"/>
                  </a:cubicBezTo>
                  <a:cubicBezTo>
                    <a:pt x="10436" y="12162"/>
                    <a:pt x="10596" y="12315"/>
                    <a:pt x="10732" y="12430"/>
                  </a:cubicBezTo>
                  <a:cubicBezTo>
                    <a:pt x="10902" y="12340"/>
                    <a:pt x="11061" y="12235"/>
                    <a:pt x="11209" y="12118"/>
                  </a:cubicBezTo>
                  <a:cubicBezTo>
                    <a:pt x="11160" y="11947"/>
                    <a:pt x="11084" y="11738"/>
                    <a:pt x="10982" y="11492"/>
                  </a:cubicBezTo>
                  <a:cubicBezTo>
                    <a:pt x="11093" y="11389"/>
                    <a:pt x="11194" y="11274"/>
                    <a:pt x="11285" y="11154"/>
                  </a:cubicBezTo>
                  <a:cubicBezTo>
                    <a:pt x="11540" y="11227"/>
                    <a:pt x="11756" y="11279"/>
                    <a:pt x="11932" y="11312"/>
                  </a:cubicBezTo>
                  <a:cubicBezTo>
                    <a:pt x="12032" y="11151"/>
                    <a:pt x="12120" y="10981"/>
                    <a:pt x="12190" y="10802"/>
                  </a:cubicBezTo>
                  <a:cubicBezTo>
                    <a:pt x="12060" y="10680"/>
                    <a:pt x="11891" y="10538"/>
                    <a:pt x="11680" y="10374"/>
                  </a:cubicBezTo>
                  <a:cubicBezTo>
                    <a:pt x="11726" y="10230"/>
                    <a:pt x="11757" y="10082"/>
                    <a:pt x="11774" y="9929"/>
                  </a:cubicBezTo>
                  <a:close/>
                  <a:moveTo>
                    <a:pt x="9484" y="11445"/>
                  </a:moveTo>
                  <a:cubicBezTo>
                    <a:pt x="8905" y="11521"/>
                    <a:pt x="8358" y="11312"/>
                    <a:pt x="7970" y="10933"/>
                  </a:cubicBezTo>
                  <a:cubicBezTo>
                    <a:pt x="7820" y="10786"/>
                    <a:pt x="7697" y="10615"/>
                    <a:pt x="7604" y="10422"/>
                  </a:cubicBezTo>
                  <a:cubicBezTo>
                    <a:pt x="7521" y="10251"/>
                    <a:pt x="7457" y="10068"/>
                    <a:pt x="7430" y="9868"/>
                  </a:cubicBezTo>
                  <a:cubicBezTo>
                    <a:pt x="7372" y="9428"/>
                    <a:pt x="7484" y="9007"/>
                    <a:pt x="7704" y="8658"/>
                  </a:cubicBezTo>
                  <a:cubicBezTo>
                    <a:pt x="7885" y="8371"/>
                    <a:pt x="8142" y="8139"/>
                    <a:pt x="8454" y="7988"/>
                  </a:cubicBezTo>
                  <a:cubicBezTo>
                    <a:pt x="8626" y="7906"/>
                    <a:pt x="8809" y="7841"/>
                    <a:pt x="9008" y="7815"/>
                  </a:cubicBezTo>
                  <a:cubicBezTo>
                    <a:pt x="9301" y="7776"/>
                    <a:pt x="9585" y="7817"/>
                    <a:pt x="9846" y="7908"/>
                  </a:cubicBezTo>
                  <a:cubicBezTo>
                    <a:pt x="10029" y="7973"/>
                    <a:pt x="10203" y="8059"/>
                    <a:pt x="10356" y="8175"/>
                  </a:cubicBezTo>
                  <a:cubicBezTo>
                    <a:pt x="10730" y="8460"/>
                    <a:pt x="10996" y="8889"/>
                    <a:pt x="11062" y="9392"/>
                  </a:cubicBezTo>
                  <a:cubicBezTo>
                    <a:pt x="11193" y="10394"/>
                    <a:pt x="10485" y="11314"/>
                    <a:pt x="9484" y="11445"/>
                  </a:cubicBezTo>
                  <a:close/>
                  <a:moveTo>
                    <a:pt x="4705" y="9599"/>
                  </a:moveTo>
                  <a:lnTo>
                    <a:pt x="1920" y="9599"/>
                  </a:lnTo>
                  <a:cubicBezTo>
                    <a:pt x="1302" y="9599"/>
                    <a:pt x="800" y="9098"/>
                    <a:pt x="800" y="8479"/>
                  </a:cubicBezTo>
                  <a:lnTo>
                    <a:pt x="800" y="1920"/>
                  </a:lnTo>
                  <a:cubicBezTo>
                    <a:pt x="800" y="1302"/>
                    <a:pt x="1302" y="800"/>
                    <a:pt x="1920" y="800"/>
                  </a:cubicBezTo>
                  <a:lnTo>
                    <a:pt x="8480" y="800"/>
                  </a:lnTo>
                  <a:cubicBezTo>
                    <a:pt x="9098" y="800"/>
                    <a:pt x="9600" y="1302"/>
                    <a:pt x="9600" y="1920"/>
                  </a:cubicBezTo>
                  <a:lnTo>
                    <a:pt x="9600" y="4872"/>
                  </a:lnTo>
                  <a:cubicBezTo>
                    <a:pt x="9600" y="4902"/>
                    <a:pt x="10182" y="4948"/>
                    <a:pt x="10400" y="5012"/>
                  </a:cubicBezTo>
                  <a:lnTo>
                    <a:pt x="10400" y="1600"/>
                  </a:lnTo>
                  <a:cubicBezTo>
                    <a:pt x="10400" y="716"/>
                    <a:pt x="9684" y="0"/>
                    <a:pt x="8800" y="0"/>
                  </a:cubicBezTo>
                  <a:lnTo>
                    <a:pt x="1600" y="0"/>
                  </a:lnTo>
                  <a:cubicBezTo>
                    <a:pt x="716" y="0"/>
                    <a:pt x="0" y="716"/>
                    <a:pt x="0" y="1600"/>
                  </a:cubicBezTo>
                  <a:lnTo>
                    <a:pt x="0" y="8799"/>
                  </a:lnTo>
                  <a:cubicBezTo>
                    <a:pt x="0" y="9683"/>
                    <a:pt x="716" y="10399"/>
                    <a:pt x="1600" y="10399"/>
                  </a:cubicBezTo>
                  <a:lnTo>
                    <a:pt x="4827" y="10399"/>
                  </a:lnTo>
                  <a:cubicBezTo>
                    <a:pt x="4771" y="10181"/>
                    <a:pt x="4727" y="9599"/>
                    <a:pt x="4705" y="9599"/>
                  </a:cubicBezTo>
                  <a:close/>
                  <a:moveTo>
                    <a:pt x="4119" y="4940"/>
                  </a:moveTo>
                  <a:cubicBezTo>
                    <a:pt x="4119" y="4940"/>
                    <a:pt x="1349" y="4791"/>
                    <a:pt x="1351" y="7983"/>
                  </a:cubicBezTo>
                  <a:lnTo>
                    <a:pt x="1901" y="7983"/>
                  </a:lnTo>
                  <a:cubicBezTo>
                    <a:pt x="1901" y="7983"/>
                    <a:pt x="1726" y="5700"/>
                    <a:pt x="4120" y="5492"/>
                  </a:cubicBezTo>
                  <a:lnTo>
                    <a:pt x="4119" y="4940"/>
                  </a:lnTo>
                  <a:close/>
                  <a:moveTo>
                    <a:pt x="4120" y="2395"/>
                  </a:moveTo>
                  <a:cubicBezTo>
                    <a:pt x="4120" y="2395"/>
                    <a:pt x="2651" y="2395"/>
                    <a:pt x="2651" y="3863"/>
                  </a:cubicBezTo>
                  <a:cubicBezTo>
                    <a:pt x="2651" y="3863"/>
                    <a:pt x="2651" y="5232"/>
                    <a:pt x="4120" y="5331"/>
                  </a:cubicBezTo>
                  <a:lnTo>
                    <a:pt x="4120" y="4831"/>
                  </a:lnTo>
                  <a:cubicBezTo>
                    <a:pt x="4120" y="4831"/>
                    <a:pt x="3265" y="4758"/>
                    <a:pt x="3190" y="3863"/>
                  </a:cubicBezTo>
                  <a:cubicBezTo>
                    <a:pt x="3190" y="3863"/>
                    <a:pt x="3151" y="2931"/>
                    <a:pt x="4120" y="2856"/>
                  </a:cubicBezTo>
                  <a:lnTo>
                    <a:pt x="4120" y="239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53" name="iconfont-11894-5689857"/>
            <p:cNvSpPr>
              <a:spLocks noChangeAspect="1"/>
            </p:cNvSpPr>
            <p:nvPr userDrawn="1"/>
          </p:nvSpPr>
          <p:spPr bwMode="auto">
            <a:xfrm>
              <a:off x="28188999" y="-2757510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54" name="iconfont-11894-5689857"/>
            <p:cNvSpPr>
              <a:spLocks noChangeAspect="1"/>
            </p:cNvSpPr>
            <p:nvPr userDrawn="1"/>
          </p:nvSpPr>
          <p:spPr bwMode="auto">
            <a:xfrm>
              <a:off x="13556559" y="-1287093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55" name="iconfont-11894-5689857"/>
            <p:cNvSpPr>
              <a:spLocks noChangeAspect="1"/>
            </p:cNvSpPr>
            <p:nvPr userDrawn="1"/>
          </p:nvSpPr>
          <p:spPr bwMode="auto">
            <a:xfrm>
              <a:off x="14775929" y="-1251424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56" name="iconfont-11894-5689857"/>
            <p:cNvSpPr>
              <a:spLocks noChangeAspect="1"/>
            </p:cNvSpPr>
            <p:nvPr userDrawn="1"/>
          </p:nvSpPr>
          <p:spPr bwMode="auto">
            <a:xfrm>
              <a:off x="15995895" y="-1287093"/>
              <a:ext cx="608494" cy="609685"/>
            </a:xfrm>
            <a:custGeom>
              <a:avLst/>
              <a:gdLst>
                <a:gd name="T0" fmla="*/ 3993 w 12776"/>
                <a:gd name="T1" fmla="*/ 3219 h 12800"/>
                <a:gd name="T2" fmla="*/ 1078 w 12776"/>
                <a:gd name="T3" fmla="*/ 3243 h 12800"/>
                <a:gd name="T4" fmla="*/ 0 w 12776"/>
                <a:gd name="T5" fmla="*/ 4361 h 12800"/>
                <a:gd name="T6" fmla="*/ 0 w 12776"/>
                <a:gd name="T7" fmla="*/ 11682 h 12800"/>
                <a:gd name="T8" fmla="*/ 1118 w 12776"/>
                <a:gd name="T9" fmla="*/ 12800 h 12800"/>
                <a:gd name="T10" fmla="*/ 7670 w 12776"/>
                <a:gd name="T11" fmla="*/ 12800 h 12800"/>
                <a:gd name="T12" fmla="*/ 8783 w 12776"/>
                <a:gd name="T13" fmla="*/ 12002 h 12800"/>
                <a:gd name="T14" fmla="*/ 8783 w 12776"/>
                <a:gd name="T15" fmla="*/ 9606 h 12800"/>
                <a:gd name="T16" fmla="*/ 12776 w 12776"/>
                <a:gd name="T17" fmla="*/ 9606 h 12800"/>
                <a:gd name="T18" fmla="*/ 12776 w 12776"/>
                <a:gd name="T19" fmla="*/ 25 h 12800"/>
                <a:gd name="T20" fmla="*/ 3993 w 12776"/>
                <a:gd name="T21" fmla="*/ 0 h 12800"/>
                <a:gd name="T22" fmla="*/ 3993 w 12776"/>
                <a:gd name="T23" fmla="*/ 3219 h 12800"/>
                <a:gd name="T24" fmla="*/ 7985 w 12776"/>
                <a:gd name="T25" fmla="*/ 11602 h 12800"/>
                <a:gd name="T26" fmla="*/ 7586 w 12776"/>
                <a:gd name="T27" fmla="*/ 12002 h 12800"/>
                <a:gd name="T28" fmla="*/ 1198 w 12776"/>
                <a:gd name="T29" fmla="*/ 12002 h 12800"/>
                <a:gd name="T30" fmla="*/ 799 w 12776"/>
                <a:gd name="T31" fmla="*/ 11602 h 12800"/>
                <a:gd name="T32" fmla="*/ 799 w 12776"/>
                <a:gd name="T33" fmla="*/ 4416 h 12800"/>
                <a:gd name="T34" fmla="*/ 1198 w 12776"/>
                <a:gd name="T35" fmla="*/ 4017 h 12800"/>
                <a:gd name="T36" fmla="*/ 7586 w 12776"/>
                <a:gd name="T37" fmla="*/ 4017 h 12800"/>
                <a:gd name="T38" fmla="*/ 7985 w 12776"/>
                <a:gd name="T39" fmla="*/ 4416 h 12800"/>
                <a:gd name="T40" fmla="*/ 7985 w 12776"/>
                <a:gd name="T41" fmla="*/ 11602 h 12800"/>
                <a:gd name="T42" fmla="*/ 11977 w 12776"/>
                <a:gd name="T43" fmla="*/ 743 h 12800"/>
                <a:gd name="T44" fmla="*/ 11977 w 12776"/>
                <a:gd name="T45" fmla="*/ 8808 h 12800"/>
                <a:gd name="T46" fmla="*/ 8783 w 12776"/>
                <a:gd name="T47" fmla="*/ 8808 h 12800"/>
                <a:gd name="T48" fmla="*/ 8783 w 12776"/>
                <a:gd name="T49" fmla="*/ 4017 h 12800"/>
                <a:gd name="T50" fmla="*/ 7590 w 12776"/>
                <a:gd name="T51" fmla="*/ 3243 h 12800"/>
                <a:gd name="T52" fmla="*/ 4791 w 12776"/>
                <a:gd name="T53" fmla="*/ 3219 h 12800"/>
                <a:gd name="T54" fmla="*/ 4791 w 12776"/>
                <a:gd name="T55" fmla="*/ 719 h 12800"/>
                <a:gd name="T56" fmla="*/ 11977 w 12776"/>
                <a:gd name="T57" fmla="*/ 7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776" h="12800">
                  <a:moveTo>
                    <a:pt x="3993" y="3219"/>
                  </a:moveTo>
                  <a:lnTo>
                    <a:pt x="1078" y="3243"/>
                  </a:lnTo>
                  <a:cubicBezTo>
                    <a:pt x="440" y="3243"/>
                    <a:pt x="0" y="3722"/>
                    <a:pt x="0" y="4361"/>
                  </a:cubicBezTo>
                  <a:lnTo>
                    <a:pt x="0" y="11682"/>
                  </a:lnTo>
                  <a:cubicBezTo>
                    <a:pt x="0" y="12321"/>
                    <a:pt x="479" y="12800"/>
                    <a:pt x="1118" y="12800"/>
                  </a:cubicBezTo>
                  <a:lnTo>
                    <a:pt x="7670" y="12800"/>
                  </a:lnTo>
                  <a:cubicBezTo>
                    <a:pt x="8309" y="12800"/>
                    <a:pt x="8783" y="12640"/>
                    <a:pt x="8783" y="12002"/>
                  </a:cubicBezTo>
                  <a:lnTo>
                    <a:pt x="8783" y="9606"/>
                  </a:lnTo>
                  <a:lnTo>
                    <a:pt x="12776" y="9606"/>
                  </a:lnTo>
                  <a:lnTo>
                    <a:pt x="12776" y="25"/>
                  </a:lnTo>
                  <a:lnTo>
                    <a:pt x="3993" y="0"/>
                  </a:lnTo>
                  <a:lnTo>
                    <a:pt x="3993" y="3219"/>
                  </a:lnTo>
                  <a:close/>
                  <a:moveTo>
                    <a:pt x="7985" y="11602"/>
                  </a:moveTo>
                  <a:cubicBezTo>
                    <a:pt x="7985" y="11823"/>
                    <a:pt x="7806" y="12002"/>
                    <a:pt x="7586" y="12002"/>
                  </a:cubicBezTo>
                  <a:lnTo>
                    <a:pt x="1198" y="12002"/>
                  </a:lnTo>
                  <a:cubicBezTo>
                    <a:pt x="978" y="12002"/>
                    <a:pt x="799" y="11823"/>
                    <a:pt x="799" y="11602"/>
                  </a:cubicBezTo>
                  <a:lnTo>
                    <a:pt x="799" y="4416"/>
                  </a:lnTo>
                  <a:cubicBezTo>
                    <a:pt x="799" y="4196"/>
                    <a:pt x="978" y="4017"/>
                    <a:pt x="1198" y="4017"/>
                  </a:cubicBezTo>
                  <a:lnTo>
                    <a:pt x="7586" y="4017"/>
                  </a:lnTo>
                  <a:cubicBezTo>
                    <a:pt x="7806" y="4017"/>
                    <a:pt x="7985" y="4196"/>
                    <a:pt x="7985" y="4416"/>
                  </a:cubicBezTo>
                  <a:lnTo>
                    <a:pt x="7985" y="11602"/>
                  </a:lnTo>
                  <a:close/>
                  <a:moveTo>
                    <a:pt x="11977" y="743"/>
                  </a:moveTo>
                  <a:lnTo>
                    <a:pt x="11977" y="8808"/>
                  </a:lnTo>
                  <a:lnTo>
                    <a:pt x="8783" y="8808"/>
                  </a:lnTo>
                  <a:lnTo>
                    <a:pt x="8783" y="4017"/>
                  </a:lnTo>
                  <a:cubicBezTo>
                    <a:pt x="8783" y="3378"/>
                    <a:pt x="8229" y="3243"/>
                    <a:pt x="7590" y="3243"/>
                  </a:cubicBezTo>
                  <a:lnTo>
                    <a:pt x="4791" y="3219"/>
                  </a:lnTo>
                  <a:lnTo>
                    <a:pt x="4791" y="719"/>
                  </a:lnTo>
                  <a:lnTo>
                    <a:pt x="11977" y="7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57" name="iconfont-11894-5689857"/>
            <p:cNvSpPr>
              <a:spLocks noChangeAspect="1"/>
            </p:cNvSpPr>
            <p:nvPr userDrawn="1"/>
          </p:nvSpPr>
          <p:spPr bwMode="auto">
            <a:xfrm>
              <a:off x="17214969" y="-1287093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8" name="iconfont-11894-5689857"/>
            <p:cNvSpPr>
              <a:spLocks noChangeAspect="1"/>
            </p:cNvSpPr>
            <p:nvPr userDrawn="1"/>
          </p:nvSpPr>
          <p:spPr bwMode="auto">
            <a:xfrm>
              <a:off x="18434041" y="-1287093"/>
              <a:ext cx="609685" cy="609685"/>
            </a:xfrm>
            <a:custGeom>
              <a:avLst/>
              <a:gdLst>
                <a:gd name="T0" fmla="*/ 12800 w 12800"/>
                <a:gd name="T1" fmla="*/ 11360 h 12800"/>
                <a:gd name="T2" fmla="*/ 11360 w 12800"/>
                <a:gd name="T3" fmla="*/ 12800 h 12800"/>
                <a:gd name="T4" fmla="*/ 1440 w 12800"/>
                <a:gd name="T5" fmla="*/ 12800 h 12800"/>
                <a:gd name="T6" fmla="*/ 0 w 12800"/>
                <a:gd name="T7" fmla="*/ 11360 h 12800"/>
                <a:gd name="T8" fmla="*/ 0 w 12800"/>
                <a:gd name="T9" fmla="*/ 1440 h 12800"/>
                <a:gd name="T10" fmla="*/ 1440 w 12800"/>
                <a:gd name="T11" fmla="*/ 0 h 12800"/>
                <a:gd name="T12" fmla="*/ 11360 w 12800"/>
                <a:gd name="T13" fmla="*/ 0 h 12800"/>
                <a:gd name="T14" fmla="*/ 12800 w 12800"/>
                <a:gd name="T15" fmla="*/ 1440 h 12800"/>
                <a:gd name="T16" fmla="*/ 12800 w 12800"/>
                <a:gd name="T17" fmla="*/ 11360 h 12800"/>
                <a:gd name="T18" fmla="*/ 1600 w 12800"/>
                <a:gd name="T19" fmla="*/ 800 h 12800"/>
                <a:gd name="T20" fmla="*/ 800 w 12800"/>
                <a:gd name="T21" fmla="*/ 1600 h 12800"/>
                <a:gd name="T22" fmla="*/ 800 w 12800"/>
                <a:gd name="T23" fmla="*/ 11200 h 12800"/>
                <a:gd name="T24" fmla="*/ 1680 w 12800"/>
                <a:gd name="T25" fmla="*/ 12000 h 12800"/>
                <a:gd name="T26" fmla="*/ 11200 w 12800"/>
                <a:gd name="T27" fmla="*/ 12000 h 12800"/>
                <a:gd name="T28" fmla="*/ 12000 w 12800"/>
                <a:gd name="T29" fmla="*/ 11280 h 12800"/>
                <a:gd name="T30" fmla="*/ 12000 w 12800"/>
                <a:gd name="T31" fmla="*/ 1600 h 12800"/>
                <a:gd name="T32" fmla="*/ 11200 w 12800"/>
                <a:gd name="T33" fmla="*/ 800 h 12800"/>
                <a:gd name="T34" fmla="*/ 1600 w 12800"/>
                <a:gd name="T35" fmla="*/ 800 h 12800"/>
                <a:gd name="T36" fmla="*/ 6400 w 12800"/>
                <a:gd name="T37" fmla="*/ 10560 h 12800"/>
                <a:gd name="T38" fmla="*/ 2240 w 12800"/>
                <a:gd name="T39" fmla="*/ 6400 h 12800"/>
                <a:gd name="T40" fmla="*/ 6400 w 12800"/>
                <a:gd name="T41" fmla="*/ 2240 h 12800"/>
                <a:gd name="T42" fmla="*/ 10560 w 12800"/>
                <a:gd name="T43" fmla="*/ 6400 h 12800"/>
                <a:gd name="T44" fmla="*/ 6400 w 12800"/>
                <a:gd name="T45" fmla="*/ 10560 h 12800"/>
                <a:gd name="T46" fmla="*/ 6400 w 12800"/>
                <a:gd name="T47" fmla="*/ 3040 h 12800"/>
                <a:gd name="T48" fmla="*/ 3040 w 12800"/>
                <a:gd name="T49" fmla="*/ 6400 h 12800"/>
                <a:gd name="T50" fmla="*/ 6400 w 12800"/>
                <a:gd name="T51" fmla="*/ 9760 h 12800"/>
                <a:gd name="T52" fmla="*/ 9760 w 12800"/>
                <a:gd name="T53" fmla="*/ 6400 h 12800"/>
                <a:gd name="T54" fmla="*/ 6400 w 12800"/>
                <a:gd name="T55" fmla="*/ 3040 h 12800"/>
                <a:gd name="T56" fmla="*/ 8289 w 12800"/>
                <a:gd name="T57" fmla="*/ 8798 h 12800"/>
                <a:gd name="T58" fmla="*/ 4499 w 12800"/>
                <a:gd name="T59" fmla="*/ 4250 h 12800"/>
                <a:gd name="T60" fmla="*/ 5052 w 12800"/>
                <a:gd name="T61" fmla="*/ 3789 h 12800"/>
                <a:gd name="T62" fmla="*/ 8842 w 12800"/>
                <a:gd name="T63" fmla="*/ 8337 h 12800"/>
                <a:gd name="T64" fmla="*/ 8289 w 12800"/>
                <a:gd name="T65" fmla="*/ 879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800">
                  <a:moveTo>
                    <a:pt x="12800" y="11360"/>
                  </a:moveTo>
                  <a:cubicBezTo>
                    <a:pt x="12800" y="12155"/>
                    <a:pt x="12155" y="12800"/>
                    <a:pt x="11360" y="12800"/>
                  </a:cubicBezTo>
                  <a:lnTo>
                    <a:pt x="1440" y="12800"/>
                  </a:lnTo>
                  <a:cubicBezTo>
                    <a:pt x="645" y="12800"/>
                    <a:pt x="0" y="12155"/>
                    <a:pt x="0" y="11360"/>
                  </a:cubicBezTo>
                  <a:lnTo>
                    <a:pt x="0" y="1440"/>
                  </a:lnTo>
                  <a:cubicBezTo>
                    <a:pt x="0" y="645"/>
                    <a:pt x="645" y="0"/>
                    <a:pt x="1440" y="0"/>
                  </a:cubicBezTo>
                  <a:lnTo>
                    <a:pt x="11360" y="0"/>
                  </a:lnTo>
                  <a:cubicBezTo>
                    <a:pt x="12155" y="0"/>
                    <a:pt x="12800" y="645"/>
                    <a:pt x="12800" y="1440"/>
                  </a:cubicBezTo>
                  <a:lnTo>
                    <a:pt x="12800" y="11360"/>
                  </a:lnTo>
                  <a:close/>
                  <a:moveTo>
                    <a:pt x="1600" y="800"/>
                  </a:moveTo>
                  <a:cubicBezTo>
                    <a:pt x="1120" y="800"/>
                    <a:pt x="800" y="1120"/>
                    <a:pt x="800" y="1600"/>
                  </a:cubicBezTo>
                  <a:lnTo>
                    <a:pt x="800" y="11200"/>
                  </a:lnTo>
                  <a:cubicBezTo>
                    <a:pt x="800" y="11680"/>
                    <a:pt x="1120" y="12000"/>
                    <a:pt x="1680" y="12000"/>
                  </a:cubicBezTo>
                  <a:lnTo>
                    <a:pt x="11200" y="12000"/>
                  </a:lnTo>
                  <a:cubicBezTo>
                    <a:pt x="11680" y="12000"/>
                    <a:pt x="12000" y="11760"/>
                    <a:pt x="12000" y="11280"/>
                  </a:cubicBezTo>
                  <a:lnTo>
                    <a:pt x="12000" y="1600"/>
                  </a:lnTo>
                  <a:cubicBezTo>
                    <a:pt x="12000" y="1120"/>
                    <a:pt x="11680" y="800"/>
                    <a:pt x="11200" y="800"/>
                  </a:cubicBezTo>
                  <a:lnTo>
                    <a:pt x="1600" y="800"/>
                  </a:lnTo>
                  <a:close/>
                  <a:moveTo>
                    <a:pt x="6400" y="10560"/>
                  </a:moveTo>
                  <a:cubicBezTo>
                    <a:pt x="4080" y="10560"/>
                    <a:pt x="2240" y="8720"/>
                    <a:pt x="2240" y="6400"/>
                  </a:cubicBezTo>
                  <a:cubicBezTo>
                    <a:pt x="2240" y="4080"/>
                    <a:pt x="4080" y="2240"/>
                    <a:pt x="6400" y="2240"/>
                  </a:cubicBezTo>
                  <a:cubicBezTo>
                    <a:pt x="8720" y="2240"/>
                    <a:pt x="10560" y="4080"/>
                    <a:pt x="10560" y="6400"/>
                  </a:cubicBezTo>
                  <a:cubicBezTo>
                    <a:pt x="10480" y="8720"/>
                    <a:pt x="8640" y="10560"/>
                    <a:pt x="6400" y="10560"/>
                  </a:cubicBezTo>
                  <a:close/>
                  <a:moveTo>
                    <a:pt x="6400" y="3040"/>
                  </a:moveTo>
                  <a:cubicBezTo>
                    <a:pt x="4560" y="3040"/>
                    <a:pt x="3040" y="4560"/>
                    <a:pt x="3040" y="6400"/>
                  </a:cubicBezTo>
                  <a:cubicBezTo>
                    <a:pt x="3040" y="8240"/>
                    <a:pt x="4560" y="9760"/>
                    <a:pt x="6400" y="9760"/>
                  </a:cubicBezTo>
                  <a:cubicBezTo>
                    <a:pt x="8240" y="9760"/>
                    <a:pt x="9760" y="8240"/>
                    <a:pt x="9760" y="6400"/>
                  </a:cubicBezTo>
                  <a:cubicBezTo>
                    <a:pt x="9760" y="4560"/>
                    <a:pt x="8240" y="3040"/>
                    <a:pt x="6400" y="3040"/>
                  </a:cubicBezTo>
                  <a:close/>
                  <a:moveTo>
                    <a:pt x="8289" y="8798"/>
                  </a:moveTo>
                  <a:lnTo>
                    <a:pt x="4499" y="4250"/>
                  </a:lnTo>
                  <a:lnTo>
                    <a:pt x="5052" y="3789"/>
                  </a:lnTo>
                  <a:lnTo>
                    <a:pt x="8842" y="8337"/>
                  </a:lnTo>
                  <a:lnTo>
                    <a:pt x="8289" y="879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59" name="iconfont-11894-5689857"/>
            <p:cNvSpPr>
              <a:spLocks noChangeAspect="1"/>
            </p:cNvSpPr>
            <p:nvPr userDrawn="1"/>
          </p:nvSpPr>
          <p:spPr bwMode="auto">
            <a:xfrm>
              <a:off x="26969631" y="-1285208"/>
              <a:ext cx="609685" cy="605914"/>
            </a:xfrm>
            <a:custGeom>
              <a:avLst/>
              <a:gdLst>
                <a:gd name="T0" fmla="*/ 8000 w 12800"/>
                <a:gd name="T1" fmla="*/ 9520 h 12720"/>
                <a:gd name="T2" fmla="*/ 4800 w 12800"/>
                <a:gd name="T3" fmla="*/ 9520 h 12720"/>
                <a:gd name="T4" fmla="*/ 4800 w 12800"/>
                <a:gd name="T5" fmla="*/ 5520 h 12720"/>
                <a:gd name="T6" fmla="*/ 1873 w 12800"/>
                <a:gd name="T7" fmla="*/ 5520 h 12720"/>
                <a:gd name="T8" fmla="*/ 6433 w 12800"/>
                <a:gd name="T9" fmla="*/ 0 h 12720"/>
                <a:gd name="T10" fmla="*/ 10993 w 12800"/>
                <a:gd name="T11" fmla="*/ 5520 h 12720"/>
                <a:gd name="T12" fmla="*/ 8000 w 12800"/>
                <a:gd name="T13" fmla="*/ 5520 h 12720"/>
                <a:gd name="T14" fmla="*/ 8000 w 12800"/>
                <a:gd name="T15" fmla="*/ 9520 h 12720"/>
                <a:gd name="T16" fmla="*/ 5600 w 12800"/>
                <a:gd name="T17" fmla="*/ 8720 h 12720"/>
                <a:gd name="T18" fmla="*/ 7200 w 12800"/>
                <a:gd name="T19" fmla="*/ 8720 h 12720"/>
                <a:gd name="T20" fmla="*/ 7200 w 12800"/>
                <a:gd name="T21" fmla="*/ 4720 h 12720"/>
                <a:gd name="T22" fmla="*/ 9393 w 12800"/>
                <a:gd name="T23" fmla="*/ 4720 h 12720"/>
                <a:gd name="T24" fmla="*/ 6433 w 12800"/>
                <a:gd name="T25" fmla="*/ 1200 h 12720"/>
                <a:gd name="T26" fmla="*/ 3473 w 12800"/>
                <a:gd name="T27" fmla="*/ 4720 h 12720"/>
                <a:gd name="T28" fmla="*/ 5600 w 12800"/>
                <a:gd name="T29" fmla="*/ 4720 h 12720"/>
                <a:gd name="T30" fmla="*/ 5600 w 12800"/>
                <a:gd name="T31" fmla="*/ 8720 h 12720"/>
                <a:gd name="T32" fmla="*/ 10922 w 12800"/>
                <a:gd name="T33" fmla="*/ 12720 h 12720"/>
                <a:gd name="T34" fmla="*/ 1878 w 12800"/>
                <a:gd name="T35" fmla="*/ 12720 h 12720"/>
                <a:gd name="T36" fmla="*/ 0 w 12800"/>
                <a:gd name="T37" fmla="*/ 10539 h 12720"/>
                <a:gd name="T38" fmla="*/ 0 w 12800"/>
                <a:gd name="T39" fmla="*/ 5210 h 12720"/>
                <a:gd name="T40" fmla="*/ 1600 w 12800"/>
                <a:gd name="T41" fmla="*/ 3271 h 12720"/>
                <a:gd name="T42" fmla="*/ 1600 w 12800"/>
                <a:gd name="T43" fmla="*/ 3998 h 12720"/>
                <a:gd name="T44" fmla="*/ 800 w 12800"/>
                <a:gd name="T45" fmla="*/ 5129 h 12720"/>
                <a:gd name="T46" fmla="*/ 800 w 12800"/>
                <a:gd name="T47" fmla="*/ 10458 h 12720"/>
                <a:gd name="T48" fmla="*/ 1878 w 12800"/>
                <a:gd name="T49" fmla="*/ 11920 h 12720"/>
                <a:gd name="T50" fmla="*/ 10922 w 12800"/>
                <a:gd name="T51" fmla="*/ 11920 h 12720"/>
                <a:gd name="T52" fmla="*/ 12000 w 12800"/>
                <a:gd name="T53" fmla="*/ 10539 h 12720"/>
                <a:gd name="T54" fmla="*/ 12000 w 12800"/>
                <a:gd name="T55" fmla="*/ 5210 h 12720"/>
                <a:gd name="T56" fmla="*/ 11200 w 12800"/>
                <a:gd name="T57" fmla="*/ 4079 h 12720"/>
                <a:gd name="T58" fmla="*/ 11200 w 12800"/>
                <a:gd name="T59" fmla="*/ 3352 h 12720"/>
                <a:gd name="T60" fmla="*/ 12800 w 12800"/>
                <a:gd name="T61" fmla="*/ 5290 h 12720"/>
                <a:gd name="T62" fmla="*/ 12800 w 12800"/>
                <a:gd name="T63" fmla="*/ 10620 h 12720"/>
                <a:gd name="T64" fmla="*/ 10922 w 12800"/>
                <a:gd name="T65" fmla="*/ 1272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720">
                  <a:moveTo>
                    <a:pt x="8000" y="9520"/>
                  </a:moveTo>
                  <a:lnTo>
                    <a:pt x="4800" y="9520"/>
                  </a:lnTo>
                  <a:lnTo>
                    <a:pt x="4800" y="5520"/>
                  </a:lnTo>
                  <a:lnTo>
                    <a:pt x="1873" y="5520"/>
                  </a:lnTo>
                  <a:lnTo>
                    <a:pt x="6433" y="0"/>
                  </a:lnTo>
                  <a:lnTo>
                    <a:pt x="10993" y="5520"/>
                  </a:lnTo>
                  <a:lnTo>
                    <a:pt x="8000" y="5520"/>
                  </a:lnTo>
                  <a:lnTo>
                    <a:pt x="8000" y="9520"/>
                  </a:lnTo>
                  <a:close/>
                  <a:moveTo>
                    <a:pt x="5600" y="8720"/>
                  </a:moveTo>
                  <a:lnTo>
                    <a:pt x="7200" y="8720"/>
                  </a:lnTo>
                  <a:lnTo>
                    <a:pt x="7200" y="4720"/>
                  </a:lnTo>
                  <a:lnTo>
                    <a:pt x="9393" y="4720"/>
                  </a:lnTo>
                  <a:lnTo>
                    <a:pt x="6433" y="1200"/>
                  </a:lnTo>
                  <a:lnTo>
                    <a:pt x="3473" y="4720"/>
                  </a:lnTo>
                  <a:lnTo>
                    <a:pt x="5600" y="4720"/>
                  </a:lnTo>
                  <a:lnTo>
                    <a:pt x="5600" y="8720"/>
                  </a:lnTo>
                  <a:close/>
                  <a:moveTo>
                    <a:pt x="10922" y="12720"/>
                  </a:moveTo>
                  <a:lnTo>
                    <a:pt x="1878" y="12720"/>
                  </a:lnTo>
                  <a:cubicBezTo>
                    <a:pt x="828" y="12720"/>
                    <a:pt x="0" y="11590"/>
                    <a:pt x="0" y="10539"/>
                  </a:cubicBezTo>
                  <a:lnTo>
                    <a:pt x="0" y="5210"/>
                  </a:lnTo>
                  <a:cubicBezTo>
                    <a:pt x="0" y="4160"/>
                    <a:pt x="800" y="3271"/>
                    <a:pt x="1600" y="3271"/>
                  </a:cubicBezTo>
                  <a:lnTo>
                    <a:pt x="1600" y="3998"/>
                  </a:lnTo>
                  <a:cubicBezTo>
                    <a:pt x="1600" y="3998"/>
                    <a:pt x="800" y="4483"/>
                    <a:pt x="800" y="5129"/>
                  </a:cubicBezTo>
                  <a:lnTo>
                    <a:pt x="800" y="10458"/>
                  </a:lnTo>
                  <a:cubicBezTo>
                    <a:pt x="800" y="11105"/>
                    <a:pt x="1231" y="11920"/>
                    <a:pt x="1878" y="11920"/>
                  </a:cubicBezTo>
                  <a:lnTo>
                    <a:pt x="10922" y="11920"/>
                  </a:lnTo>
                  <a:cubicBezTo>
                    <a:pt x="11569" y="11920"/>
                    <a:pt x="12000" y="11186"/>
                    <a:pt x="12000" y="10539"/>
                  </a:cubicBezTo>
                  <a:lnTo>
                    <a:pt x="12000" y="5210"/>
                  </a:lnTo>
                  <a:cubicBezTo>
                    <a:pt x="12000" y="4563"/>
                    <a:pt x="11200" y="4079"/>
                    <a:pt x="11200" y="4079"/>
                  </a:cubicBezTo>
                  <a:lnTo>
                    <a:pt x="11200" y="3352"/>
                  </a:lnTo>
                  <a:cubicBezTo>
                    <a:pt x="12000" y="3352"/>
                    <a:pt x="12800" y="4240"/>
                    <a:pt x="12800" y="5290"/>
                  </a:cubicBezTo>
                  <a:lnTo>
                    <a:pt x="12800" y="10620"/>
                  </a:lnTo>
                  <a:cubicBezTo>
                    <a:pt x="12800" y="11590"/>
                    <a:pt x="11972" y="12720"/>
                    <a:pt x="10922" y="1272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0" name="iconfont-11894-5689857"/>
            <p:cNvSpPr>
              <a:spLocks noChangeAspect="1"/>
            </p:cNvSpPr>
            <p:nvPr userDrawn="1"/>
          </p:nvSpPr>
          <p:spPr bwMode="auto">
            <a:xfrm>
              <a:off x="28254992" y="-1287093"/>
              <a:ext cx="477702" cy="609685"/>
            </a:xfrm>
            <a:custGeom>
              <a:avLst/>
              <a:gdLst>
                <a:gd name="T0" fmla="*/ 7249 w 8777"/>
                <a:gd name="T1" fmla="*/ 11201 h 11201"/>
                <a:gd name="T2" fmla="*/ 1528 w 8777"/>
                <a:gd name="T3" fmla="*/ 11201 h 11201"/>
                <a:gd name="T4" fmla="*/ 0 w 8777"/>
                <a:gd name="T5" fmla="*/ 9713 h 11201"/>
                <a:gd name="T6" fmla="*/ 0 w 8777"/>
                <a:gd name="T7" fmla="*/ 2231 h 11201"/>
                <a:gd name="T8" fmla="*/ 1528 w 8777"/>
                <a:gd name="T9" fmla="*/ 744 h 11201"/>
                <a:gd name="T10" fmla="*/ 1528 w 8777"/>
                <a:gd name="T11" fmla="*/ 0 h 11201"/>
                <a:gd name="T12" fmla="*/ 2291 w 8777"/>
                <a:gd name="T13" fmla="*/ 0 h 11201"/>
                <a:gd name="T14" fmla="*/ 2291 w 8777"/>
                <a:gd name="T15" fmla="*/ 744 h 11201"/>
                <a:gd name="T16" fmla="*/ 3832 w 8777"/>
                <a:gd name="T17" fmla="*/ 744 h 11201"/>
                <a:gd name="T18" fmla="*/ 3832 w 8777"/>
                <a:gd name="T19" fmla="*/ 0 h 11201"/>
                <a:gd name="T20" fmla="*/ 4595 w 8777"/>
                <a:gd name="T21" fmla="*/ 0 h 11201"/>
                <a:gd name="T22" fmla="*/ 4595 w 8777"/>
                <a:gd name="T23" fmla="*/ 744 h 11201"/>
                <a:gd name="T24" fmla="*/ 6485 w 8777"/>
                <a:gd name="T25" fmla="*/ 744 h 11201"/>
                <a:gd name="T26" fmla="*/ 6485 w 8777"/>
                <a:gd name="T27" fmla="*/ 0 h 11201"/>
                <a:gd name="T28" fmla="*/ 7249 w 8777"/>
                <a:gd name="T29" fmla="*/ 0 h 11201"/>
                <a:gd name="T30" fmla="*/ 7249 w 8777"/>
                <a:gd name="T31" fmla="*/ 744 h 11201"/>
                <a:gd name="T32" fmla="*/ 8777 w 8777"/>
                <a:gd name="T33" fmla="*/ 2231 h 11201"/>
                <a:gd name="T34" fmla="*/ 8777 w 8777"/>
                <a:gd name="T35" fmla="*/ 9713 h 11201"/>
                <a:gd name="T36" fmla="*/ 7249 w 8777"/>
                <a:gd name="T37" fmla="*/ 11201 h 11201"/>
                <a:gd name="T38" fmla="*/ 8013 w 8777"/>
                <a:gd name="T39" fmla="*/ 2231 h 11201"/>
                <a:gd name="T40" fmla="*/ 7249 w 8777"/>
                <a:gd name="T41" fmla="*/ 1488 h 11201"/>
                <a:gd name="T42" fmla="*/ 1528 w 8777"/>
                <a:gd name="T43" fmla="*/ 1488 h 11201"/>
                <a:gd name="T44" fmla="*/ 764 w 8777"/>
                <a:gd name="T45" fmla="*/ 2231 h 11201"/>
                <a:gd name="T46" fmla="*/ 764 w 8777"/>
                <a:gd name="T47" fmla="*/ 9713 h 11201"/>
                <a:gd name="T48" fmla="*/ 1528 w 8777"/>
                <a:gd name="T49" fmla="*/ 10457 h 11201"/>
                <a:gd name="T50" fmla="*/ 7249 w 8777"/>
                <a:gd name="T51" fmla="*/ 10457 h 11201"/>
                <a:gd name="T52" fmla="*/ 8013 w 8777"/>
                <a:gd name="T53" fmla="*/ 9713 h 11201"/>
                <a:gd name="T54" fmla="*/ 8013 w 8777"/>
                <a:gd name="T55" fmla="*/ 2231 h 11201"/>
                <a:gd name="T56" fmla="*/ 6867 w 8777"/>
                <a:gd name="T57" fmla="*/ 8926 h 11201"/>
                <a:gd name="T58" fmla="*/ 1910 w 8777"/>
                <a:gd name="T59" fmla="*/ 8926 h 11201"/>
                <a:gd name="T60" fmla="*/ 1528 w 8777"/>
                <a:gd name="T61" fmla="*/ 8554 h 11201"/>
                <a:gd name="T62" fmla="*/ 1910 w 8777"/>
                <a:gd name="T63" fmla="*/ 8182 h 11201"/>
                <a:gd name="T64" fmla="*/ 6867 w 8777"/>
                <a:gd name="T65" fmla="*/ 8182 h 11201"/>
                <a:gd name="T66" fmla="*/ 7249 w 8777"/>
                <a:gd name="T67" fmla="*/ 8554 h 11201"/>
                <a:gd name="T68" fmla="*/ 6867 w 8777"/>
                <a:gd name="T69" fmla="*/ 8926 h 11201"/>
                <a:gd name="T70" fmla="*/ 6867 w 8777"/>
                <a:gd name="T71" fmla="*/ 6694 h 11201"/>
                <a:gd name="T72" fmla="*/ 1910 w 8777"/>
                <a:gd name="T73" fmla="*/ 6694 h 11201"/>
                <a:gd name="T74" fmla="*/ 1528 w 8777"/>
                <a:gd name="T75" fmla="*/ 6322 h 11201"/>
                <a:gd name="T76" fmla="*/ 1910 w 8777"/>
                <a:gd name="T77" fmla="*/ 5950 h 11201"/>
                <a:gd name="T78" fmla="*/ 6867 w 8777"/>
                <a:gd name="T79" fmla="*/ 5950 h 11201"/>
                <a:gd name="T80" fmla="*/ 7249 w 8777"/>
                <a:gd name="T81" fmla="*/ 6322 h 11201"/>
                <a:gd name="T82" fmla="*/ 6867 w 8777"/>
                <a:gd name="T83" fmla="*/ 6694 h 11201"/>
                <a:gd name="T84" fmla="*/ 6867 w 8777"/>
                <a:gd name="T85" fmla="*/ 4463 h 11201"/>
                <a:gd name="T86" fmla="*/ 1910 w 8777"/>
                <a:gd name="T87" fmla="*/ 4463 h 11201"/>
                <a:gd name="T88" fmla="*/ 1528 w 8777"/>
                <a:gd name="T89" fmla="*/ 4091 h 11201"/>
                <a:gd name="T90" fmla="*/ 1910 w 8777"/>
                <a:gd name="T91" fmla="*/ 3719 h 11201"/>
                <a:gd name="T92" fmla="*/ 6867 w 8777"/>
                <a:gd name="T93" fmla="*/ 3719 h 11201"/>
                <a:gd name="T94" fmla="*/ 7249 w 8777"/>
                <a:gd name="T95" fmla="*/ 4091 h 11201"/>
                <a:gd name="T96" fmla="*/ 6867 w 8777"/>
                <a:gd name="T97" fmla="*/ 4463 h 1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777" h="11201">
                  <a:moveTo>
                    <a:pt x="7249" y="11201"/>
                  </a:moveTo>
                  <a:lnTo>
                    <a:pt x="1528" y="11201"/>
                  </a:lnTo>
                  <a:cubicBezTo>
                    <a:pt x="684" y="11201"/>
                    <a:pt x="0" y="10535"/>
                    <a:pt x="0" y="9713"/>
                  </a:cubicBezTo>
                  <a:lnTo>
                    <a:pt x="0" y="2231"/>
                  </a:lnTo>
                  <a:cubicBezTo>
                    <a:pt x="0" y="1410"/>
                    <a:pt x="684" y="744"/>
                    <a:pt x="1528" y="744"/>
                  </a:cubicBezTo>
                  <a:lnTo>
                    <a:pt x="1528" y="0"/>
                  </a:lnTo>
                  <a:lnTo>
                    <a:pt x="2291" y="0"/>
                  </a:lnTo>
                  <a:lnTo>
                    <a:pt x="2291" y="744"/>
                  </a:lnTo>
                  <a:lnTo>
                    <a:pt x="3832" y="744"/>
                  </a:lnTo>
                  <a:lnTo>
                    <a:pt x="3832" y="0"/>
                  </a:lnTo>
                  <a:lnTo>
                    <a:pt x="4595" y="0"/>
                  </a:lnTo>
                  <a:lnTo>
                    <a:pt x="4595" y="744"/>
                  </a:lnTo>
                  <a:lnTo>
                    <a:pt x="6485" y="744"/>
                  </a:lnTo>
                  <a:lnTo>
                    <a:pt x="6485" y="0"/>
                  </a:lnTo>
                  <a:lnTo>
                    <a:pt x="7249" y="0"/>
                  </a:lnTo>
                  <a:lnTo>
                    <a:pt x="7249" y="744"/>
                  </a:lnTo>
                  <a:cubicBezTo>
                    <a:pt x="8093" y="744"/>
                    <a:pt x="8777" y="1410"/>
                    <a:pt x="8777" y="2231"/>
                  </a:cubicBezTo>
                  <a:lnTo>
                    <a:pt x="8777" y="9713"/>
                  </a:lnTo>
                  <a:cubicBezTo>
                    <a:pt x="8777" y="10535"/>
                    <a:pt x="8093" y="11201"/>
                    <a:pt x="7249" y="11201"/>
                  </a:cubicBezTo>
                  <a:close/>
                  <a:moveTo>
                    <a:pt x="8013" y="2231"/>
                  </a:moveTo>
                  <a:cubicBezTo>
                    <a:pt x="8013" y="1821"/>
                    <a:pt x="7671" y="1488"/>
                    <a:pt x="7249" y="1488"/>
                  </a:cubicBezTo>
                  <a:lnTo>
                    <a:pt x="1528" y="1488"/>
                  </a:lnTo>
                  <a:cubicBezTo>
                    <a:pt x="1106" y="1488"/>
                    <a:pt x="764" y="1821"/>
                    <a:pt x="764" y="2231"/>
                  </a:cubicBezTo>
                  <a:lnTo>
                    <a:pt x="764" y="9713"/>
                  </a:lnTo>
                  <a:cubicBezTo>
                    <a:pt x="764" y="10124"/>
                    <a:pt x="1106" y="10457"/>
                    <a:pt x="1528" y="10457"/>
                  </a:cubicBezTo>
                  <a:lnTo>
                    <a:pt x="7249" y="10457"/>
                  </a:lnTo>
                  <a:cubicBezTo>
                    <a:pt x="7671" y="10457"/>
                    <a:pt x="8013" y="10124"/>
                    <a:pt x="8013" y="9713"/>
                  </a:cubicBezTo>
                  <a:lnTo>
                    <a:pt x="8013" y="2231"/>
                  </a:lnTo>
                  <a:close/>
                  <a:moveTo>
                    <a:pt x="6867" y="8926"/>
                  </a:moveTo>
                  <a:lnTo>
                    <a:pt x="1910" y="8926"/>
                  </a:lnTo>
                  <a:cubicBezTo>
                    <a:pt x="1699" y="8926"/>
                    <a:pt x="1528" y="8759"/>
                    <a:pt x="1528" y="8554"/>
                  </a:cubicBezTo>
                  <a:cubicBezTo>
                    <a:pt x="1528" y="8348"/>
                    <a:pt x="1699" y="8182"/>
                    <a:pt x="1910" y="8182"/>
                  </a:cubicBezTo>
                  <a:lnTo>
                    <a:pt x="6867" y="8182"/>
                  </a:lnTo>
                  <a:cubicBezTo>
                    <a:pt x="7078" y="8182"/>
                    <a:pt x="7249" y="8348"/>
                    <a:pt x="7249" y="8554"/>
                  </a:cubicBezTo>
                  <a:cubicBezTo>
                    <a:pt x="7249" y="8759"/>
                    <a:pt x="7078" y="8926"/>
                    <a:pt x="6867" y="8926"/>
                  </a:cubicBezTo>
                  <a:close/>
                  <a:moveTo>
                    <a:pt x="6867" y="6694"/>
                  </a:moveTo>
                  <a:lnTo>
                    <a:pt x="1910" y="6694"/>
                  </a:lnTo>
                  <a:cubicBezTo>
                    <a:pt x="1699" y="6694"/>
                    <a:pt x="1528" y="6528"/>
                    <a:pt x="1528" y="6322"/>
                  </a:cubicBezTo>
                  <a:cubicBezTo>
                    <a:pt x="1528" y="6117"/>
                    <a:pt x="1699" y="5950"/>
                    <a:pt x="1910" y="5950"/>
                  </a:cubicBezTo>
                  <a:lnTo>
                    <a:pt x="6867" y="5950"/>
                  </a:lnTo>
                  <a:cubicBezTo>
                    <a:pt x="7078" y="5950"/>
                    <a:pt x="7249" y="6117"/>
                    <a:pt x="7249" y="6322"/>
                  </a:cubicBezTo>
                  <a:cubicBezTo>
                    <a:pt x="7249" y="6528"/>
                    <a:pt x="7078" y="6694"/>
                    <a:pt x="6867" y="6694"/>
                  </a:cubicBezTo>
                  <a:close/>
                  <a:moveTo>
                    <a:pt x="6867" y="4463"/>
                  </a:moveTo>
                  <a:lnTo>
                    <a:pt x="1910" y="4463"/>
                  </a:lnTo>
                  <a:cubicBezTo>
                    <a:pt x="1699" y="4463"/>
                    <a:pt x="1528" y="4296"/>
                    <a:pt x="1528" y="4091"/>
                  </a:cubicBezTo>
                  <a:cubicBezTo>
                    <a:pt x="1528" y="3885"/>
                    <a:pt x="1699" y="3719"/>
                    <a:pt x="1910" y="3719"/>
                  </a:cubicBezTo>
                  <a:lnTo>
                    <a:pt x="6867" y="3719"/>
                  </a:lnTo>
                  <a:cubicBezTo>
                    <a:pt x="7078" y="3719"/>
                    <a:pt x="7249" y="3886"/>
                    <a:pt x="7249" y="4091"/>
                  </a:cubicBezTo>
                  <a:cubicBezTo>
                    <a:pt x="7249" y="4296"/>
                    <a:pt x="7078" y="4463"/>
                    <a:pt x="6867" y="4463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1" name="iconfont-11894-5689857"/>
            <p:cNvSpPr>
              <a:spLocks noChangeAspect="1"/>
            </p:cNvSpPr>
            <p:nvPr userDrawn="1"/>
          </p:nvSpPr>
          <p:spPr bwMode="auto">
            <a:xfrm>
              <a:off x="13556559" y="18332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62" name="iconfont-11894-5689857"/>
            <p:cNvSpPr>
              <a:spLocks noChangeAspect="1"/>
            </p:cNvSpPr>
            <p:nvPr userDrawn="1"/>
          </p:nvSpPr>
          <p:spPr bwMode="auto">
            <a:xfrm>
              <a:off x="14775929" y="218993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3" name="iconfont-11894-5689857"/>
            <p:cNvSpPr>
              <a:spLocks noChangeAspect="1"/>
            </p:cNvSpPr>
            <p:nvPr userDrawn="1"/>
          </p:nvSpPr>
          <p:spPr bwMode="auto">
            <a:xfrm>
              <a:off x="16021966" y="183324"/>
              <a:ext cx="556352" cy="609685"/>
            </a:xfrm>
            <a:custGeom>
              <a:avLst/>
              <a:gdLst>
                <a:gd name="T0" fmla="*/ 5364 w 10171"/>
                <a:gd name="T1" fmla="*/ 9821 h 11145"/>
                <a:gd name="T2" fmla="*/ 4876 w 10171"/>
                <a:gd name="T3" fmla="*/ 9821 h 11145"/>
                <a:gd name="T4" fmla="*/ 4528 w 10171"/>
                <a:gd name="T5" fmla="*/ 9890 h 11145"/>
                <a:gd name="T6" fmla="*/ 2020 w 10171"/>
                <a:gd name="T7" fmla="*/ 10100 h 11145"/>
                <a:gd name="T8" fmla="*/ 2090 w 10171"/>
                <a:gd name="T9" fmla="*/ 9124 h 11145"/>
                <a:gd name="T10" fmla="*/ 2299 w 10171"/>
                <a:gd name="T11" fmla="*/ 8497 h 11145"/>
                <a:gd name="T12" fmla="*/ 1602 w 10171"/>
                <a:gd name="T13" fmla="*/ 7801 h 11145"/>
                <a:gd name="T14" fmla="*/ 1254 w 10171"/>
                <a:gd name="T15" fmla="*/ 7941 h 11145"/>
                <a:gd name="T16" fmla="*/ 975 w 10171"/>
                <a:gd name="T17" fmla="*/ 8149 h 11145"/>
                <a:gd name="T18" fmla="*/ 975 w 10171"/>
                <a:gd name="T19" fmla="*/ 6408 h 11145"/>
                <a:gd name="T20" fmla="*/ 1811 w 10171"/>
                <a:gd name="T21" fmla="*/ 4945 h 11145"/>
                <a:gd name="T22" fmla="*/ 2020 w 10171"/>
                <a:gd name="T23" fmla="*/ 4180 h 11145"/>
                <a:gd name="T24" fmla="*/ 2089 w 10171"/>
                <a:gd name="T25" fmla="*/ 3901 h 11145"/>
                <a:gd name="T26" fmla="*/ 5085 w 10171"/>
                <a:gd name="T27" fmla="*/ 836 h 11145"/>
                <a:gd name="T28" fmla="*/ 8151 w 10171"/>
                <a:gd name="T29" fmla="*/ 3900 h 11145"/>
                <a:gd name="T30" fmla="*/ 8220 w 10171"/>
                <a:gd name="T31" fmla="*/ 4179 h 11145"/>
                <a:gd name="T32" fmla="*/ 8429 w 10171"/>
                <a:gd name="T33" fmla="*/ 4945 h 11145"/>
                <a:gd name="T34" fmla="*/ 9265 w 10171"/>
                <a:gd name="T35" fmla="*/ 6407 h 11145"/>
                <a:gd name="T36" fmla="*/ 9195 w 10171"/>
                <a:gd name="T37" fmla="*/ 8148 h 11145"/>
                <a:gd name="T38" fmla="*/ 8568 w 10171"/>
                <a:gd name="T39" fmla="*/ 7800 h 11145"/>
                <a:gd name="T40" fmla="*/ 8151 w 10171"/>
                <a:gd name="T41" fmla="*/ 8009 h 11145"/>
                <a:gd name="T42" fmla="*/ 7733 w 10171"/>
                <a:gd name="T43" fmla="*/ 8845 h 11145"/>
                <a:gd name="T44" fmla="*/ 8429 w 10171"/>
                <a:gd name="T45" fmla="*/ 9613 h 11145"/>
                <a:gd name="T46" fmla="*/ 6896 w 10171"/>
                <a:gd name="T47" fmla="*/ 10309 h 11145"/>
                <a:gd name="T48" fmla="*/ 5364 w 10171"/>
                <a:gd name="T49" fmla="*/ 9821 h 11145"/>
                <a:gd name="T50" fmla="*/ 6966 w 10171"/>
                <a:gd name="T51" fmla="*/ 11145 h 11145"/>
                <a:gd name="T52" fmla="*/ 9334 w 10171"/>
                <a:gd name="T53" fmla="*/ 9613 h 11145"/>
                <a:gd name="T54" fmla="*/ 9404 w 10171"/>
                <a:gd name="T55" fmla="*/ 8846 h 11145"/>
                <a:gd name="T56" fmla="*/ 9893 w 10171"/>
                <a:gd name="T57" fmla="*/ 6130 h 11145"/>
                <a:gd name="T58" fmla="*/ 9126 w 10171"/>
                <a:gd name="T59" fmla="*/ 4807 h 11145"/>
                <a:gd name="T60" fmla="*/ 7803 w 10171"/>
                <a:gd name="T61" fmla="*/ 1114 h 11145"/>
                <a:gd name="T62" fmla="*/ 2369 w 10171"/>
                <a:gd name="T63" fmla="*/ 1114 h 11145"/>
                <a:gd name="T64" fmla="*/ 1045 w 10171"/>
                <a:gd name="T65" fmla="*/ 4806 h 11145"/>
                <a:gd name="T66" fmla="*/ 279 w 10171"/>
                <a:gd name="T67" fmla="*/ 6130 h 11145"/>
                <a:gd name="T68" fmla="*/ 766 w 10171"/>
                <a:gd name="T69" fmla="*/ 8846 h 11145"/>
                <a:gd name="T70" fmla="*/ 836 w 10171"/>
                <a:gd name="T71" fmla="*/ 9613 h 11145"/>
                <a:gd name="T72" fmla="*/ 3135 w 10171"/>
                <a:gd name="T73" fmla="*/ 11145 h 11145"/>
                <a:gd name="T74" fmla="*/ 5225 w 10171"/>
                <a:gd name="T75" fmla="*/ 10657 h 11145"/>
                <a:gd name="T76" fmla="*/ 6966 w 10171"/>
                <a:gd name="T77" fmla="*/ 11145 h 1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171" h="11145">
                  <a:moveTo>
                    <a:pt x="5364" y="9821"/>
                  </a:moveTo>
                  <a:lnTo>
                    <a:pt x="5364" y="9821"/>
                  </a:lnTo>
                  <a:lnTo>
                    <a:pt x="5085" y="9821"/>
                  </a:lnTo>
                  <a:lnTo>
                    <a:pt x="4876" y="9821"/>
                  </a:lnTo>
                  <a:lnTo>
                    <a:pt x="4807" y="9821"/>
                  </a:lnTo>
                  <a:cubicBezTo>
                    <a:pt x="4737" y="9821"/>
                    <a:pt x="4598" y="9821"/>
                    <a:pt x="4528" y="9890"/>
                  </a:cubicBezTo>
                  <a:cubicBezTo>
                    <a:pt x="4249" y="10169"/>
                    <a:pt x="3762" y="10309"/>
                    <a:pt x="3135" y="10309"/>
                  </a:cubicBezTo>
                  <a:cubicBezTo>
                    <a:pt x="2717" y="10309"/>
                    <a:pt x="2369" y="10239"/>
                    <a:pt x="2020" y="10100"/>
                  </a:cubicBezTo>
                  <a:cubicBezTo>
                    <a:pt x="1742" y="9960"/>
                    <a:pt x="1602" y="9821"/>
                    <a:pt x="1602" y="9612"/>
                  </a:cubicBezTo>
                  <a:cubicBezTo>
                    <a:pt x="1602" y="9403"/>
                    <a:pt x="1742" y="9264"/>
                    <a:pt x="2090" y="9124"/>
                  </a:cubicBezTo>
                  <a:cubicBezTo>
                    <a:pt x="2299" y="9055"/>
                    <a:pt x="2369" y="8985"/>
                    <a:pt x="2369" y="8845"/>
                  </a:cubicBezTo>
                  <a:cubicBezTo>
                    <a:pt x="2369" y="8706"/>
                    <a:pt x="2369" y="8567"/>
                    <a:pt x="2299" y="8497"/>
                  </a:cubicBezTo>
                  <a:cubicBezTo>
                    <a:pt x="2160" y="8359"/>
                    <a:pt x="2090" y="8149"/>
                    <a:pt x="1951" y="8010"/>
                  </a:cubicBezTo>
                  <a:cubicBezTo>
                    <a:pt x="1881" y="7871"/>
                    <a:pt x="1742" y="7801"/>
                    <a:pt x="1602" y="7801"/>
                  </a:cubicBezTo>
                  <a:lnTo>
                    <a:pt x="1602" y="7801"/>
                  </a:lnTo>
                  <a:cubicBezTo>
                    <a:pt x="1463" y="7801"/>
                    <a:pt x="1393" y="7871"/>
                    <a:pt x="1254" y="7941"/>
                  </a:cubicBezTo>
                  <a:cubicBezTo>
                    <a:pt x="1115" y="8080"/>
                    <a:pt x="1045" y="8149"/>
                    <a:pt x="975" y="8149"/>
                  </a:cubicBezTo>
                  <a:lnTo>
                    <a:pt x="975" y="8149"/>
                  </a:lnTo>
                  <a:cubicBezTo>
                    <a:pt x="906" y="8149"/>
                    <a:pt x="837" y="7941"/>
                    <a:pt x="837" y="7593"/>
                  </a:cubicBezTo>
                  <a:cubicBezTo>
                    <a:pt x="837" y="7245"/>
                    <a:pt x="906" y="6826"/>
                    <a:pt x="975" y="6408"/>
                  </a:cubicBezTo>
                  <a:cubicBezTo>
                    <a:pt x="1114" y="5990"/>
                    <a:pt x="1323" y="5642"/>
                    <a:pt x="1671" y="5294"/>
                  </a:cubicBezTo>
                  <a:cubicBezTo>
                    <a:pt x="1741" y="5225"/>
                    <a:pt x="1811" y="5085"/>
                    <a:pt x="1811" y="4945"/>
                  </a:cubicBezTo>
                  <a:lnTo>
                    <a:pt x="1811" y="4807"/>
                  </a:lnTo>
                  <a:cubicBezTo>
                    <a:pt x="1811" y="4597"/>
                    <a:pt x="1880" y="4389"/>
                    <a:pt x="2020" y="4180"/>
                  </a:cubicBezTo>
                  <a:cubicBezTo>
                    <a:pt x="2089" y="4110"/>
                    <a:pt x="2089" y="4040"/>
                    <a:pt x="2089" y="3971"/>
                  </a:cubicBezTo>
                  <a:lnTo>
                    <a:pt x="2089" y="3901"/>
                  </a:lnTo>
                  <a:cubicBezTo>
                    <a:pt x="2090" y="3065"/>
                    <a:pt x="2368" y="2368"/>
                    <a:pt x="2995" y="1741"/>
                  </a:cubicBezTo>
                  <a:cubicBezTo>
                    <a:pt x="3553" y="1114"/>
                    <a:pt x="4249" y="836"/>
                    <a:pt x="5085" y="836"/>
                  </a:cubicBezTo>
                  <a:cubicBezTo>
                    <a:pt x="5921" y="836"/>
                    <a:pt x="6618" y="1114"/>
                    <a:pt x="7245" y="1741"/>
                  </a:cubicBezTo>
                  <a:cubicBezTo>
                    <a:pt x="7802" y="2368"/>
                    <a:pt x="8151" y="3065"/>
                    <a:pt x="8151" y="3900"/>
                  </a:cubicBezTo>
                  <a:lnTo>
                    <a:pt x="8151" y="3970"/>
                  </a:lnTo>
                  <a:cubicBezTo>
                    <a:pt x="8151" y="4039"/>
                    <a:pt x="8151" y="4109"/>
                    <a:pt x="8220" y="4179"/>
                  </a:cubicBezTo>
                  <a:cubicBezTo>
                    <a:pt x="8359" y="4388"/>
                    <a:pt x="8429" y="4596"/>
                    <a:pt x="8429" y="4806"/>
                  </a:cubicBezTo>
                  <a:lnTo>
                    <a:pt x="8429" y="4945"/>
                  </a:lnTo>
                  <a:cubicBezTo>
                    <a:pt x="8429" y="5084"/>
                    <a:pt x="8429" y="5224"/>
                    <a:pt x="8568" y="5293"/>
                  </a:cubicBezTo>
                  <a:cubicBezTo>
                    <a:pt x="8916" y="5641"/>
                    <a:pt x="9125" y="5989"/>
                    <a:pt x="9265" y="6407"/>
                  </a:cubicBezTo>
                  <a:cubicBezTo>
                    <a:pt x="9404" y="6825"/>
                    <a:pt x="9474" y="7244"/>
                    <a:pt x="9404" y="7592"/>
                  </a:cubicBezTo>
                  <a:cubicBezTo>
                    <a:pt x="9404" y="7940"/>
                    <a:pt x="9334" y="8079"/>
                    <a:pt x="9195" y="8148"/>
                  </a:cubicBezTo>
                  <a:cubicBezTo>
                    <a:pt x="9126" y="8148"/>
                    <a:pt x="9056" y="8079"/>
                    <a:pt x="8916" y="7940"/>
                  </a:cubicBezTo>
                  <a:cubicBezTo>
                    <a:pt x="8847" y="7871"/>
                    <a:pt x="8707" y="7800"/>
                    <a:pt x="8568" y="7800"/>
                  </a:cubicBezTo>
                  <a:lnTo>
                    <a:pt x="8499" y="7800"/>
                  </a:lnTo>
                  <a:cubicBezTo>
                    <a:pt x="8359" y="7800"/>
                    <a:pt x="8220" y="7870"/>
                    <a:pt x="8151" y="8009"/>
                  </a:cubicBezTo>
                  <a:cubicBezTo>
                    <a:pt x="8081" y="8218"/>
                    <a:pt x="7941" y="8358"/>
                    <a:pt x="7802" y="8497"/>
                  </a:cubicBezTo>
                  <a:cubicBezTo>
                    <a:pt x="7733" y="8567"/>
                    <a:pt x="7663" y="8706"/>
                    <a:pt x="7733" y="8845"/>
                  </a:cubicBezTo>
                  <a:cubicBezTo>
                    <a:pt x="7733" y="8985"/>
                    <a:pt x="7872" y="9054"/>
                    <a:pt x="7941" y="9124"/>
                  </a:cubicBezTo>
                  <a:cubicBezTo>
                    <a:pt x="8289" y="9264"/>
                    <a:pt x="8429" y="9404"/>
                    <a:pt x="8429" y="9613"/>
                  </a:cubicBezTo>
                  <a:cubicBezTo>
                    <a:pt x="8429" y="9821"/>
                    <a:pt x="8289" y="9961"/>
                    <a:pt x="8011" y="10100"/>
                  </a:cubicBezTo>
                  <a:cubicBezTo>
                    <a:pt x="7732" y="10239"/>
                    <a:pt x="7314" y="10309"/>
                    <a:pt x="6896" y="10309"/>
                  </a:cubicBezTo>
                  <a:cubicBezTo>
                    <a:pt x="6269" y="10309"/>
                    <a:pt x="5851" y="10169"/>
                    <a:pt x="5503" y="9891"/>
                  </a:cubicBezTo>
                  <a:cubicBezTo>
                    <a:pt x="5573" y="9891"/>
                    <a:pt x="5433" y="9821"/>
                    <a:pt x="5364" y="9821"/>
                  </a:cubicBezTo>
                  <a:lnTo>
                    <a:pt x="5364" y="9821"/>
                  </a:lnTo>
                  <a:close/>
                  <a:moveTo>
                    <a:pt x="6966" y="11145"/>
                  </a:moveTo>
                  <a:cubicBezTo>
                    <a:pt x="7663" y="11145"/>
                    <a:pt x="8220" y="11006"/>
                    <a:pt x="8638" y="10728"/>
                  </a:cubicBezTo>
                  <a:cubicBezTo>
                    <a:pt x="9056" y="10448"/>
                    <a:pt x="9334" y="10100"/>
                    <a:pt x="9334" y="9613"/>
                  </a:cubicBezTo>
                  <a:cubicBezTo>
                    <a:pt x="9334" y="9334"/>
                    <a:pt x="9265" y="9125"/>
                    <a:pt x="9126" y="8916"/>
                  </a:cubicBezTo>
                  <a:cubicBezTo>
                    <a:pt x="9196" y="8916"/>
                    <a:pt x="9334" y="8916"/>
                    <a:pt x="9404" y="8846"/>
                  </a:cubicBezTo>
                  <a:cubicBezTo>
                    <a:pt x="9822" y="8708"/>
                    <a:pt x="10031" y="8359"/>
                    <a:pt x="10101" y="7801"/>
                  </a:cubicBezTo>
                  <a:cubicBezTo>
                    <a:pt x="10171" y="7314"/>
                    <a:pt x="10101" y="6757"/>
                    <a:pt x="9893" y="6130"/>
                  </a:cubicBezTo>
                  <a:cubicBezTo>
                    <a:pt x="9753" y="5642"/>
                    <a:pt x="9475" y="5225"/>
                    <a:pt x="9126" y="4807"/>
                  </a:cubicBezTo>
                  <a:lnTo>
                    <a:pt x="9126" y="4807"/>
                  </a:lnTo>
                  <a:cubicBezTo>
                    <a:pt x="9126" y="4458"/>
                    <a:pt x="9057" y="4180"/>
                    <a:pt x="8917" y="3831"/>
                  </a:cubicBezTo>
                  <a:cubicBezTo>
                    <a:pt x="8917" y="2787"/>
                    <a:pt x="8569" y="1881"/>
                    <a:pt x="7803" y="1114"/>
                  </a:cubicBezTo>
                  <a:cubicBezTo>
                    <a:pt x="7036" y="348"/>
                    <a:pt x="6130" y="0"/>
                    <a:pt x="5085" y="0"/>
                  </a:cubicBezTo>
                  <a:cubicBezTo>
                    <a:pt x="4040" y="0"/>
                    <a:pt x="3135" y="348"/>
                    <a:pt x="2369" y="1114"/>
                  </a:cubicBezTo>
                  <a:cubicBezTo>
                    <a:pt x="1671" y="1880"/>
                    <a:pt x="1254" y="2786"/>
                    <a:pt x="1254" y="3831"/>
                  </a:cubicBezTo>
                  <a:cubicBezTo>
                    <a:pt x="1115" y="4110"/>
                    <a:pt x="1045" y="4458"/>
                    <a:pt x="1045" y="4806"/>
                  </a:cubicBezTo>
                  <a:lnTo>
                    <a:pt x="1045" y="4876"/>
                  </a:lnTo>
                  <a:cubicBezTo>
                    <a:pt x="627" y="5224"/>
                    <a:pt x="418" y="5712"/>
                    <a:pt x="279" y="6130"/>
                  </a:cubicBezTo>
                  <a:cubicBezTo>
                    <a:pt x="70" y="6756"/>
                    <a:pt x="0" y="7314"/>
                    <a:pt x="70" y="7801"/>
                  </a:cubicBezTo>
                  <a:cubicBezTo>
                    <a:pt x="139" y="8359"/>
                    <a:pt x="418" y="8707"/>
                    <a:pt x="766" y="8846"/>
                  </a:cubicBezTo>
                  <a:cubicBezTo>
                    <a:pt x="836" y="8846"/>
                    <a:pt x="975" y="8916"/>
                    <a:pt x="1045" y="8916"/>
                  </a:cubicBezTo>
                  <a:cubicBezTo>
                    <a:pt x="906" y="9124"/>
                    <a:pt x="836" y="9334"/>
                    <a:pt x="836" y="9613"/>
                  </a:cubicBezTo>
                  <a:cubicBezTo>
                    <a:pt x="836" y="10030"/>
                    <a:pt x="1045" y="10448"/>
                    <a:pt x="1533" y="10727"/>
                  </a:cubicBezTo>
                  <a:cubicBezTo>
                    <a:pt x="1951" y="11006"/>
                    <a:pt x="2508" y="11145"/>
                    <a:pt x="3135" y="11145"/>
                  </a:cubicBezTo>
                  <a:cubicBezTo>
                    <a:pt x="3831" y="11145"/>
                    <a:pt x="4458" y="11006"/>
                    <a:pt x="4876" y="10657"/>
                  </a:cubicBezTo>
                  <a:lnTo>
                    <a:pt x="5225" y="10657"/>
                  </a:lnTo>
                  <a:cubicBezTo>
                    <a:pt x="5713" y="11006"/>
                    <a:pt x="6269" y="11145"/>
                    <a:pt x="6966" y="11145"/>
                  </a:cubicBezTo>
                  <a:lnTo>
                    <a:pt x="6966" y="111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4" name="iconfont-11894-5689857"/>
            <p:cNvSpPr>
              <a:spLocks noChangeAspect="1"/>
            </p:cNvSpPr>
            <p:nvPr userDrawn="1"/>
          </p:nvSpPr>
          <p:spPr bwMode="auto">
            <a:xfrm>
              <a:off x="17214969" y="18332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5" name="iconfont-11894-5689857"/>
            <p:cNvSpPr>
              <a:spLocks noChangeAspect="1"/>
            </p:cNvSpPr>
            <p:nvPr userDrawn="1"/>
          </p:nvSpPr>
          <p:spPr bwMode="auto">
            <a:xfrm>
              <a:off x="18434380" y="183324"/>
              <a:ext cx="609005" cy="609685"/>
            </a:xfrm>
            <a:custGeom>
              <a:avLst/>
              <a:gdLst>
                <a:gd name="T0" fmla="*/ 9151 w 11196"/>
                <a:gd name="T1" fmla="*/ 0 h 11207"/>
                <a:gd name="T2" fmla="*/ 2033 w 11196"/>
                <a:gd name="T3" fmla="*/ 0 h 11207"/>
                <a:gd name="T4" fmla="*/ 0 w 11196"/>
                <a:gd name="T5" fmla="*/ 3498 h 11207"/>
                <a:gd name="T6" fmla="*/ 0 w 11196"/>
                <a:gd name="T7" fmla="*/ 4897 h 11207"/>
                <a:gd name="T8" fmla="*/ 407 w 11196"/>
                <a:gd name="T9" fmla="*/ 5868 h 11207"/>
                <a:gd name="T10" fmla="*/ 407 w 11196"/>
                <a:gd name="T11" fmla="*/ 9881 h 11207"/>
                <a:gd name="T12" fmla="*/ 1804 w 11196"/>
                <a:gd name="T13" fmla="*/ 11207 h 11207"/>
                <a:gd name="T14" fmla="*/ 9380 w 11196"/>
                <a:gd name="T15" fmla="*/ 11207 h 11207"/>
                <a:gd name="T16" fmla="*/ 10657 w 11196"/>
                <a:gd name="T17" fmla="*/ 9881 h 11207"/>
                <a:gd name="T18" fmla="*/ 10657 w 11196"/>
                <a:gd name="T19" fmla="*/ 5868 h 11207"/>
                <a:gd name="T20" fmla="*/ 11196 w 11196"/>
                <a:gd name="T21" fmla="*/ 4897 h 11207"/>
                <a:gd name="T22" fmla="*/ 11196 w 11196"/>
                <a:gd name="T23" fmla="*/ 3498 h 11207"/>
                <a:gd name="T24" fmla="*/ 9151 w 11196"/>
                <a:gd name="T25" fmla="*/ 0 h 11207"/>
                <a:gd name="T26" fmla="*/ 2295 w 11196"/>
                <a:gd name="T27" fmla="*/ 533 h 11207"/>
                <a:gd name="T28" fmla="*/ 8768 w 11196"/>
                <a:gd name="T29" fmla="*/ 533 h 11207"/>
                <a:gd name="T30" fmla="*/ 10387 w 11196"/>
                <a:gd name="T31" fmla="*/ 3467 h 11207"/>
                <a:gd name="T32" fmla="*/ 676 w 11196"/>
                <a:gd name="T33" fmla="*/ 3467 h 11207"/>
                <a:gd name="T34" fmla="*/ 2295 w 11196"/>
                <a:gd name="T35" fmla="*/ 533 h 11207"/>
                <a:gd name="T36" fmla="*/ 9308 w 11196"/>
                <a:gd name="T37" fmla="*/ 10681 h 11207"/>
                <a:gd name="T38" fmla="*/ 1755 w 11196"/>
                <a:gd name="T39" fmla="*/ 10681 h 11207"/>
                <a:gd name="T40" fmla="*/ 946 w 11196"/>
                <a:gd name="T41" fmla="*/ 9881 h 11207"/>
                <a:gd name="T42" fmla="*/ 946 w 11196"/>
                <a:gd name="T43" fmla="*/ 9881 h 11207"/>
                <a:gd name="T44" fmla="*/ 946 w 11196"/>
                <a:gd name="T45" fmla="*/ 9068 h 11207"/>
                <a:gd name="T46" fmla="*/ 10143 w 11196"/>
                <a:gd name="T47" fmla="*/ 9068 h 11207"/>
                <a:gd name="T48" fmla="*/ 10146 w 11196"/>
                <a:gd name="T49" fmla="*/ 9807 h 11207"/>
                <a:gd name="T50" fmla="*/ 9308 w 11196"/>
                <a:gd name="T51" fmla="*/ 10681 h 11207"/>
                <a:gd name="T52" fmla="*/ 10143 w 11196"/>
                <a:gd name="T53" fmla="*/ 8535 h 11207"/>
                <a:gd name="T54" fmla="*/ 946 w 11196"/>
                <a:gd name="T55" fmla="*/ 8535 h 11207"/>
                <a:gd name="T56" fmla="*/ 946 w 11196"/>
                <a:gd name="T57" fmla="*/ 8535 h 11207"/>
                <a:gd name="T58" fmla="*/ 946 w 11196"/>
                <a:gd name="T59" fmla="*/ 8535 h 11207"/>
                <a:gd name="T60" fmla="*/ 946 w 11196"/>
                <a:gd name="T61" fmla="*/ 6134 h 11207"/>
                <a:gd name="T62" fmla="*/ 1755 w 11196"/>
                <a:gd name="T63" fmla="*/ 6401 h 11207"/>
                <a:gd name="T64" fmla="*/ 2961 w 11196"/>
                <a:gd name="T65" fmla="*/ 5449 h 11207"/>
                <a:gd name="T66" fmla="*/ 4183 w 11196"/>
                <a:gd name="T67" fmla="*/ 6401 h 11207"/>
                <a:gd name="T68" fmla="*/ 5592 w 11196"/>
                <a:gd name="T69" fmla="*/ 5521 h 11207"/>
                <a:gd name="T70" fmla="*/ 6880 w 11196"/>
                <a:gd name="T71" fmla="*/ 6401 h 11207"/>
                <a:gd name="T72" fmla="*/ 8210 w 11196"/>
                <a:gd name="T73" fmla="*/ 5396 h 11207"/>
                <a:gd name="T74" fmla="*/ 9578 w 11196"/>
                <a:gd name="T75" fmla="*/ 6401 h 11207"/>
                <a:gd name="T76" fmla="*/ 10146 w 11196"/>
                <a:gd name="T77" fmla="*/ 6296 h 11207"/>
                <a:gd name="T78" fmla="*/ 10143 w 11196"/>
                <a:gd name="T79" fmla="*/ 8535 h 11207"/>
                <a:gd name="T80" fmla="*/ 9378 w 11196"/>
                <a:gd name="T81" fmla="*/ 5555 h 11207"/>
                <a:gd name="T82" fmla="*/ 8160 w 11196"/>
                <a:gd name="T83" fmla="*/ 4759 h 11207"/>
                <a:gd name="T84" fmla="*/ 7890 w 11196"/>
                <a:gd name="T85" fmla="*/ 4759 h 11207"/>
                <a:gd name="T86" fmla="*/ 6812 w 11196"/>
                <a:gd name="T87" fmla="*/ 5555 h 11207"/>
                <a:gd name="T88" fmla="*/ 5733 w 11196"/>
                <a:gd name="T89" fmla="*/ 4759 h 11207"/>
                <a:gd name="T90" fmla="*/ 5463 w 11196"/>
                <a:gd name="T91" fmla="*/ 4759 h 11207"/>
                <a:gd name="T92" fmla="*/ 4225 w 11196"/>
                <a:gd name="T93" fmla="*/ 5555 h 11207"/>
                <a:gd name="T94" fmla="*/ 3035 w 11196"/>
                <a:gd name="T95" fmla="*/ 4759 h 11207"/>
                <a:gd name="T96" fmla="*/ 2766 w 11196"/>
                <a:gd name="T97" fmla="*/ 4759 h 11207"/>
                <a:gd name="T98" fmla="*/ 1679 w 11196"/>
                <a:gd name="T99" fmla="*/ 5566 h 11207"/>
                <a:gd name="T100" fmla="*/ 608 w 11196"/>
                <a:gd name="T101" fmla="*/ 4759 h 11207"/>
                <a:gd name="T102" fmla="*/ 608 w 11196"/>
                <a:gd name="T103" fmla="*/ 3984 h 11207"/>
                <a:gd name="T104" fmla="*/ 10588 w 11196"/>
                <a:gd name="T105" fmla="*/ 3984 h 11207"/>
                <a:gd name="T106" fmla="*/ 10588 w 11196"/>
                <a:gd name="T107" fmla="*/ 4759 h 11207"/>
                <a:gd name="T108" fmla="*/ 10588 w 11196"/>
                <a:gd name="T109" fmla="*/ 4759 h 11207"/>
                <a:gd name="T110" fmla="*/ 9378 w 11196"/>
                <a:gd name="T111" fmla="*/ 5555 h 1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96" h="11207">
                  <a:moveTo>
                    <a:pt x="9151" y="0"/>
                  </a:moveTo>
                  <a:lnTo>
                    <a:pt x="2033" y="0"/>
                  </a:lnTo>
                  <a:lnTo>
                    <a:pt x="0" y="3498"/>
                  </a:lnTo>
                  <a:lnTo>
                    <a:pt x="0" y="4897"/>
                  </a:lnTo>
                  <a:cubicBezTo>
                    <a:pt x="41" y="5249"/>
                    <a:pt x="190" y="5598"/>
                    <a:pt x="407" y="5868"/>
                  </a:cubicBezTo>
                  <a:lnTo>
                    <a:pt x="407" y="9881"/>
                  </a:lnTo>
                  <a:cubicBezTo>
                    <a:pt x="407" y="10654"/>
                    <a:pt x="1007" y="11207"/>
                    <a:pt x="1804" y="11207"/>
                  </a:cubicBezTo>
                  <a:lnTo>
                    <a:pt x="9380" y="11207"/>
                  </a:lnTo>
                  <a:cubicBezTo>
                    <a:pt x="10178" y="11207"/>
                    <a:pt x="10657" y="10654"/>
                    <a:pt x="10657" y="9881"/>
                  </a:cubicBezTo>
                  <a:lnTo>
                    <a:pt x="10657" y="5868"/>
                  </a:lnTo>
                  <a:cubicBezTo>
                    <a:pt x="10902" y="5579"/>
                    <a:pt x="11051" y="5362"/>
                    <a:pt x="11196" y="4897"/>
                  </a:cubicBezTo>
                  <a:lnTo>
                    <a:pt x="11196" y="3498"/>
                  </a:lnTo>
                  <a:lnTo>
                    <a:pt x="9151" y="0"/>
                  </a:lnTo>
                  <a:close/>
                  <a:moveTo>
                    <a:pt x="2295" y="533"/>
                  </a:moveTo>
                  <a:lnTo>
                    <a:pt x="8768" y="533"/>
                  </a:lnTo>
                  <a:lnTo>
                    <a:pt x="10387" y="3467"/>
                  </a:lnTo>
                  <a:lnTo>
                    <a:pt x="676" y="3467"/>
                  </a:lnTo>
                  <a:lnTo>
                    <a:pt x="2295" y="533"/>
                  </a:lnTo>
                  <a:close/>
                  <a:moveTo>
                    <a:pt x="9308" y="10681"/>
                  </a:moveTo>
                  <a:lnTo>
                    <a:pt x="1755" y="10681"/>
                  </a:lnTo>
                  <a:cubicBezTo>
                    <a:pt x="1357" y="10681"/>
                    <a:pt x="946" y="10268"/>
                    <a:pt x="946" y="9881"/>
                  </a:cubicBezTo>
                  <a:lnTo>
                    <a:pt x="946" y="9881"/>
                  </a:lnTo>
                  <a:lnTo>
                    <a:pt x="946" y="9068"/>
                  </a:lnTo>
                  <a:lnTo>
                    <a:pt x="10143" y="9068"/>
                  </a:lnTo>
                  <a:lnTo>
                    <a:pt x="10146" y="9807"/>
                  </a:lnTo>
                  <a:cubicBezTo>
                    <a:pt x="10146" y="10194"/>
                    <a:pt x="9706" y="10681"/>
                    <a:pt x="9308" y="10681"/>
                  </a:cubicBezTo>
                  <a:close/>
                  <a:moveTo>
                    <a:pt x="10143" y="8535"/>
                  </a:moveTo>
                  <a:lnTo>
                    <a:pt x="946" y="8535"/>
                  </a:lnTo>
                  <a:lnTo>
                    <a:pt x="946" y="8535"/>
                  </a:lnTo>
                  <a:lnTo>
                    <a:pt x="946" y="8535"/>
                  </a:lnTo>
                  <a:lnTo>
                    <a:pt x="946" y="6134"/>
                  </a:lnTo>
                  <a:cubicBezTo>
                    <a:pt x="1169" y="6319"/>
                    <a:pt x="1571" y="6401"/>
                    <a:pt x="1755" y="6401"/>
                  </a:cubicBezTo>
                  <a:cubicBezTo>
                    <a:pt x="2131" y="6401"/>
                    <a:pt x="2708" y="5961"/>
                    <a:pt x="2961" y="5449"/>
                  </a:cubicBezTo>
                  <a:cubicBezTo>
                    <a:pt x="3243" y="5947"/>
                    <a:pt x="3679" y="6401"/>
                    <a:pt x="4183" y="6401"/>
                  </a:cubicBezTo>
                  <a:cubicBezTo>
                    <a:pt x="4716" y="6401"/>
                    <a:pt x="5396" y="5979"/>
                    <a:pt x="5592" y="5521"/>
                  </a:cubicBezTo>
                  <a:cubicBezTo>
                    <a:pt x="5788" y="5968"/>
                    <a:pt x="6358" y="6401"/>
                    <a:pt x="6880" y="6401"/>
                  </a:cubicBezTo>
                  <a:cubicBezTo>
                    <a:pt x="7398" y="6401"/>
                    <a:pt x="7939" y="5916"/>
                    <a:pt x="8210" y="5396"/>
                  </a:cubicBezTo>
                  <a:cubicBezTo>
                    <a:pt x="8528" y="5921"/>
                    <a:pt x="8915" y="6401"/>
                    <a:pt x="9578" y="6401"/>
                  </a:cubicBezTo>
                  <a:cubicBezTo>
                    <a:pt x="9680" y="6401"/>
                    <a:pt x="10057" y="6313"/>
                    <a:pt x="10146" y="6296"/>
                  </a:cubicBezTo>
                  <a:lnTo>
                    <a:pt x="10143" y="8535"/>
                  </a:lnTo>
                  <a:close/>
                  <a:moveTo>
                    <a:pt x="9378" y="5555"/>
                  </a:moveTo>
                  <a:cubicBezTo>
                    <a:pt x="8816" y="5555"/>
                    <a:pt x="8160" y="5118"/>
                    <a:pt x="8160" y="4759"/>
                  </a:cubicBezTo>
                  <a:lnTo>
                    <a:pt x="7890" y="4759"/>
                  </a:lnTo>
                  <a:cubicBezTo>
                    <a:pt x="7890" y="5112"/>
                    <a:pt x="7352" y="5555"/>
                    <a:pt x="6812" y="5555"/>
                  </a:cubicBezTo>
                  <a:cubicBezTo>
                    <a:pt x="6295" y="5555"/>
                    <a:pt x="5733" y="5101"/>
                    <a:pt x="5733" y="4759"/>
                  </a:cubicBezTo>
                  <a:lnTo>
                    <a:pt x="5463" y="4759"/>
                  </a:lnTo>
                  <a:cubicBezTo>
                    <a:pt x="5463" y="5112"/>
                    <a:pt x="4742" y="5555"/>
                    <a:pt x="4225" y="5555"/>
                  </a:cubicBezTo>
                  <a:cubicBezTo>
                    <a:pt x="3685" y="5555"/>
                    <a:pt x="3035" y="5210"/>
                    <a:pt x="3035" y="4759"/>
                  </a:cubicBezTo>
                  <a:lnTo>
                    <a:pt x="2766" y="4759"/>
                  </a:lnTo>
                  <a:cubicBezTo>
                    <a:pt x="2766" y="5111"/>
                    <a:pt x="2198" y="5566"/>
                    <a:pt x="1679" y="5566"/>
                  </a:cubicBezTo>
                  <a:cubicBezTo>
                    <a:pt x="1153" y="5566"/>
                    <a:pt x="608" y="5242"/>
                    <a:pt x="608" y="4759"/>
                  </a:cubicBezTo>
                  <a:lnTo>
                    <a:pt x="608" y="3984"/>
                  </a:lnTo>
                  <a:lnTo>
                    <a:pt x="10588" y="3984"/>
                  </a:lnTo>
                  <a:lnTo>
                    <a:pt x="10588" y="4759"/>
                  </a:lnTo>
                  <a:lnTo>
                    <a:pt x="10588" y="4759"/>
                  </a:lnTo>
                  <a:cubicBezTo>
                    <a:pt x="10583" y="5242"/>
                    <a:pt x="9866" y="5555"/>
                    <a:pt x="9378" y="555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6" name="iconfont-11894-5689857"/>
            <p:cNvSpPr>
              <a:spLocks noChangeAspect="1"/>
            </p:cNvSpPr>
            <p:nvPr userDrawn="1"/>
          </p:nvSpPr>
          <p:spPr bwMode="auto">
            <a:xfrm>
              <a:off x="26969630" y="189426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67" name="iconfont-11894-5689857"/>
            <p:cNvSpPr>
              <a:spLocks noChangeAspect="1"/>
            </p:cNvSpPr>
            <p:nvPr userDrawn="1"/>
          </p:nvSpPr>
          <p:spPr bwMode="auto">
            <a:xfrm>
              <a:off x="28188999" y="18332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68" name="iconfont-11894-5689857"/>
            <p:cNvSpPr>
              <a:spLocks noChangeAspect="1"/>
            </p:cNvSpPr>
            <p:nvPr userDrawn="1"/>
          </p:nvSpPr>
          <p:spPr bwMode="auto">
            <a:xfrm>
              <a:off x="13556559" y="1653740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69" name="iconfont-11894-5689857"/>
            <p:cNvSpPr>
              <a:spLocks noChangeAspect="1"/>
            </p:cNvSpPr>
            <p:nvPr userDrawn="1"/>
          </p:nvSpPr>
          <p:spPr bwMode="auto">
            <a:xfrm>
              <a:off x="14775929" y="1689409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70" name="iconfont-11894-5689857"/>
            <p:cNvSpPr>
              <a:spLocks noChangeAspect="1"/>
            </p:cNvSpPr>
            <p:nvPr userDrawn="1"/>
          </p:nvSpPr>
          <p:spPr bwMode="auto">
            <a:xfrm>
              <a:off x="15995299" y="1676411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1" name="iconfont-11894-5689857"/>
            <p:cNvSpPr>
              <a:spLocks noChangeAspect="1"/>
            </p:cNvSpPr>
            <p:nvPr userDrawn="1"/>
          </p:nvSpPr>
          <p:spPr bwMode="auto">
            <a:xfrm>
              <a:off x="17214969" y="1653740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2" name="iconfont-11894-5689857"/>
            <p:cNvSpPr>
              <a:spLocks noChangeAspect="1"/>
            </p:cNvSpPr>
            <p:nvPr userDrawn="1"/>
          </p:nvSpPr>
          <p:spPr bwMode="auto">
            <a:xfrm>
              <a:off x="18434041" y="1653740"/>
              <a:ext cx="609685" cy="609685"/>
            </a:xfrm>
            <a:custGeom>
              <a:avLst/>
              <a:gdLst>
                <a:gd name="T0" fmla="*/ 8800 w 12800"/>
                <a:gd name="T1" fmla="*/ 12800 h 12800"/>
                <a:gd name="T2" fmla="*/ 1920 w 12800"/>
                <a:gd name="T3" fmla="*/ 12800 h 12800"/>
                <a:gd name="T4" fmla="*/ 0 w 12800"/>
                <a:gd name="T5" fmla="*/ 10880 h 12800"/>
                <a:gd name="T6" fmla="*/ 0 w 12800"/>
                <a:gd name="T7" fmla="*/ 1920 h 12800"/>
                <a:gd name="T8" fmla="*/ 1920 w 12800"/>
                <a:gd name="T9" fmla="*/ 0 h 12800"/>
                <a:gd name="T10" fmla="*/ 10880 w 12800"/>
                <a:gd name="T11" fmla="*/ 0 h 12800"/>
                <a:gd name="T12" fmla="*/ 12800 w 12800"/>
                <a:gd name="T13" fmla="*/ 1920 h 12800"/>
                <a:gd name="T14" fmla="*/ 12800 w 12800"/>
                <a:gd name="T15" fmla="*/ 8800 h 12800"/>
                <a:gd name="T16" fmla="*/ 12000 w 12800"/>
                <a:gd name="T17" fmla="*/ 8800 h 12800"/>
                <a:gd name="T18" fmla="*/ 12000 w 12800"/>
                <a:gd name="T19" fmla="*/ 1920 h 12800"/>
                <a:gd name="T20" fmla="*/ 10880 w 12800"/>
                <a:gd name="T21" fmla="*/ 800 h 12800"/>
                <a:gd name="T22" fmla="*/ 1920 w 12800"/>
                <a:gd name="T23" fmla="*/ 800 h 12800"/>
                <a:gd name="T24" fmla="*/ 800 w 12800"/>
                <a:gd name="T25" fmla="*/ 1920 h 12800"/>
                <a:gd name="T26" fmla="*/ 800 w 12800"/>
                <a:gd name="T27" fmla="*/ 10960 h 12800"/>
                <a:gd name="T28" fmla="*/ 1920 w 12800"/>
                <a:gd name="T29" fmla="*/ 12000 h 12800"/>
                <a:gd name="T30" fmla="*/ 8800 w 12800"/>
                <a:gd name="T31" fmla="*/ 12000 h 12800"/>
                <a:gd name="T32" fmla="*/ 8800 w 12800"/>
                <a:gd name="T33" fmla="*/ 12800 h 12800"/>
                <a:gd name="T34" fmla="*/ 12162 w 12800"/>
                <a:gd name="T35" fmla="*/ 12675 h 12800"/>
                <a:gd name="T36" fmla="*/ 9164 w 12800"/>
                <a:gd name="T37" fmla="*/ 9677 h 12800"/>
                <a:gd name="T38" fmla="*/ 9673 w 12800"/>
                <a:gd name="T39" fmla="*/ 9167 h 12800"/>
                <a:gd name="T40" fmla="*/ 12671 w 12800"/>
                <a:gd name="T41" fmla="*/ 12166 h 12800"/>
                <a:gd name="T42" fmla="*/ 12162 w 12800"/>
                <a:gd name="T43" fmla="*/ 12675 h 12800"/>
                <a:gd name="T44" fmla="*/ 8560 w 12800"/>
                <a:gd name="T45" fmla="*/ 10560 h 12800"/>
                <a:gd name="T46" fmla="*/ 6560 w 12800"/>
                <a:gd name="T47" fmla="*/ 8560 h 12800"/>
                <a:gd name="T48" fmla="*/ 8560 w 12800"/>
                <a:gd name="T49" fmla="*/ 6560 h 12800"/>
                <a:gd name="T50" fmla="*/ 10560 w 12800"/>
                <a:gd name="T51" fmla="*/ 8560 h 12800"/>
                <a:gd name="T52" fmla="*/ 8560 w 12800"/>
                <a:gd name="T53" fmla="*/ 10560 h 12800"/>
                <a:gd name="T54" fmla="*/ 8560 w 12800"/>
                <a:gd name="T55" fmla="*/ 7360 h 12800"/>
                <a:gd name="T56" fmla="*/ 7360 w 12800"/>
                <a:gd name="T57" fmla="*/ 8560 h 12800"/>
                <a:gd name="T58" fmla="*/ 8560 w 12800"/>
                <a:gd name="T59" fmla="*/ 9760 h 12800"/>
                <a:gd name="T60" fmla="*/ 9760 w 12800"/>
                <a:gd name="T61" fmla="*/ 8560 h 12800"/>
                <a:gd name="T62" fmla="*/ 8560 w 12800"/>
                <a:gd name="T63" fmla="*/ 7360 h 12800"/>
                <a:gd name="T64" fmla="*/ 2400 w 12800"/>
                <a:gd name="T65" fmla="*/ 2400 h 12800"/>
                <a:gd name="T66" fmla="*/ 5600 w 12800"/>
                <a:gd name="T67" fmla="*/ 2400 h 12800"/>
                <a:gd name="T68" fmla="*/ 5600 w 12800"/>
                <a:gd name="T69" fmla="*/ 5600 h 12800"/>
                <a:gd name="T70" fmla="*/ 2400 w 12800"/>
                <a:gd name="T71" fmla="*/ 5600 h 12800"/>
                <a:gd name="T72" fmla="*/ 2400 w 12800"/>
                <a:gd name="T73" fmla="*/ 2400 h 12800"/>
                <a:gd name="T74" fmla="*/ 7200 w 12800"/>
                <a:gd name="T75" fmla="*/ 2400 h 12800"/>
                <a:gd name="T76" fmla="*/ 10400 w 12800"/>
                <a:gd name="T77" fmla="*/ 2400 h 12800"/>
                <a:gd name="T78" fmla="*/ 10400 w 12800"/>
                <a:gd name="T79" fmla="*/ 5600 h 12800"/>
                <a:gd name="T80" fmla="*/ 7200 w 12800"/>
                <a:gd name="T81" fmla="*/ 5600 h 12800"/>
                <a:gd name="T82" fmla="*/ 7200 w 12800"/>
                <a:gd name="T83" fmla="*/ 2400 h 12800"/>
                <a:gd name="T84" fmla="*/ 2400 w 12800"/>
                <a:gd name="T85" fmla="*/ 6400 h 12800"/>
                <a:gd name="T86" fmla="*/ 5600 w 12800"/>
                <a:gd name="T87" fmla="*/ 6400 h 12800"/>
                <a:gd name="T88" fmla="*/ 5600 w 12800"/>
                <a:gd name="T89" fmla="*/ 9600 h 12800"/>
                <a:gd name="T90" fmla="*/ 2400 w 12800"/>
                <a:gd name="T91" fmla="*/ 9600 h 12800"/>
                <a:gd name="T92" fmla="*/ 2400 w 12800"/>
                <a:gd name="T93" fmla="*/ 64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00" h="12800">
                  <a:moveTo>
                    <a:pt x="8800" y="12800"/>
                  </a:moveTo>
                  <a:lnTo>
                    <a:pt x="1920" y="12800"/>
                  </a:lnTo>
                  <a:cubicBezTo>
                    <a:pt x="880" y="12800"/>
                    <a:pt x="0" y="11920"/>
                    <a:pt x="0" y="10880"/>
                  </a:cubicBezTo>
                  <a:lnTo>
                    <a:pt x="0" y="1920"/>
                  </a:lnTo>
                  <a:cubicBezTo>
                    <a:pt x="0" y="880"/>
                    <a:pt x="880" y="0"/>
                    <a:pt x="1920" y="0"/>
                  </a:cubicBezTo>
                  <a:lnTo>
                    <a:pt x="10880" y="0"/>
                  </a:lnTo>
                  <a:cubicBezTo>
                    <a:pt x="11920" y="0"/>
                    <a:pt x="12800" y="880"/>
                    <a:pt x="12800" y="1920"/>
                  </a:cubicBezTo>
                  <a:lnTo>
                    <a:pt x="12800" y="8800"/>
                  </a:lnTo>
                  <a:lnTo>
                    <a:pt x="12000" y="8800"/>
                  </a:lnTo>
                  <a:lnTo>
                    <a:pt x="12000" y="1920"/>
                  </a:lnTo>
                  <a:cubicBezTo>
                    <a:pt x="12000" y="1280"/>
                    <a:pt x="11520" y="800"/>
                    <a:pt x="10880" y="800"/>
                  </a:cubicBezTo>
                  <a:lnTo>
                    <a:pt x="1920" y="800"/>
                  </a:lnTo>
                  <a:cubicBezTo>
                    <a:pt x="1280" y="800"/>
                    <a:pt x="800" y="1280"/>
                    <a:pt x="800" y="1920"/>
                  </a:cubicBezTo>
                  <a:lnTo>
                    <a:pt x="800" y="10960"/>
                  </a:lnTo>
                  <a:cubicBezTo>
                    <a:pt x="800" y="11600"/>
                    <a:pt x="1280" y="12000"/>
                    <a:pt x="1920" y="12000"/>
                  </a:cubicBezTo>
                  <a:lnTo>
                    <a:pt x="8800" y="12000"/>
                  </a:lnTo>
                  <a:lnTo>
                    <a:pt x="8800" y="12800"/>
                  </a:lnTo>
                  <a:close/>
                  <a:moveTo>
                    <a:pt x="12162" y="12675"/>
                  </a:moveTo>
                  <a:lnTo>
                    <a:pt x="9164" y="9677"/>
                  </a:lnTo>
                  <a:lnTo>
                    <a:pt x="9673" y="9167"/>
                  </a:lnTo>
                  <a:lnTo>
                    <a:pt x="12671" y="12166"/>
                  </a:lnTo>
                  <a:lnTo>
                    <a:pt x="12162" y="12675"/>
                  </a:lnTo>
                  <a:close/>
                  <a:moveTo>
                    <a:pt x="8560" y="10560"/>
                  </a:moveTo>
                  <a:cubicBezTo>
                    <a:pt x="7440" y="10560"/>
                    <a:pt x="6560" y="9680"/>
                    <a:pt x="6560" y="8560"/>
                  </a:cubicBezTo>
                  <a:cubicBezTo>
                    <a:pt x="6560" y="7440"/>
                    <a:pt x="7440" y="6560"/>
                    <a:pt x="8560" y="6560"/>
                  </a:cubicBezTo>
                  <a:cubicBezTo>
                    <a:pt x="9680" y="6560"/>
                    <a:pt x="10560" y="7440"/>
                    <a:pt x="10560" y="8560"/>
                  </a:cubicBezTo>
                  <a:cubicBezTo>
                    <a:pt x="10560" y="9680"/>
                    <a:pt x="9680" y="10560"/>
                    <a:pt x="8560" y="10560"/>
                  </a:cubicBezTo>
                  <a:close/>
                  <a:moveTo>
                    <a:pt x="8560" y="7360"/>
                  </a:moveTo>
                  <a:cubicBezTo>
                    <a:pt x="7920" y="7360"/>
                    <a:pt x="7360" y="7920"/>
                    <a:pt x="7360" y="8560"/>
                  </a:cubicBezTo>
                  <a:cubicBezTo>
                    <a:pt x="7360" y="9200"/>
                    <a:pt x="7920" y="9760"/>
                    <a:pt x="8560" y="9760"/>
                  </a:cubicBezTo>
                  <a:cubicBezTo>
                    <a:pt x="9200" y="9760"/>
                    <a:pt x="9760" y="9200"/>
                    <a:pt x="9760" y="8560"/>
                  </a:cubicBezTo>
                  <a:cubicBezTo>
                    <a:pt x="9760" y="7920"/>
                    <a:pt x="9280" y="7360"/>
                    <a:pt x="8560" y="7360"/>
                  </a:cubicBezTo>
                  <a:close/>
                  <a:moveTo>
                    <a:pt x="2400" y="2400"/>
                  </a:moveTo>
                  <a:lnTo>
                    <a:pt x="5600" y="2400"/>
                  </a:lnTo>
                  <a:lnTo>
                    <a:pt x="5600" y="5600"/>
                  </a:lnTo>
                  <a:lnTo>
                    <a:pt x="2400" y="5600"/>
                  </a:lnTo>
                  <a:lnTo>
                    <a:pt x="2400" y="2400"/>
                  </a:lnTo>
                  <a:close/>
                  <a:moveTo>
                    <a:pt x="7200" y="2400"/>
                  </a:moveTo>
                  <a:lnTo>
                    <a:pt x="10400" y="2400"/>
                  </a:lnTo>
                  <a:lnTo>
                    <a:pt x="10400" y="5600"/>
                  </a:lnTo>
                  <a:lnTo>
                    <a:pt x="7200" y="5600"/>
                  </a:lnTo>
                  <a:lnTo>
                    <a:pt x="7200" y="2400"/>
                  </a:lnTo>
                  <a:close/>
                  <a:moveTo>
                    <a:pt x="2400" y="6400"/>
                  </a:moveTo>
                  <a:lnTo>
                    <a:pt x="5600" y="6400"/>
                  </a:lnTo>
                  <a:lnTo>
                    <a:pt x="5600" y="9600"/>
                  </a:lnTo>
                  <a:lnTo>
                    <a:pt x="2400" y="9600"/>
                  </a:lnTo>
                  <a:lnTo>
                    <a:pt x="2400" y="64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73" name="iconfont-11894-5689857"/>
            <p:cNvSpPr>
              <a:spLocks noChangeAspect="1"/>
            </p:cNvSpPr>
            <p:nvPr userDrawn="1"/>
          </p:nvSpPr>
          <p:spPr bwMode="auto">
            <a:xfrm>
              <a:off x="26969631" y="1653740"/>
              <a:ext cx="609685" cy="609685"/>
            </a:xfrm>
            <a:custGeom>
              <a:avLst/>
              <a:gdLst>
                <a:gd name="T0" fmla="*/ 12160 w 12960"/>
                <a:gd name="T1" fmla="*/ 0 h 12960"/>
                <a:gd name="T2" fmla="*/ 6800 w 12960"/>
                <a:gd name="T3" fmla="*/ 0 h 12960"/>
                <a:gd name="T4" fmla="*/ 5920 w 12960"/>
                <a:gd name="T5" fmla="*/ 640 h 12960"/>
                <a:gd name="T6" fmla="*/ 640 w 12960"/>
                <a:gd name="T7" fmla="*/ 5920 h 12960"/>
                <a:gd name="T8" fmla="*/ 640 w 12960"/>
                <a:gd name="T9" fmla="*/ 8240 h 12960"/>
                <a:gd name="T10" fmla="*/ 4720 w 12960"/>
                <a:gd name="T11" fmla="*/ 12320 h 12960"/>
                <a:gd name="T12" fmla="*/ 7040 w 12960"/>
                <a:gd name="T13" fmla="*/ 12320 h 12960"/>
                <a:gd name="T14" fmla="*/ 12320 w 12960"/>
                <a:gd name="T15" fmla="*/ 7040 h 12960"/>
                <a:gd name="T16" fmla="*/ 12960 w 12960"/>
                <a:gd name="T17" fmla="*/ 6080 h 12960"/>
                <a:gd name="T18" fmla="*/ 12960 w 12960"/>
                <a:gd name="T19" fmla="*/ 800 h 12960"/>
                <a:gd name="T20" fmla="*/ 12160 w 12960"/>
                <a:gd name="T21" fmla="*/ 0 h 12960"/>
                <a:gd name="T22" fmla="*/ 7120 w 12960"/>
                <a:gd name="T23" fmla="*/ 11120 h 12960"/>
                <a:gd name="T24" fmla="*/ 6560 w 12960"/>
                <a:gd name="T25" fmla="*/ 11680 h 12960"/>
                <a:gd name="T26" fmla="*/ 6560 w 12960"/>
                <a:gd name="T27" fmla="*/ 11680 h 12960"/>
                <a:gd name="T28" fmla="*/ 5360 w 12960"/>
                <a:gd name="T29" fmla="*/ 11680 h 12960"/>
                <a:gd name="T30" fmla="*/ 1280 w 12960"/>
                <a:gd name="T31" fmla="*/ 7600 h 12960"/>
                <a:gd name="T32" fmla="*/ 1280 w 12960"/>
                <a:gd name="T33" fmla="*/ 6400 h 12960"/>
                <a:gd name="T34" fmla="*/ 1840 w 12960"/>
                <a:gd name="T35" fmla="*/ 5840 h 12960"/>
                <a:gd name="T36" fmla="*/ 2400 w 12960"/>
                <a:gd name="T37" fmla="*/ 5280 h 12960"/>
                <a:gd name="T38" fmla="*/ 6480 w 12960"/>
                <a:gd name="T39" fmla="*/ 1200 h 12960"/>
                <a:gd name="T40" fmla="*/ 7200 w 12960"/>
                <a:gd name="T41" fmla="*/ 800 h 12960"/>
                <a:gd name="T42" fmla="*/ 11760 w 12960"/>
                <a:gd name="T43" fmla="*/ 800 h 12960"/>
                <a:gd name="T44" fmla="*/ 12160 w 12960"/>
                <a:gd name="T45" fmla="*/ 1120 h 12960"/>
                <a:gd name="T46" fmla="*/ 12160 w 12960"/>
                <a:gd name="T47" fmla="*/ 5680 h 12960"/>
                <a:gd name="T48" fmla="*/ 12160 w 12960"/>
                <a:gd name="T49" fmla="*/ 5680 h 12960"/>
                <a:gd name="T50" fmla="*/ 11760 w 12960"/>
                <a:gd name="T51" fmla="*/ 6400 h 12960"/>
                <a:gd name="T52" fmla="*/ 7680 w 12960"/>
                <a:gd name="T53" fmla="*/ 10480 h 12960"/>
                <a:gd name="T54" fmla="*/ 7120 w 12960"/>
                <a:gd name="T55" fmla="*/ 11120 h 12960"/>
                <a:gd name="T56" fmla="*/ 8000 w 12960"/>
                <a:gd name="T57" fmla="*/ 2640 h 12960"/>
                <a:gd name="T58" fmla="*/ 8000 w 12960"/>
                <a:gd name="T59" fmla="*/ 4960 h 12960"/>
                <a:gd name="T60" fmla="*/ 10320 w 12960"/>
                <a:gd name="T61" fmla="*/ 4960 h 12960"/>
                <a:gd name="T62" fmla="*/ 10320 w 12960"/>
                <a:gd name="T63" fmla="*/ 2640 h 12960"/>
                <a:gd name="T64" fmla="*/ 8000 w 12960"/>
                <a:gd name="T65" fmla="*/ 2640 h 12960"/>
                <a:gd name="T66" fmla="*/ 9760 w 12960"/>
                <a:gd name="T67" fmla="*/ 4400 h 12960"/>
                <a:gd name="T68" fmla="*/ 8560 w 12960"/>
                <a:gd name="T69" fmla="*/ 4400 h 12960"/>
                <a:gd name="T70" fmla="*/ 8560 w 12960"/>
                <a:gd name="T71" fmla="*/ 3200 h 12960"/>
                <a:gd name="T72" fmla="*/ 9760 w 12960"/>
                <a:gd name="T73" fmla="*/ 3200 h 12960"/>
                <a:gd name="T74" fmla="*/ 9760 w 12960"/>
                <a:gd name="T75" fmla="*/ 4400 h 12960"/>
                <a:gd name="T76" fmla="*/ 8357 w 12960"/>
                <a:gd name="T77" fmla="*/ 8327 h 12960"/>
                <a:gd name="T78" fmla="*/ 4680 w 12960"/>
                <a:gd name="T79" fmla="*/ 4651 h 12960"/>
                <a:gd name="T80" fmla="*/ 5472 w 12960"/>
                <a:gd name="T81" fmla="*/ 3859 h 12960"/>
                <a:gd name="T82" fmla="*/ 9149 w 12960"/>
                <a:gd name="T83" fmla="*/ 7536 h 12960"/>
                <a:gd name="T84" fmla="*/ 8357 w 12960"/>
                <a:gd name="T85" fmla="*/ 8327 h 12960"/>
                <a:gd name="T86" fmla="*/ 6739 w 12960"/>
                <a:gd name="T87" fmla="*/ 9999 h 12960"/>
                <a:gd name="T88" fmla="*/ 3062 w 12960"/>
                <a:gd name="T89" fmla="*/ 6322 h 12960"/>
                <a:gd name="T90" fmla="*/ 3854 w 12960"/>
                <a:gd name="T91" fmla="*/ 5530 h 12960"/>
                <a:gd name="T92" fmla="*/ 7531 w 12960"/>
                <a:gd name="T93" fmla="*/ 9207 h 12960"/>
                <a:gd name="T94" fmla="*/ 6739 w 12960"/>
                <a:gd name="T95" fmla="*/ 9999 h 12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960" h="12960">
                  <a:moveTo>
                    <a:pt x="12160" y="0"/>
                  </a:moveTo>
                  <a:lnTo>
                    <a:pt x="6800" y="0"/>
                  </a:lnTo>
                  <a:cubicBezTo>
                    <a:pt x="6400" y="0"/>
                    <a:pt x="6320" y="160"/>
                    <a:pt x="5920" y="640"/>
                  </a:cubicBezTo>
                  <a:lnTo>
                    <a:pt x="640" y="5920"/>
                  </a:lnTo>
                  <a:cubicBezTo>
                    <a:pt x="0" y="6560"/>
                    <a:pt x="0" y="7600"/>
                    <a:pt x="640" y="8240"/>
                  </a:cubicBezTo>
                  <a:lnTo>
                    <a:pt x="4720" y="12320"/>
                  </a:lnTo>
                  <a:cubicBezTo>
                    <a:pt x="5360" y="12960"/>
                    <a:pt x="6400" y="12960"/>
                    <a:pt x="7040" y="12320"/>
                  </a:cubicBezTo>
                  <a:lnTo>
                    <a:pt x="12320" y="7040"/>
                  </a:lnTo>
                  <a:cubicBezTo>
                    <a:pt x="12720" y="6720"/>
                    <a:pt x="12960" y="6560"/>
                    <a:pt x="12960" y="6080"/>
                  </a:cubicBezTo>
                  <a:lnTo>
                    <a:pt x="12960" y="800"/>
                  </a:lnTo>
                  <a:cubicBezTo>
                    <a:pt x="12960" y="320"/>
                    <a:pt x="12640" y="0"/>
                    <a:pt x="12160" y="0"/>
                  </a:cubicBezTo>
                  <a:close/>
                  <a:moveTo>
                    <a:pt x="7120" y="11120"/>
                  </a:moveTo>
                  <a:lnTo>
                    <a:pt x="6560" y="11680"/>
                  </a:lnTo>
                  <a:lnTo>
                    <a:pt x="6560" y="11680"/>
                  </a:lnTo>
                  <a:cubicBezTo>
                    <a:pt x="6240" y="12000"/>
                    <a:pt x="5680" y="12000"/>
                    <a:pt x="5360" y="11680"/>
                  </a:cubicBezTo>
                  <a:lnTo>
                    <a:pt x="1280" y="7600"/>
                  </a:lnTo>
                  <a:cubicBezTo>
                    <a:pt x="960" y="7280"/>
                    <a:pt x="960" y="6720"/>
                    <a:pt x="1280" y="6400"/>
                  </a:cubicBezTo>
                  <a:lnTo>
                    <a:pt x="1840" y="5840"/>
                  </a:lnTo>
                  <a:lnTo>
                    <a:pt x="2400" y="5280"/>
                  </a:lnTo>
                  <a:lnTo>
                    <a:pt x="6480" y="1200"/>
                  </a:lnTo>
                  <a:cubicBezTo>
                    <a:pt x="6720" y="1040"/>
                    <a:pt x="7040" y="800"/>
                    <a:pt x="7200" y="800"/>
                  </a:cubicBezTo>
                  <a:lnTo>
                    <a:pt x="11760" y="800"/>
                  </a:lnTo>
                  <a:cubicBezTo>
                    <a:pt x="12000" y="800"/>
                    <a:pt x="12160" y="960"/>
                    <a:pt x="12160" y="1120"/>
                  </a:cubicBezTo>
                  <a:lnTo>
                    <a:pt x="12160" y="5680"/>
                  </a:lnTo>
                  <a:lnTo>
                    <a:pt x="12160" y="5680"/>
                  </a:lnTo>
                  <a:cubicBezTo>
                    <a:pt x="12160" y="5920"/>
                    <a:pt x="12000" y="6240"/>
                    <a:pt x="11760" y="6400"/>
                  </a:cubicBezTo>
                  <a:lnTo>
                    <a:pt x="7680" y="10480"/>
                  </a:lnTo>
                  <a:lnTo>
                    <a:pt x="7120" y="11120"/>
                  </a:lnTo>
                  <a:close/>
                  <a:moveTo>
                    <a:pt x="8000" y="2640"/>
                  </a:moveTo>
                  <a:cubicBezTo>
                    <a:pt x="7360" y="3280"/>
                    <a:pt x="7360" y="4320"/>
                    <a:pt x="8000" y="4960"/>
                  </a:cubicBezTo>
                  <a:cubicBezTo>
                    <a:pt x="8640" y="5600"/>
                    <a:pt x="9680" y="5600"/>
                    <a:pt x="10320" y="4960"/>
                  </a:cubicBezTo>
                  <a:cubicBezTo>
                    <a:pt x="10960" y="4320"/>
                    <a:pt x="10960" y="3280"/>
                    <a:pt x="10320" y="2640"/>
                  </a:cubicBezTo>
                  <a:cubicBezTo>
                    <a:pt x="9680" y="2000"/>
                    <a:pt x="8640" y="2000"/>
                    <a:pt x="8000" y="2640"/>
                  </a:cubicBezTo>
                  <a:close/>
                  <a:moveTo>
                    <a:pt x="9760" y="4400"/>
                  </a:moveTo>
                  <a:cubicBezTo>
                    <a:pt x="9440" y="4720"/>
                    <a:pt x="8880" y="4720"/>
                    <a:pt x="8560" y="4400"/>
                  </a:cubicBezTo>
                  <a:cubicBezTo>
                    <a:pt x="8240" y="4080"/>
                    <a:pt x="8240" y="3520"/>
                    <a:pt x="8560" y="3200"/>
                  </a:cubicBezTo>
                  <a:cubicBezTo>
                    <a:pt x="8880" y="2880"/>
                    <a:pt x="9440" y="2880"/>
                    <a:pt x="9760" y="3200"/>
                  </a:cubicBezTo>
                  <a:cubicBezTo>
                    <a:pt x="10080" y="3600"/>
                    <a:pt x="10080" y="4080"/>
                    <a:pt x="9760" y="4400"/>
                  </a:cubicBezTo>
                  <a:close/>
                  <a:moveTo>
                    <a:pt x="8357" y="8327"/>
                  </a:moveTo>
                  <a:lnTo>
                    <a:pt x="4680" y="4651"/>
                  </a:lnTo>
                  <a:lnTo>
                    <a:pt x="5472" y="3859"/>
                  </a:lnTo>
                  <a:lnTo>
                    <a:pt x="9149" y="7536"/>
                  </a:lnTo>
                  <a:lnTo>
                    <a:pt x="8357" y="8327"/>
                  </a:lnTo>
                  <a:close/>
                  <a:moveTo>
                    <a:pt x="6739" y="9999"/>
                  </a:moveTo>
                  <a:lnTo>
                    <a:pt x="3062" y="6322"/>
                  </a:lnTo>
                  <a:lnTo>
                    <a:pt x="3854" y="5530"/>
                  </a:lnTo>
                  <a:lnTo>
                    <a:pt x="7531" y="9207"/>
                  </a:lnTo>
                  <a:lnTo>
                    <a:pt x="6739" y="99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74" name="iconfont-11894-5689857"/>
            <p:cNvSpPr>
              <a:spLocks noChangeAspect="1"/>
            </p:cNvSpPr>
            <p:nvPr userDrawn="1"/>
          </p:nvSpPr>
          <p:spPr bwMode="auto">
            <a:xfrm>
              <a:off x="28188999" y="1653740"/>
              <a:ext cx="609685" cy="609685"/>
            </a:xfrm>
            <a:custGeom>
              <a:avLst/>
              <a:gdLst>
                <a:gd name="T0" fmla="*/ 10880 w 12800"/>
                <a:gd name="T1" fmla="*/ 720 h 12800"/>
                <a:gd name="T2" fmla="*/ 6400 w 12800"/>
                <a:gd name="T3" fmla="*/ 0 h 12800"/>
                <a:gd name="T4" fmla="*/ 1920 w 12800"/>
                <a:gd name="T5" fmla="*/ 720 h 12800"/>
                <a:gd name="T6" fmla="*/ 0 w 12800"/>
                <a:gd name="T7" fmla="*/ 2720 h 12800"/>
                <a:gd name="T8" fmla="*/ 0 w 12800"/>
                <a:gd name="T9" fmla="*/ 10160 h 12800"/>
                <a:gd name="T10" fmla="*/ 1920 w 12800"/>
                <a:gd name="T11" fmla="*/ 12080 h 12800"/>
                <a:gd name="T12" fmla="*/ 6400 w 12800"/>
                <a:gd name="T13" fmla="*/ 12800 h 12800"/>
                <a:gd name="T14" fmla="*/ 10880 w 12800"/>
                <a:gd name="T15" fmla="*/ 12080 h 12800"/>
                <a:gd name="T16" fmla="*/ 12800 w 12800"/>
                <a:gd name="T17" fmla="*/ 10160 h 12800"/>
                <a:gd name="T18" fmla="*/ 12800 w 12800"/>
                <a:gd name="T19" fmla="*/ 2720 h 12800"/>
                <a:gd name="T20" fmla="*/ 10880 w 12800"/>
                <a:gd name="T21" fmla="*/ 720 h 12800"/>
                <a:gd name="T22" fmla="*/ 10160 w 12800"/>
                <a:gd name="T23" fmla="*/ 4000 h 12800"/>
                <a:gd name="T24" fmla="*/ 6400 w 12800"/>
                <a:gd name="T25" fmla="*/ 4560 h 12800"/>
                <a:gd name="T26" fmla="*/ 2640 w 12800"/>
                <a:gd name="T27" fmla="*/ 4000 h 12800"/>
                <a:gd name="T28" fmla="*/ 880 w 12800"/>
                <a:gd name="T29" fmla="*/ 2720 h 12800"/>
                <a:gd name="T30" fmla="*/ 2640 w 12800"/>
                <a:gd name="T31" fmla="*/ 1360 h 12800"/>
                <a:gd name="T32" fmla="*/ 6400 w 12800"/>
                <a:gd name="T33" fmla="*/ 800 h 12800"/>
                <a:gd name="T34" fmla="*/ 10160 w 12800"/>
                <a:gd name="T35" fmla="*/ 1360 h 12800"/>
                <a:gd name="T36" fmla="*/ 11920 w 12800"/>
                <a:gd name="T37" fmla="*/ 2720 h 12800"/>
                <a:gd name="T38" fmla="*/ 10160 w 12800"/>
                <a:gd name="T39" fmla="*/ 4000 h 12800"/>
                <a:gd name="T40" fmla="*/ 10240 w 12800"/>
                <a:gd name="T41" fmla="*/ 6320 h 12800"/>
                <a:gd name="T42" fmla="*/ 6400 w 12800"/>
                <a:gd name="T43" fmla="*/ 6880 h 12800"/>
                <a:gd name="T44" fmla="*/ 2560 w 12800"/>
                <a:gd name="T45" fmla="*/ 6320 h 12800"/>
                <a:gd name="T46" fmla="*/ 800 w 12800"/>
                <a:gd name="T47" fmla="*/ 4960 h 12800"/>
                <a:gd name="T48" fmla="*/ 800 w 12800"/>
                <a:gd name="T49" fmla="*/ 4080 h 12800"/>
                <a:gd name="T50" fmla="*/ 3040 w 12800"/>
                <a:gd name="T51" fmla="*/ 4960 h 12800"/>
                <a:gd name="T52" fmla="*/ 6400 w 12800"/>
                <a:gd name="T53" fmla="*/ 5360 h 12800"/>
                <a:gd name="T54" fmla="*/ 9760 w 12800"/>
                <a:gd name="T55" fmla="*/ 4960 h 12800"/>
                <a:gd name="T56" fmla="*/ 12000 w 12800"/>
                <a:gd name="T57" fmla="*/ 4080 h 12800"/>
                <a:gd name="T58" fmla="*/ 12000 w 12800"/>
                <a:gd name="T59" fmla="*/ 5040 h 12800"/>
                <a:gd name="T60" fmla="*/ 10240 w 12800"/>
                <a:gd name="T61" fmla="*/ 6320 h 12800"/>
                <a:gd name="T62" fmla="*/ 10240 w 12800"/>
                <a:gd name="T63" fmla="*/ 8880 h 12800"/>
                <a:gd name="T64" fmla="*/ 6400 w 12800"/>
                <a:gd name="T65" fmla="*/ 9440 h 12800"/>
                <a:gd name="T66" fmla="*/ 2560 w 12800"/>
                <a:gd name="T67" fmla="*/ 8880 h 12800"/>
                <a:gd name="T68" fmla="*/ 800 w 12800"/>
                <a:gd name="T69" fmla="*/ 7520 h 12800"/>
                <a:gd name="T70" fmla="*/ 800 w 12800"/>
                <a:gd name="T71" fmla="*/ 6320 h 12800"/>
                <a:gd name="T72" fmla="*/ 3040 w 12800"/>
                <a:gd name="T73" fmla="*/ 7280 h 12800"/>
                <a:gd name="T74" fmla="*/ 6400 w 12800"/>
                <a:gd name="T75" fmla="*/ 7680 h 12800"/>
                <a:gd name="T76" fmla="*/ 9760 w 12800"/>
                <a:gd name="T77" fmla="*/ 7280 h 12800"/>
                <a:gd name="T78" fmla="*/ 12000 w 12800"/>
                <a:gd name="T79" fmla="*/ 6320 h 12800"/>
                <a:gd name="T80" fmla="*/ 12000 w 12800"/>
                <a:gd name="T81" fmla="*/ 7520 h 12800"/>
                <a:gd name="T82" fmla="*/ 10240 w 12800"/>
                <a:gd name="T83" fmla="*/ 8880 h 12800"/>
                <a:gd name="T84" fmla="*/ 6400 w 12800"/>
                <a:gd name="T85" fmla="*/ 12000 h 12800"/>
                <a:gd name="T86" fmla="*/ 2560 w 12800"/>
                <a:gd name="T87" fmla="*/ 11440 h 12800"/>
                <a:gd name="T88" fmla="*/ 800 w 12800"/>
                <a:gd name="T89" fmla="*/ 10080 h 12800"/>
                <a:gd name="T90" fmla="*/ 800 w 12800"/>
                <a:gd name="T91" fmla="*/ 8880 h 12800"/>
                <a:gd name="T92" fmla="*/ 3040 w 12800"/>
                <a:gd name="T93" fmla="*/ 9840 h 12800"/>
                <a:gd name="T94" fmla="*/ 6320 w 12800"/>
                <a:gd name="T95" fmla="*/ 10240 h 12800"/>
                <a:gd name="T96" fmla="*/ 9680 w 12800"/>
                <a:gd name="T97" fmla="*/ 9840 h 12800"/>
                <a:gd name="T98" fmla="*/ 12000 w 12800"/>
                <a:gd name="T99" fmla="*/ 8880 h 12800"/>
                <a:gd name="T100" fmla="*/ 12000 w 12800"/>
                <a:gd name="T101" fmla="*/ 10080 h 12800"/>
                <a:gd name="T102" fmla="*/ 10240 w 12800"/>
                <a:gd name="T103" fmla="*/ 11440 h 12800"/>
                <a:gd name="T104" fmla="*/ 6400 w 12800"/>
                <a:gd name="T105" fmla="*/ 12000 h 12800"/>
                <a:gd name="T106" fmla="*/ 6400 w 12800"/>
                <a:gd name="T107" fmla="*/ 120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800" h="12800">
                  <a:moveTo>
                    <a:pt x="10880" y="720"/>
                  </a:moveTo>
                  <a:cubicBezTo>
                    <a:pt x="9760" y="240"/>
                    <a:pt x="8160" y="0"/>
                    <a:pt x="6400" y="0"/>
                  </a:cubicBezTo>
                  <a:cubicBezTo>
                    <a:pt x="4640" y="0"/>
                    <a:pt x="3040" y="240"/>
                    <a:pt x="1920" y="720"/>
                  </a:cubicBezTo>
                  <a:cubicBezTo>
                    <a:pt x="640" y="1280"/>
                    <a:pt x="0" y="1920"/>
                    <a:pt x="0" y="2720"/>
                  </a:cubicBezTo>
                  <a:lnTo>
                    <a:pt x="0" y="10160"/>
                  </a:lnTo>
                  <a:cubicBezTo>
                    <a:pt x="0" y="10880"/>
                    <a:pt x="640" y="11600"/>
                    <a:pt x="1920" y="12080"/>
                  </a:cubicBezTo>
                  <a:cubicBezTo>
                    <a:pt x="3040" y="12560"/>
                    <a:pt x="4640" y="12800"/>
                    <a:pt x="6400" y="12800"/>
                  </a:cubicBezTo>
                  <a:cubicBezTo>
                    <a:pt x="8160" y="12800"/>
                    <a:pt x="9760" y="12560"/>
                    <a:pt x="10880" y="12080"/>
                  </a:cubicBezTo>
                  <a:cubicBezTo>
                    <a:pt x="12080" y="11600"/>
                    <a:pt x="12800" y="10880"/>
                    <a:pt x="12800" y="10160"/>
                  </a:cubicBezTo>
                  <a:lnTo>
                    <a:pt x="12800" y="2720"/>
                  </a:lnTo>
                  <a:cubicBezTo>
                    <a:pt x="12800" y="1920"/>
                    <a:pt x="12160" y="1280"/>
                    <a:pt x="10880" y="720"/>
                  </a:cubicBezTo>
                  <a:close/>
                  <a:moveTo>
                    <a:pt x="10160" y="4000"/>
                  </a:moveTo>
                  <a:cubicBezTo>
                    <a:pt x="9120" y="4400"/>
                    <a:pt x="7680" y="4560"/>
                    <a:pt x="6400" y="4560"/>
                  </a:cubicBezTo>
                  <a:cubicBezTo>
                    <a:pt x="5040" y="4560"/>
                    <a:pt x="3680" y="4400"/>
                    <a:pt x="2640" y="4000"/>
                  </a:cubicBezTo>
                  <a:cubicBezTo>
                    <a:pt x="1440" y="3680"/>
                    <a:pt x="880" y="3200"/>
                    <a:pt x="880" y="2720"/>
                  </a:cubicBezTo>
                  <a:cubicBezTo>
                    <a:pt x="880" y="2240"/>
                    <a:pt x="1520" y="1760"/>
                    <a:pt x="2640" y="1360"/>
                  </a:cubicBezTo>
                  <a:cubicBezTo>
                    <a:pt x="3680" y="960"/>
                    <a:pt x="5040" y="800"/>
                    <a:pt x="6400" y="800"/>
                  </a:cubicBezTo>
                  <a:cubicBezTo>
                    <a:pt x="7680" y="800"/>
                    <a:pt x="9120" y="1040"/>
                    <a:pt x="10160" y="1360"/>
                  </a:cubicBezTo>
                  <a:cubicBezTo>
                    <a:pt x="11280" y="1760"/>
                    <a:pt x="11920" y="2240"/>
                    <a:pt x="11920" y="2720"/>
                  </a:cubicBezTo>
                  <a:cubicBezTo>
                    <a:pt x="11920" y="3200"/>
                    <a:pt x="11360" y="3680"/>
                    <a:pt x="10160" y="4000"/>
                  </a:cubicBezTo>
                  <a:close/>
                  <a:moveTo>
                    <a:pt x="10240" y="6320"/>
                  </a:moveTo>
                  <a:cubicBezTo>
                    <a:pt x="9200" y="6640"/>
                    <a:pt x="7760" y="6880"/>
                    <a:pt x="6400" y="6880"/>
                  </a:cubicBezTo>
                  <a:cubicBezTo>
                    <a:pt x="5040" y="6880"/>
                    <a:pt x="3680" y="6640"/>
                    <a:pt x="2560" y="6320"/>
                  </a:cubicBezTo>
                  <a:cubicBezTo>
                    <a:pt x="1440" y="5920"/>
                    <a:pt x="800" y="5440"/>
                    <a:pt x="800" y="4960"/>
                  </a:cubicBezTo>
                  <a:lnTo>
                    <a:pt x="800" y="4080"/>
                  </a:lnTo>
                  <a:cubicBezTo>
                    <a:pt x="1600" y="4400"/>
                    <a:pt x="2160" y="4800"/>
                    <a:pt x="3040" y="4960"/>
                  </a:cubicBezTo>
                  <a:cubicBezTo>
                    <a:pt x="4080" y="5200"/>
                    <a:pt x="5200" y="5360"/>
                    <a:pt x="6400" y="5360"/>
                  </a:cubicBezTo>
                  <a:cubicBezTo>
                    <a:pt x="7600" y="5360"/>
                    <a:pt x="8720" y="5200"/>
                    <a:pt x="9760" y="4960"/>
                  </a:cubicBezTo>
                  <a:cubicBezTo>
                    <a:pt x="10640" y="4800"/>
                    <a:pt x="11200" y="4400"/>
                    <a:pt x="12000" y="4080"/>
                  </a:cubicBezTo>
                  <a:lnTo>
                    <a:pt x="12000" y="5040"/>
                  </a:lnTo>
                  <a:cubicBezTo>
                    <a:pt x="12000" y="5440"/>
                    <a:pt x="11360" y="5920"/>
                    <a:pt x="10240" y="6320"/>
                  </a:cubicBezTo>
                  <a:close/>
                  <a:moveTo>
                    <a:pt x="10240" y="8880"/>
                  </a:moveTo>
                  <a:cubicBezTo>
                    <a:pt x="9200" y="9200"/>
                    <a:pt x="7760" y="9440"/>
                    <a:pt x="6400" y="9440"/>
                  </a:cubicBezTo>
                  <a:cubicBezTo>
                    <a:pt x="5040" y="9440"/>
                    <a:pt x="3680" y="9200"/>
                    <a:pt x="2560" y="8880"/>
                  </a:cubicBezTo>
                  <a:cubicBezTo>
                    <a:pt x="1440" y="8560"/>
                    <a:pt x="800" y="8080"/>
                    <a:pt x="800" y="7520"/>
                  </a:cubicBezTo>
                  <a:lnTo>
                    <a:pt x="800" y="6320"/>
                  </a:lnTo>
                  <a:cubicBezTo>
                    <a:pt x="1600" y="6720"/>
                    <a:pt x="2160" y="7040"/>
                    <a:pt x="3040" y="7280"/>
                  </a:cubicBezTo>
                  <a:cubicBezTo>
                    <a:pt x="4080" y="7520"/>
                    <a:pt x="5200" y="7680"/>
                    <a:pt x="6400" y="7680"/>
                  </a:cubicBezTo>
                  <a:cubicBezTo>
                    <a:pt x="7600" y="7680"/>
                    <a:pt x="8720" y="7520"/>
                    <a:pt x="9760" y="7280"/>
                  </a:cubicBezTo>
                  <a:cubicBezTo>
                    <a:pt x="10640" y="7040"/>
                    <a:pt x="11200" y="6720"/>
                    <a:pt x="12000" y="6320"/>
                  </a:cubicBezTo>
                  <a:lnTo>
                    <a:pt x="12000" y="7520"/>
                  </a:lnTo>
                  <a:cubicBezTo>
                    <a:pt x="12000" y="8080"/>
                    <a:pt x="11360" y="8560"/>
                    <a:pt x="10240" y="8880"/>
                  </a:cubicBezTo>
                  <a:close/>
                  <a:moveTo>
                    <a:pt x="6400" y="12000"/>
                  </a:moveTo>
                  <a:cubicBezTo>
                    <a:pt x="5040" y="12000"/>
                    <a:pt x="3680" y="11760"/>
                    <a:pt x="2560" y="11440"/>
                  </a:cubicBezTo>
                  <a:cubicBezTo>
                    <a:pt x="1440" y="11120"/>
                    <a:pt x="800" y="10640"/>
                    <a:pt x="800" y="10080"/>
                  </a:cubicBezTo>
                  <a:lnTo>
                    <a:pt x="800" y="8880"/>
                  </a:lnTo>
                  <a:cubicBezTo>
                    <a:pt x="1600" y="9280"/>
                    <a:pt x="2160" y="9600"/>
                    <a:pt x="3040" y="9840"/>
                  </a:cubicBezTo>
                  <a:cubicBezTo>
                    <a:pt x="4000" y="10080"/>
                    <a:pt x="5200" y="10240"/>
                    <a:pt x="6320" y="10240"/>
                  </a:cubicBezTo>
                  <a:cubicBezTo>
                    <a:pt x="7520" y="10240"/>
                    <a:pt x="8640" y="10080"/>
                    <a:pt x="9680" y="9840"/>
                  </a:cubicBezTo>
                  <a:cubicBezTo>
                    <a:pt x="10640" y="9600"/>
                    <a:pt x="11200" y="9280"/>
                    <a:pt x="12000" y="8880"/>
                  </a:cubicBezTo>
                  <a:lnTo>
                    <a:pt x="12000" y="10080"/>
                  </a:lnTo>
                  <a:cubicBezTo>
                    <a:pt x="12000" y="10560"/>
                    <a:pt x="11360" y="11040"/>
                    <a:pt x="10240" y="11440"/>
                  </a:cubicBezTo>
                  <a:cubicBezTo>
                    <a:pt x="9200" y="11840"/>
                    <a:pt x="7680" y="12000"/>
                    <a:pt x="6400" y="12000"/>
                  </a:cubicBezTo>
                  <a:close/>
                  <a:moveTo>
                    <a:pt x="6400" y="12000"/>
                  </a:move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75" name="iconfont-11894-5689857"/>
            <p:cNvSpPr>
              <a:spLocks noChangeAspect="1"/>
            </p:cNvSpPr>
            <p:nvPr userDrawn="1"/>
          </p:nvSpPr>
          <p:spPr bwMode="auto">
            <a:xfrm>
              <a:off x="13556559" y="312415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76" name="iconfont-11894-5689857"/>
            <p:cNvSpPr>
              <a:spLocks noChangeAspect="1"/>
            </p:cNvSpPr>
            <p:nvPr userDrawn="1"/>
          </p:nvSpPr>
          <p:spPr bwMode="auto">
            <a:xfrm>
              <a:off x="14775929" y="3159826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77" name="iconfont-11894-5689857"/>
            <p:cNvSpPr>
              <a:spLocks noChangeAspect="1"/>
            </p:cNvSpPr>
            <p:nvPr userDrawn="1"/>
          </p:nvSpPr>
          <p:spPr bwMode="auto">
            <a:xfrm>
              <a:off x="15995300" y="3159287"/>
              <a:ext cx="609685" cy="539426"/>
            </a:xfrm>
            <a:custGeom>
              <a:avLst/>
              <a:gdLst>
                <a:gd name="connsiteX0" fmla="*/ 381028 w 474177"/>
                <a:gd name="connsiteY0" fmla="*/ 267126 h 419534"/>
                <a:gd name="connsiteX1" fmla="*/ 321786 w 474177"/>
                <a:gd name="connsiteY1" fmla="*/ 326422 h 419534"/>
                <a:gd name="connsiteX2" fmla="*/ 381028 w 474177"/>
                <a:gd name="connsiteY2" fmla="*/ 385671 h 419534"/>
                <a:gd name="connsiteX3" fmla="*/ 440318 w 474177"/>
                <a:gd name="connsiteY3" fmla="*/ 326422 h 419534"/>
                <a:gd name="connsiteX4" fmla="*/ 381028 w 474177"/>
                <a:gd name="connsiteY4" fmla="*/ 267126 h 419534"/>
                <a:gd name="connsiteX5" fmla="*/ 93173 w 474177"/>
                <a:gd name="connsiteY5" fmla="*/ 267104 h 419534"/>
                <a:gd name="connsiteX6" fmla="*/ 33868 w 474177"/>
                <a:gd name="connsiteY6" fmla="*/ 326409 h 419534"/>
                <a:gd name="connsiteX7" fmla="*/ 93173 w 474177"/>
                <a:gd name="connsiteY7" fmla="*/ 385666 h 419534"/>
                <a:gd name="connsiteX8" fmla="*/ 152430 w 474177"/>
                <a:gd name="connsiteY8" fmla="*/ 326409 h 419534"/>
                <a:gd name="connsiteX9" fmla="*/ 93173 w 474177"/>
                <a:gd name="connsiteY9" fmla="*/ 267104 h 419534"/>
                <a:gd name="connsiteX10" fmla="*/ 381028 w 474177"/>
                <a:gd name="connsiteY10" fmla="*/ 233263 h 419534"/>
                <a:gd name="connsiteX11" fmla="*/ 474177 w 474177"/>
                <a:gd name="connsiteY11" fmla="*/ 326422 h 419534"/>
                <a:gd name="connsiteX12" fmla="*/ 381028 w 474177"/>
                <a:gd name="connsiteY12" fmla="*/ 419534 h 419534"/>
                <a:gd name="connsiteX13" fmla="*/ 287927 w 474177"/>
                <a:gd name="connsiteY13" fmla="*/ 326422 h 419534"/>
                <a:gd name="connsiteX14" fmla="*/ 295214 w 474177"/>
                <a:gd name="connsiteY14" fmla="*/ 290065 h 419534"/>
                <a:gd name="connsiteX15" fmla="*/ 298380 w 474177"/>
                <a:gd name="connsiteY15" fmla="*/ 285357 h 419534"/>
                <a:gd name="connsiteX16" fmla="*/ 309676 w 474177"/>
                <a:gd name="connsiteY16" fmla="*/ 288436 h 419534"/>
                <a:gd name="connsiteX17" fmla="*/ 324272 w 474177"/>
                <a:gd name="connsiteY17" fmla="*/ 280725 h 419534"/>
                <a:gd name="connsiteX18" fmla="*/ 329349 w 474177"/>
                <a:gd name="connsiteY18" fmla="*/ 265690 h 419534"/>
                <a:gd name="connsiteX19" fmla="*/ 323395 w 474177"/>
                <a:gd name="connsiteY19" fmla="*/ 254893 h 419534"/>
                <a:gd name="connsiteX20" fmla="*/ 344703 w 474177"/>
                <a:gd name="connsiteY20" fmla="*/ 240552 h 419534"/>
                <a:gd name="connsiteX21" fmla="*/ 381028 w 474177"/>
                <a:gd name="connsiteY21" fmla="*/ 233263 h 419534"/>
                <a:gd name="connsiteX22" fmla="*/ 93173 w 474177"/>
                <a:gd name="connsiteY22" fmla="*/ 233236 h 419534"/>
                <a:gd name="connsiteX23" fmla="*/ 129507 w 474177"/>
                <a:gd name="connsiteY23" fmla="*/ 240526 h 419534"/>
                <a:gd name="connsiteX24" fmla="*/ 144508 w 474177"/>
                <a:gd name="connsiteY24" fmla="*/ 250622 h 419534"/>
                <a:gd name="connsiteX25" fmla="*/ 143965 w 474177"/>
                <a:gd name="connsiteY25" fmla="*/ 251075 h 419534"/>
                <a:gd name="connsiteX26" fmla="*/ 141441 w 474177"/>
                <a:gd name="connsiteY26" fmla="*/ 280700 h 419534"/>
                <a:gd name="connsiteX27" fmla="*/ 171919 w 474177"/>
                <a:gd name="connsiteY27" fmla="*/ 284081 h 419534"/>
                <a:gd name="connsiteX28" fmla="*/ 173885 w 474177"/>
                <a:gd name="connsiteY28" fmla="*/ 282428 h 419534"/>
                <a:gd name="connsiteX29" fmla="*/ 179008 w 474177"/>
                <a:gd name="connsiteY29" fmla="*/ 290047 h 419534"/>
                <a:gd name="connsiteX30" fmla="*/ 186298 w 474177"/>
                <a:gd name="connsiteY30" fmla="*/ 326409 h 419534"/>
                <a:gd name="connsiteX31" fmla="*/ 93173 w 474177"/>
                <a:gd name="connsiteY31" fmla="*/ 419534 h 419534"/>
                <a:gd name="connsiteX32" fmla="*/ 0 w 474177"/>
                <a:gd name="connsiteY32" fmla="*/ 326409 h 419534"/>
                <a:gd name="connsiteX33" fmla="*/ 93173 w 474177"/>
                <a:gd name="connsiteY33" fmla="*/ 233236 h 419534"/>
                <a:gd name="connsiteX34" fmla="*/ 265967 w 474177"/>
                <a:gd name="connsiteY34" fmla="*/ 205002 h 419534"/>
                <a:gd name="connsiteX35" fmla="*/ 321748 w 474177"/>
                <a:gd name="connsiteY35" fmla="*/ 251906 h 419534"/>
                <a:gd name="connsiteX36" fmla="*/ 323395 w 474177"/>
                <a:gd name="connsiteY36" fmla="*/ 254893 h 419534"/>
                <a:gd name="connsiteX37" fmla="*/ 315119 w 474177"/>
                <a:gd name="connsiteY37" fmla="*/ 260464 h 419534"/>
                <a:gd name="connsiteX38" fmla="*/ 298380 w 474177"/>
                <a:gd name="connsiteY38" fmla="*/ 285357 h 419534"/>
                <a:gd name="connsiteX39" fmla="*/ 293795 w 474177"/>
                <a:gd name="connsiteY39" fmla="*/ 284107 h 419534"/>
                <a:gd name="connsiteX40" fmla="*/ 232947 w 474177"/>
                <a:gd name="connsiteY40" fmla="*/ 232767 h 419534"/>
                <a:gd name="connsiteX41" fmla="*/ 199590 w 474177"/>
                <a:gd name="connsiteY41" fmla="*/ 204623 h 419534"/>
                <a:gd name="connsiteX42" fmla="*/ 232947 w 474177"/>
                <a:gd name="connsiteY42" fmla="*/ 232767 h 419534"/>
                <a:gd name="connsiteX43" fmla="*/ 173885 w 474177"/>
                <a:gd name="connsiteY43" fmla="*/ 282428 h 419534"/>
                <a:gd name="connsiteX44" fmla="*/ 159099 w 474177"/>
                <a:gd name="connsiteY44" fmla="*/ 260441 h 419534"/>
                <a:gd name="connsiteX45" fmla="*/ 144508 w 474177"/>
                <a:gd name="connsiteY45" fmla="*/ 250622 h 419534"/>
                <a:gd name="connsiteX46" fmla="*/ 265117 w 474177"/>
                <a:gd name="connsiteY46" fmla="*/ 71012 h 419534"/>
                <a:gd name="connsiteX47" fmla="*/ 274319 w 474177"/>
                <a:gd name="connsiteY47" fmla="*/ 74084 h 419534"/>
                <a:gd name="connsiteX48" fmla="*/ 311440 w 474177"/>
                <a:gd name="connsiteY48" fmla="*/ 111217 h 419534"/>
                <a:gd name="connsiteX49" fmla="*/ 291612 w 474177"/>
                <a:gd name="connsiteY49" fmla="*/ 127776 h 419534"/>
                <a:gd name="connsiteX50" fmla="*/ 256557 w 474177"/>
                <a:gd name="connsiteY50" fmla="*/ 92710 h 419534"/>
                <a:gd name="connsiteX51" fmla="*/ 256557 w 474177"/>
                <a:gd name="connsiteY51" fmla="*/ 74942 h 419534"/>
                <a:gd name="connsiteX52" fmla="*/ 265117 w 474177"/>
                <a:gd name="connsiteY52" fmla="*/ 71012 h 419534"/>
                <a:gd name="connsiteX53" fmla="*/ 294653 w 474177"/>
                <a:gd name="connsiteY53" fmla="*/ 35976 h 419534"/>
                <a:gd name="connsiteX54" fmla="*/ 312415 w 474177"/>
                <a:gd name="connsiteY54" fmla="*/ 35976 h 419534"/>
                <a:gd name="connsiteX55" fmla="*/ 352965 w 474177"/>
                <a:gd name="connsiteY55" fmla="*/ 76540 h 419534"/>
                <a:gd name="connsiteX56" fmla="*/ 333604 w 474177"/>
                <a:gd name="connsiteY56" fmla="*/ 92708 h 419534"/>
                <a:gd name="connsiteX57" fmla="*/ 294653 w 474177"/>
                <a:gd name="connsiteY57" fmla="*/ 53744 h 419534"/>
                <a:gd name="connsiteX58" fmla="*/ 294653 w 474177"/>
                <a:gd name="connsiteY58" fmla="*/ 35976 h 419534"/>
                <a:gd name="connsiteX59" fmla="*/ 425805 w 474177"/>
                <a:gd name="connsiteY59" fmla="*/ 23290 h 419534"/>
                <a:gd name="connsiteX60" fmla="*/ 440318 w 474177"/>
                <a:gd name="connsiteY60" fmla="*/ 30893 h 419534"/>
                <a:gd name="connsiteX61" fmla="*/ 437746 w 474177"/>
                <a:gd name="connsiteY61" fmla="*/ 60565 h 419534"/>
                <a:gd name="connsiteX62" fmla="*/ 265967 w 474177"/>
                <a:gd name="connsiteY62" fmla="*/ 205002 h 419534"/>
                <a:gd name="connsiteX63" fmla="*/ 232667 w 474177"/>
                <a:gd name="connsiteY63" fmla="*/ 177000 h 419534"/>
                <a:gd name="connsiteX64" fmla="*/ 291612 w 474177"/>
                <a:gd name="connsiteY64" fmla="*/ 127776 h 419534"/>
                <a:gd name="connsiteX65" fmla="*/ 303129 w 474177"/>
                <a:gd name="connsiteY65" fmla="*/ 139297 h 419534"/>
                <a:gd name="connsiteX66" fmla="*/ 309034 w 474177"/>
                <a:gd name="connsiteY66" fmla="*/ 139297 h 419534"/>
                <a:gd name="connsiteX67" fmla="*/ 320891 w 474177"/>
                <a:gd name="connsiteY67" fmla="*/ 126578 h 419534"/>
                <a:gd name="connsiteX68" fmla="*/ 320891 w 474177"/>
                <a:gd name="connsiteY68" fmla="*/ 120671 h 419534"/>
                <a:gd name="connsiteX69" fmla="*/ 311440 w 474177"/>
                <a:gd name="connsiteY69" fmla="*/ 111217 h 419534"/>
                <a:gd name="connsiteX70" fmla="*/ 333604 w 474177"/>
                <a:gd name="connsiteY70" fmla="*/ 92708 h 419534"/>
                <a:gd name="connsiteX71" fmla="*/ 341224 w 474177"/>
                <a:gd name="connsiteY71" fmla="*/ 100331 h 419534"/>
                <a:gd name="connsiteX72" fmla="*/ 347129 w 474177"/>
                <a:gd name="connsiteY72" fmla="*/ 100331 h 419534"/>
                <a:gd name="connsiteX73" fmla="*/ 358986 w 474177"/>
                <a:gd name="connsiteY73" fmla="*/ 88470 h 419534"/>
                <a:gd name="connsiteX74" fmla="*/ 358986 w 474177"/>
                <a:gd name="connsiteY74" fmla="*/ 82563 h 419534"/>
                <a:gd name="connsiteX75" fmla="*/ 352965 w 474177"/>
                <a:gd name="connsiteY75" fmla="*/ 76540 h 419534"/>
                <a:gd name="connsiteX76" fmla="*/ 374636 w 474177"/>
                <a:gd name="connsiteY76" fmla="*/ 58443 h 419534"/>
                <a:gd name="connsiteX77" fmla="*/ 384368 w 474177"/>
                <a:gd name="connsiteY77" fmla="*/ 68178 h 419534"/>
                <a:gd name="connsiteX78" fmla="*/ 390320 w 474177"/>
                <a:gd name="connsiteY78" fmla="*/ 68178 h 419534"/>
                <a:gd name="connsiteX79" fmla="*/ 402177 w 474177"/>
                <a:gd name="connsiteY79" fmla="*/ 56316 h 419534"/>
                <a:gd name="connsiteX80" fmla="*/ 402177 w 474177"/>
                <a:gd name="connsiteY80" fmla="*/ 50362 h 419534"/>
                <a:gd name="connsiteX81" fmla="*/ 394044 w 474177"/>
                <a:gd name="connsiteY81" fmla="*/ 42235 h 419534"/>
                <a:gd name="connsiteX82" fmla="*/ 410649 w 474177"/>
                <a:gd name="connsiteY82" fmla="*/ 28368 h 419534"/>
                <a:gd name="connsiteX83" fmla="*/ 425805 w 474177"/>
                <a:gd name="connsiteY83" fmla="*/ 23290 h 419534"/>
                <a:gd name="connsiteX84" fmla="*/ 40775 w 474177"/>
                <a:gd name="connsiteY84" fmla="*/ 23276 h 419534"/>
                <a:gd name="connsiteX85" fmla="*/ 55888 w 474177"/>
                <a:gd name="connsiteY85" fmla="*/ 28355 h 419534"/>
                <a:gd name="connsiteX86" fmla="*/ 232667 w 474177"/>
                <a:gd name="connsiteY86" fmla="*/ 177000 h 419534"/>
                <a:gd name="connsiteX87" fmla="*/ 199590 w 474177"/>
                <a:gd name="connsiteY87" fmla="*/ 204623 h 419534"/>
                <a:gd name="connsiteX88" fmla="*/ 28841 w 474177"/>
                <a:gd name="connsiteY88" fmla="*/ 60556 h 419534"/>
                <a:gd name="connsiteX89" fmla="*/ 26269 w 474177"/>
                <a:gd name="connsiteY89" fmla="*/ 30879 h 419534"/>
                <a:gd name="connsiteX90" fmla="*/ 40775 w 474177"/>
                <a:gd name="connsiteY90" fmla="*/ 23276 h 419534"/>
                <a:gd name="connsiteX91" fmla="*/ 346701 w 474177"/>
                <a:gd name="connsiteY91" fmla="*/ 0 h 419534"/>
                <a:gd name="connsiteX92" fmla="*/ 355605 w 474177"/>
                <a:gd name="connsiteY92" fmla="*/ 3823 h 419534"/>
                <a:gd name="connsiteX93" fmla="*/ 394044 w 474177"/>
                <a:gd name="connsiteY93" fmla="*/ 42235 h 419534"/>
                <a:gd name="connsiteX94" fmla="*/ 374636 w 474177"/>
                <a:gd name="connsiteY94" fmla="*/ 58443 h 419534"/>
                <a:gd name="connsiteX95" fmla="*/ 337796 w 474177"/>
                <a:gd name="connsiteY95" fmla="*/ 21591 h 419534"/>
                <a:gd name="connsiteX96" fmla="*/ 337796 w 474177"/>
                <a:gd name="connsiteY96" fmla="*/ 3823 h 419534"/>
                <a:gd name="connsiteX97" fmla="*/ 346701 w 474177"/>
                <a:gd name="connsiteY97" fmla="*/ 0 h 419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474177" h="419534">
                  <a:moveTo>
                    <a:pt x="381028" y="267126"/>
                  </a:moveTo>
                  <a:cubicBezTo>
                    <a:pt x="348026" y="267126"/>
                    <a:pt x="321786" y="293416"/>
                    <a:pt x="321786" y="326422"/>
                  </a:cubicBezTo>
                  <a:cubicBezTo>
                    <a:pt x="321786" y="359428"/>
                    <a:pt x="348026" y="385671"/>
                    <a:pt x="381028" y="385671"/>
                  </a:cubicBezTo>
                  <a:cubicBezTo>
                    <a:pt x="414030" y="385671"/>
                    <a:pt x="440318" y="359428"/>
                    <a:pt x="440318" y="326422"/>
                  </a:cubicBezTo>
                  <a:cubicBezTo>
                    <a:pt x="440318" y="293416"/>
                    <a:pt x="414030" y="267126"/>
                    <a:pt x="381028" y="267126"/>
                  </a:cubicBezTo>
                  <a:close/>
                  <a:moveTo>
                    <a:pt x="93173" y="267104"/>
                  </a:moveTo>
                  <a:cubicBezTo>
                    <a:pt x="60115" y="267104"/>
                    <a:pt x="33868" y="293398"/>
                    <a:pt x="33868" y="326409"/>
                  </a:cubicBezTo>
                  <a:cubicBezTo>
                    <a:pt x="33868" y="359420"/>
                    <a:pt x="60115" y="385666"/>
                    <a:pt x="93173" y="385666"/>
                  </a:cubicBezTo>
                  <a:cubicBezTo>
                    <a:pt x="126183" y="385666"/>
                    <a:pt x="152430" y="359420"/>
                    <a:pt x="152430" y="326409"/>
                  </a:cubicBezTo>
                  <a:cubicBezTo>
                    <a:pt x="152430" y="293398"/>
                    <a:pt x="126183" y="267104"/>
                    <a:pt x="93173" y="267104"/>
                  </a:cubicBezTo>
                  <a:close/>
                  <a:moveTo>
                    <a:pt x="381028" y="233263"/>
                  </a:moveTo>
                  <a:cubicBezTo>
                    <a:pt x="432698" y="233263"/>
                    <a:pt x="474177" y="274746"/>
                    <a:pt x="474177" y="326422"/>
                  </a:cubicBezTo>
                  <a:cubicBezTo>
                    <a:pt x="474177" y="378050"/>
                    <a:pt x="432698" y="419534"/>
                    <a:pt x="381028" y="419534"/>
                  </a:cubicBezTo>
                  <a:cubicBezTo>
                    <a:pt x="329405" y="419534"/>
                    <a:pt x="287927" y="378050"/>
                    <a:pt x="287927" y="326422"/>
                  </a:cubicBezTo>
                  <a:cubicBezTo>
                    <a:pt x="287927" y="313503"/>
                    <a:pt x="290519" y="301221"/>
                    <a:pt x="295214" y="290065"/>
                  </a:cubicBezTo>
                  <a:lnTo>
                    <a:pt x="298380" y="285357"/>
                  </a:lnTo>
                  <a:lnTo>
                    <a:pt x="309676" y="288436"/>
                  </a:lnTo>
                  <a:cubicBezTo>
                    <a:pt x="315177" y="287906"/>
                    <a:pt x="320462" y="285369"/>
                    <a:pt x="324272" y="280725"/>
                  </a:cubicBezTo>
                  <a:cubicBezTo>
                    <a:pt x="328081" y="276485"/>
                    <a:pt x="329772" y="270984"/>
                    <a:pt x="329349" y="265690"/>
                  </a:cubicBezTo>
                  <a:lnTo>
                    <a:pt x="323395" y="254893"/>
                  </a:lnTo>
                  <a:lnTo>
                    <a:pt x="344703" y="240552"/>
                  </a:lnTo>
                  <a:cubicBezTo>
                    <a:pt x="355851" y="235855"/>
                    <a:pt x="368122" y="233263"/>
                    <a:pt x="381028" y="233263"/>
                  </a:cubicBezTo>
                  <a:close/>
                  <a:moveTo>
                    <a:pt x="93173" y="233236"/>
                  </a:moveTo>
                  <a:cubicBezTo>
                    <a:pt x="106082" y="233236"/>
                    <a:pt x="118357" y="235829"/>
                    <a:pt x="129507" y="240526"/>
                  </a:cubicBezTo>
                  <a:lnTo>
                    <a:pt x="144508" y="250622"/>
                  </a:lnTo>
                  <a:lnTo>
                    <a:pt x="143965" y="251075"/>
                  </a:lnTo>
                  <a:cubicBezTo>
                    <a:pt x="134678" y="258696"/>
                    <a:pt x="133821" y="272222"/>
                    <a:pt x="141441" y="280700"/>
                  </a:cubicBezTo>
                  <a:cubicBezTo>
                    <a:pt x="149060" y="289987"/>
                    <a:pt x="162585" y="290844"/>
                    <a:pt x="171919" y="284081"/>
                  </a:cubicBezTo>
                  <a:lnTo>
                    <a:pt x="173885" y="282428"/>
                  </a:lnTo>
                  <a:lnTo>
                    <a:pt x="179008" y="290047"/>
                  </a:lnTo>
                  <a:cubicBezTo>
                    <a:pt x="183705" y="301204"/>
                    <a:pt x="186298" y="313488"/>
                    <a:pt x="186298" y="326409"/>
                  </a:cubicBezTo>
                  <a:cubicBezTo>
                    <a:pt x="186298" y="378045"/>
                    <a:pt x="144808" y="419534"/>
                    <a:pt x="93173" y="419534"/>
                  </a:cubicBezTo>
                  <a:cubicBezTo>
                    <a:pt x="41490" y="419534"/>
                    <a:pt x="0" y="378045"/>
                    <a:pt x="0" y="326409"/>
                  </a:cubicBezTo>
                  <a:cubicBezTo>
                    <a:pt x="0" y="274726"/>
                    <a:pt x="41490" y="233236"/>
                    <a:pt x="93173" y="233236"/>
                  </a:cubicBezTo>
                  <a:close/>
                  <a:moveTo>
                    <a:pt x="265967" y="205002"/>
                  </a:moveTo>
                  <a:lnTo>
                    <a:pt x="321748" y="251906"/>
                  </a:lnTo>
                  <a:lnTo>
                    <a:pt x="323395" y="254893"/>
                  </a:lnTo>
                  <a:lnTo>
                    <a:pt x="315119" y="260464"/>
                  </a:lnTo>
                  <a:lnTo>
                    <a:pt x="298380" y="285357"/>
                  </a:lnTo>
                  <a:lnTo>
                    <a:pt x="293795" y="284107"/>
                  </a:lnTo>
                  <a:lnTo>
                    <a:pt x="232947" y="232767"/>
                  </a:lnTo>
                  <a:close/>
                  <a:moveTo>
                    <a:pt x="199590" y="204623"/>
                  </a:moveTo>
                  <a:lnTo>
                    <a:pt x="232947" y="232767"/>
                  </a:lnTo>
                  <a:lnTo>
                    <a:pt x="173885" y="282428"/>
                  </a:lnTo>
                  <a:lnTo>
                    <a:pt x="159099" y="260441"/>
                  </a:lnTo>
                  <a:lnTo>
                    <a:pt x="144508" y="250622"/>
                  </a:lnTo>
                  <a:close/>
                  <a:moveTo>
                    <a:pt x="265117" y="71012"/>
                  </a:moveTo>
                  <a:cubicBezTo>
                    <a:pt x="268390" y="70905"/>
                    <a:pt x="271771" y="71965"/>
                    <a:pt x="274319" y="74084"/>
                  </a:cubicBezTo>
                  <a:lnTo>
                    <a:pt x="311440" y="111217"/>
                  </a:lnTo>
                  <a:lnTo>
                    <a:pt x="291612" y="127776"/>
                  </a:lnTo>
                  <a:lnTo>
                    <a:pt x="256557" y="92710"/>
                  </a:lnTo>
                  <a:cubicBezTo>
                    <a:pt x="251462" y="87660"/>
                    <a:pt x="251462" y="80039"/>
                    <a:pt x="256557" y="74942"/>
                  </a:cubicBezTo>
                  <a:cubicBezTo>
                    <a:pt x="258676" y="72393"/>
                    <a:pt x="261843" y="71119"/>
                    <a:pt x="265117" y="71012"/>
                  </a:cubicBezTo>
                  <a:close/>
                  <a:moveTo>
                    <a:pt x="294653" y="35976"/>
                  </a:moveTo>
                  <a:cubicBezTo>
                    <a:pt x="298891" y="31737"/>
                    <a:pt x="307319" y="31737"/>
                    <a:pt x="312415" y="35976"/>
                  </a:cubicBezTo>
                  <a:lnTo>
                    <a:pt x="352965" y="76540"/>
                  </a:lnTo>
                  <a:lnTo>
                    <a:pt x="333604" y="92708"/>
                  </a:lnTo>
                  <a:lnTo>
                    <a:pt x="294653" y="53744"/>
                  </a:lnTo>
                  <a:cubicBezTo>
                    <a:pt x="289557" y="48695"/>
                    <a:pt x="289557" y="41073"/>
                    <a:pt x="294653" y="35976"/>
                  </a:cubicBezTo>
                  <a:close/>
                  <a:moveTo>
                    <a:pt x="425805" y="23290"/>
                  </a:moveTo>
                  <a:cubicBezTo>
                    <a:pt x="431210" y="23713"/>
                    <a:pt x="436508" y="26249"/>
                    <a:pt x="440318" y="30893"/>
                  </a:cubicBezTo>
                  <a:cubicBezTo>
                    <a:pt x="447937" y="39370"/>
                    <a:pt x="447080" y="52944"/>
                    <a:pt x="437746" y="60565"/>
                  </a:cubicBezTo>
                  <a:lnTo>
                    <a:pt x="265967" y="205002"/>
                  </a:lnTo>
                  <a:lnTo>
                    <a:pt x="232667" y="177000"/>
                  </a:lnTo>
                  <a:lnTo>
                    <a:pt x="291612" y="127776"/>
                  </a:lnTo>
                  <a:lnTo>
                    <a:pt x="303129" y="139297"/>
                  </a:lnTo>
                  <a:cubicBezTo>
                    <a:pt x="304795" y="141011"/>
                    <a:pt x="307319" y="141011"/>
                    <a:pt x="309034" y="139297"/>
                  </a:cubicBezTo>
                  <a:lnTo>
                    <a:pt x="320891" y="126578"/>
                  </a:lnTo>
                  <a:cubicBezTo>
                    <a:pt x="322558" y="124911"/>
                    <a:pt x="322558" y="122339"/>
                    <a:pt x="320891" y="120671"/>
                  </a:cubicBezTo>
                  <a:lnTo>
                    <a:pt x="311440" y="111217"/>
                  </a:lnTo>
                  <a:lnTo>
                    <a:pt x="333604" y="92708"/>
                  </a:lnTo>
                  <a:lnTo>
                    <a:pt x="341224" y="100331"/>
                  </a:lnTo>
                  <a:cubicBezTo>
                    <a:pt x="342891" y="102046"/>
                    <a:pt x="345415" y="102046"/>
                    <a:pt x="347129" y="100331"/>
                  </a:cubicBezTo>
                  <a:lnTo>
                    <a:pt x="358986" y="88470"/>
                  </a:lnTo>
                  <a:cubicBezTo>
                    <a:pt x="360653" y="86803"/>
                    <a:pt x="360653" y="84231"/>
                    <a:pt x="358986" y="82563"/>
                  </a:cubicBezTo>
                  <a:lnTo>
                    <a:pt x="352965" y="76540"/>
                  </a:lnTo>
                  <a:lnTo>
                    <a:pt x="374636" y="58443"/>
                  </a:lnTo>
                  <a:lnTo>
                    <a:pt x="384368" y="68178"/>
                  </a:lnTo>
                  <a:cubicBezTo>
                    <a:pt x="386082" y="69845"/>
                    <a:pt x="388606" y="69845"/>
                    <a:pt x="390320" y="68178"/>
                  </a:cubicBezTo>
                  <a:lnTo>
                    <a:pt x="402177" y="56316"/>
                  </a:lnTo>
                  <a:cubicBezTo>
                    <a:pt x="403844" y="54602"/>
                    <a:pt x="403844" y="52077"/>
                    <a:pt x="402177" y="50362"/>
                  </a:cubicBezTo>
                  <a:lnTo>
                    <a:pt x="394044" y="42235"/>
                  </a:lnTo>
                  <a:lnTo>
                    <a:pt x="410649" y="28368"/>
                  </a:lnTo>
                  <a:cubicBezTo>
                    <a:pt x="414887" y="24558"/>
                    <a:pt x="420400" y="22867"/>
                    <a:pt x="425805" y="23290"/>
                  </a:cubicBezTo>
                  <a:close/>
                  <a:moveTo>
                    <a:pt x="40775" y="23276"/>
                  </a:moveTo>
                  <a:cubicBezTo>
                    <a:pt x="46174" y="22853"/>
                    <a:pt x="51674" y="24544"/>
                    <a:pt x="55888" y="28355"/>
                  </a:cubicBezTo>
                  <a:lnTo>
                    <a:pt x="232667" y="177000"/>
                  </a:lnTo>
                  <a:lnTo>
                    <a:pt x="199590" y="204623"/>
                  </a:lnTo>
                  <a:lnTo>
                    <a:pt x="28841" y="60556"/>
                  </a:lnTo>
                  <a:cubicBezTo>
                    <a:pt x="19507" y="52934"/>
                    <a:pt x="18650" y="39358"/>
                    <a:pt x="26269" y="30879"/>
                  </a:cubicBezTo>
                  <a:cubicBezTo>
                    <a:pt x="30079" y="26235"/>
                    <a:pt x="35376" y="23698"/>
                    <a:pt x="40775" y="23276"/>
                  </a:cubicBezTo>
                  <a:close/>
                  <a:moveTo>
                    <a:pt x="346701" y="0"/>
                  </a:moveTo>
                  <a:cubicBezTo>
                    <a:pt x="349879" y="0"/>
                    <a:pt x="353058" y="1274"/>
                    <a:pt x="355605" y="3823"/>
                  </a:cubicBezTo>
                  <a:lnTo>
                    <a:pt x="394044" y="42235"/>
                  </a:lnTo>
                  <a:lnTo>
                    <a:pt x="374636" y="58443"/>
                  </a:lnTo>
                  <a:lnTo>
                    <a:pt x="337796" y="21591"/>
                  </a:lnTo>
                  <a:cubicBezTo>
                    <a:pt x="332748" y="16494"/>
                    <a:pt x="332748" y="8872"/>
                    <a:pt x="337796" y="3823"/>
                  </a:cubicBezTo>
                  <a:cubicBezTo>
                    <a:pt x="340343" y="1274"/>
                    <a:pt x="343522" y="0"/>
                    <a:pt x="346701" y="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78" name="iconfont-11894-5689857"/>
            <p:cNvSpPr>
              <a:spLocks noChangeAspect="1"/>
            </p:cNvSpPr>
            <p:nvPr userDrawn="1"/>
          </p:nvSpPr>
          <p:spPr bwMode="auto">
            <a:xfrm>
              <a:off x="17214969" y="3124157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79" name="iconfont-11894-5689857"/>
            <p:cNvSpPr>
              <a:spLocks noChangeAspect="1"/>
            </p:cNvSpPr>
            <p:nvPr userDrawn="1"/>
          </p:nvSpPr>
          <p:spPr bwMode="auto">
            <a:xfrm>
              <a:off x="18434041" y="3124157"/>
              <a:ext cx="609685" cy="609685"/>
            </a:xfrm>
            <a:custGeom>
              <a:avLst/>
              <a:gdLst>
                <a:gd name="T0" fmla="*/ 12800 w 12800"/>
                <a:gd name="T1" fmla="*/ 11360 h 12800"/>
                <a:gd name="T2" fmla="*/ 11360 w 12800"/>
                <a:gd name="T3" fmla="*/ 12800 h 12800"/>
                <a:gd name="T4" fmla="*/ 1440 w 12800"/>
                <a:gd name="T5" fmla="*/ 12800 h 12800"/>
                <a:gd name="T6" fmla="*/ 0 w 12800"/>
                <a:gd name="T7" fmla="*/ 11360 h 12800"/>
                <a:gd name="T8" fmla="*/ 0 w 12800"/>
                <a:gd name="T9" fmla="*/ 1440 h 12800"/>
                <a:gd name="T10" fmla="*/ 1440 w 12800"/>
                <a:gd name="T11" fmla="*/ 0 h 12800"/>
                <a:gd name="T12" fmla="*/ 11360 w 12800"/>
                <a:gd name="T13" fmla="*/ 0 h 12800"/>
                <a:gd name="T14" fmla="*/ 12800 w 12800"/>
                <a:gd name="T15" fmla="*/ 1440 h 12800"/>
                <a:gd name="T16" fmla="*/ 12800 w 12800"/>
                <a:gd name="T17" fmla="*/ 11360 h 12800"/>
                <a:gd name="T18" fmla="*/ 1600 w 12800"/>
                <a:gd name="T19" fmla="*/ 800 h 12800"/>
                <a:gd name="T20" fmla="*/ 800 w 12800"/>
                <a:gd name="T21" fmla="*/ 1600 h 12800"/>
                <a:gd name="T22" fmla="*/ 800 w 12800"/>
                <a:gd name="T23" fmla="*/ 11200 h 12800"/>
                <a:gd name="T24" fmla="*/ 1680 w 12800"/>
                <a:gd name="T25" fmla="*/ 12000 h 12800"/>
                <a:gd name="T26" fmla="*/ 11200 w 12800"/>
                <a:gd name="T27" fmla="*/ 12000 h 12800"/>
                <a:gd name="T28" fmla="*/ 12000 w 12800"/>
                <a:gd name="T29" fmla="*/ 11280 h 12800"/>
                <a:gd name="T30" fmla="*/ 12000 w 12800"/>
                <a:gd name="T31" fmla="*/ 1600 h 12800"/>
                <a:gd name="T32" fmla="*/ 11200 w 12800"/>
                <a:gd name="T33" fmla="*/ 800 h 12800"/>
                <a:gd name="T34" fmla="*/ 1600 w 12800"/>
                <a:gd name="T35" fmla="*/ 800 h 12800"/>
                <a:gd name="T36" fmla="*/ 4800 w 12800"/>
                <a:gd name="T37" fmla="*/ 4160 h 12800"/>
                <a:gd name="T38" fmla="*/ 9280 w 12800"/>
                <a:gd name="T39" fmla="*/ 6400 h 12800"/>
                <a:gd name="T40" fmla="*/ 4800 w 12800"/>
                <a:gd name="T41" fmla="*/ 8640 h 12800"/>
                <a:gd name="T42" fmla="*/ 4800 w 12800"/>
                <a:gd name="T43" fmla="*/ 416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800" h="12800">
                  <a:moveTo>
                    <a:pt x="12800" y="11360"/>
                  </a:moveTo>
                  <a:cubicBezTo>
                    <a:pt x="12800" y="12155"/>
                    <a:pt x="12155" y="12800"/>
                    <a:pt x="11360" y="12800"/>
                  </a:cubicBezTo>
                  <a:lnTo>
                    <a:pt x="1440" y="12800"/>
                  </a:lnTo>
                  <a:cubicBezTo>
                    <a:pt x="645" y="12800"/>
                    <a:pt x="0" y="12155"/>
                    <a:pt x="0" y="11360"/>
                  </a:cubicBezTo>
                  <a:lnTo>
                    <a:pt x="0" y="1440"/>
                  </a:lnTo>
                  <a:cubicBezTo>
                    <a:pt x="0" y="645"/>
                    <a:pt x="645" y="0"/>
                    <a:pt x="1440" y="0"/>
                  </a:cubicBezTo>
                  <a:lnTo>
                    <a:pt x="11360" y="0"/>
                  </a:lnTo>
                  <a:cubicBezTo>
                    <a:pt x="12155" y="0"/>
                    <a:pt x="12800" y="645"/>
                    <a:pt x="12800" y="1440"/>
                  </a:cubicBezTo>
                  <a:lnTo>
                    <a:pt x="12800" y="11360"/>
                  </a:lnTo>
                  <a:close/>
                  <a:moveTo>
                    <a:pt x="1600" y="800"/>
                  </a:moveTo>
                  <a:cubicBezTo>
                    <a:pt x="1120" y="800"/>
                    <a:pt x="800" y="1120"/>
                    <a:pt x="800" y="1600"/>
                  </a:cubicBezTo>
                  <a:lnTo>
                    <a:pt x="800" y="11200"/>
                  </a:lnTo>
                  <a:cubicBezTo>
                    <a:pt x="800" y="11680"/>
                    <a:pt x="1120" y="12000"/>
                    <a:pt x="1680" y="12000"/>
                  </a:cubicBezTo>
                  <a:lnTo>
                    <a:pt x="11200" y="12000"/>
                  </a:lnTo>
                  <a:cubicBezTo>
                    <a:pt x="11680" y="12000"/>
                    <a:pt x="12000" y="11760"/>
                    <a:pt x="12000" y="11280"/>
                  </a:cubicBezTo>
                  <a:lnTo>
                    <a:pt x="12000" y="1600"/>
                  </a:lnTo>
                  <a:cubicBezTo>
                    <a:pt x="12000" y="1120"/>
                    <a:pt x="11680" y="800"/>
                    <a:pt x="11200" y="800"/>
                  </a:cubicBezTo>
                  <a:lnTo>
                    <a:pt x="1600" y="800"/>
                  </a:lnTo>
                  <a:close/>
                  <a:moveTo>
                    <a:pt x="4800" y="4160"/>
                  </a:moveTo>
                  <a:lnTo>
                    <a:pt x="9280" y="6400"/>
                  </a:lnTo>
                  <a:lnTo>
                    <a:pt x="4800" y="8640"/>
                  </a:lnTo>
                  <a:lnTo>
                    <a:pt x="4800" y="416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0" name="iconfont-11894-5689857"/>
            <p:cNvSpPr>
              <a:spLocks noChangeAspect="1"/>
            </p:cNvSpPr>
            <p:nvPr userDrawn="1"/>
          </p:nvSpPr>
          <p:spPr bwMode="auto">
            <a:xfrm>
              <a:off x="19746077" y="3124157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1" name="iconfont-11894-5689857"/>
            <p:cNvSpPr>
              <a:spLocks noChangeAspect="1"/>
            </p:cNvSpPr>
            <p:nvPr userDrawn="1"/>
          </p:nvSpPr>
          <p:spPr bwMode="auto">
            <a:xfrm>
              <a:off x="20909778" y="3124157"/>
              <a:ext cx="535687" cy="609685"/>
            </a:xfrm>
            <a:custGeom>
              <a:avLst/>
              <a:gdLst>
                <a:gd name="T0" fmla="*/ 10960 w 11160"/>
                <a:gd name="T1" fmla="*/ 5780 h 12700"/>
                <a:gd name="T2" fmla="*/ 200 w 11160"/>
                <a:gd name="T3" fmla="*/ 5780 h 12700"/>
                <a:gd name="T4" fmla="*/ 60 w 11160"/>
                <a:gd name="T5" fmla="*/ 5720 h 12700"/>
                <a:gd name="T6" fmla="*/ 0 w 11160"/>
                <a:gd name="T7" fmla="*/ 5580 h 12700"/>
                <a:gd name="T8" fmla="*/ 1680 w 11160"/>
                <a:gd name="T9" fmla="*/ 1630 h 12700"/>
                <a:gd name="T10" fmla="*/ 5580 w 11160"/>
                <a:gd name="T11" fmla="*/ 0 h 12700"/>
                <a:gd name="T12" fmla="*/ 9480 w 11160"/>
                <a:gd name="T13" fmla="*/ 1630 h 12700"/>
                <a:gd name="T14" fmla="*/ 11160 w 11160"/>
                <a:gd name="T15" fmla="*/ 5580 h 12700"/>
                <a:gd name="T16" fmla="*/ 11100 w 11160"/>
                <a:gd name="T17" fmla="*/ 5720 h 12700"/>
                <a:gd name="T18" fmla="*/ 10960 w 11160"/>
                <a:gd name="T19" fmla="*/ 5780 h 12700"/>
                <a:gd name="T20" fmla="*/ 410 w 11160"/>
                <a:gd name="T21" fmla="*/ 5380 h 12700"/>
                <a:gd name="T22" fmla="*/ 10760 w 11160"/>
                <a:gd name="T23" fmla="*/ 5380 h 12700"/>
                <a:gd name="T24" fmla="*/ 5580 w 11160"/>
                <a:gd name="T25" fmla="*/ 400 h 12700"/>
                <a:gd name="T26" fmla="*/ 410 w 11160"/>
                <a:gd name="T27" fmla="*/ 5380 h 12700"/>
                <a:gd name="T28" fmla="*/ 5580 w 11160"/>
                <a:gd name="T29" fmla="*/ 12700 h 12700"/>
                <a:gd name="T30" fmla="*/ 5380 w 11160"/>
                <a:gd name="T31" fmla="*/ 12500 h 12700"/>
                <a:gd name="T32" fmla="*/ 5380 w 11160"/>
                <a:gd name="T33" fmla="*/ 5580 h 12700"/>
                <a:gd name="T34" fmla="*/ 5580 w 11160"/>
                <a:gd name="T35" fmla="*/ 5380 h 12700"/>
                <a:gd name="T36" fmla="*/ 5780 w 11160"/>
                <a:gd name="T37" fmla="*/ 5580 h 12700"/>
                <a:gd name="T38" fmla="*/ 5780 w 11160"/>
                <a:gd name="T39" fmla="*/ 12500 h 12700"/>
                <a:gd name="T40" fmla="*/ 5580 w 11160"/>
                <a:gd name="T41" fmla="*/ 12700 h 12700"/>
                <a:gd name="T42" fmla="*/ 7850 w 11160"/>
                <a:gd name="T43" fmla="*/ 12700 h 12700"/>
                <a:gd name="T44" fmla="*/ 3310 w 11160"/>
                <a:gd name="T45" fmla="*/ 12700 h 12700"/>
                <a:gd name="T46" fmla="*/ 3110 w 11160"/>
                <a:gd name="T47" fmla="*/ 12500 h 12700"/>
                <a:gd name="T48" fmla="*/ 3310 w 11160"/>
                <a:gd name="T49" fmla="*/ 12300 h 12700"/>
                <a:gd name="T50" fmla="*/ 7850 w 11160"/>
                <a:gd name="T51" fmla="*/ 12300 h 12700"/>
                <a:gd name="T52" fmla="*/ 8050 w 11160"/>
                <a:gd name="T53" fmla="*/ 12500 h 12700"/>
                <a:gd name="T54" fmla="*/ 7850 w 11160"/>
                <a:gd name="T55" fmla="*/ 12700 h 12700"/>
                <a:gd name="T56" fmla="*/ 8270 w 11160"/>
                <a:gd name="T57" fmla="*/ 5680 h 12700"/>
                <a:gd name="T58" fmla="*/ 2890 w 11160"/>
                <a:gd name="T59" fmla="*/ 5680 h 12700"/>
                <a:gd name="T60" fmla="*/ 2820 w 11160"/>
                <a:gd name="T61" fmla="*/ 5650 h 12700"/>
                <a:gd name="T62" fmla="*/ 2790 w 11160"/>
                <a:gd name="T63" fmla="*/ 5580 h 12700"/>
                <a:gd name="T64" fmla="*/ 5580 w 11160"/>
                <a:gd name="T65" fmla="*/ 100 h 12700"/>
                <a:gd name="T66" fmla="*/ 8370 w 11160"/>
                <a:gd name="T67" fmla="*/ 5580 h 12700"/>
                <a:gd name="T68" fmla="*/ 8340 w 11160"/>
                <a:gd name="T69" fmla="*/ 5650 h 12700"/>
                <a:gd name="T70" fmla="*/ 8270 w 11160"/>
                <a:gd name="T71" fmla="*/ 5680 h 12700"/>
                <a:gd name="T72" fmla="*/ 2990 w 11160"/>
                <a:gd name="T73" fmla="*/ 5480 h 12700"/>
                <a:gd name="T74" fmla="*/ 8170 w 11160"/>
                <a:gd name="T75" fmla="*/ 5480 h 12700"/>
                <a:gd name="T76" fmla="*/ 5580 w 11160"/>
                <a:gd name="T77" fmla="*/ 300 h 12700"/>
                <a:gd name="T78" fmla="*/ 2990 w 11160"/>
                <a:gd name="T79" fmla="*/ 5480 h 1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160" h="12700">
                  <a:moveTo>
                    <a:pt x="10960" y="5780"/>
                  </a:moveTo>
                  <a:lnTo>
                    <a:pt x="200" y="5780"/>
                  </a:lnTo>
                  <a:cubicBezTo>
                    <a:pt x="150" y="5780"/>
                    <a:pt x="90" y="5760"/>
                    <a:pt x="60" y="5720"/>
                  </a:cubicBezTo>
                  <a:cubicBezTo>
                    <a:pt x="20" y="5680"/>
                    <a:pt x="0" y="5630"/>
                    <a:pt x="0" y="5580"/>
                  </a:cubicBezTo>
                  <a:cubicBezTo>
                    <a:pt x="40" y="4080"/>
                    <a:pt x="640" y="2680"/>
                    <a:pt x="1680" y="1630"/>
                  </a:cubicBezTo>
                  <a:cubicBezTo>
                    <a:pt x="2730" y="580"/>
                    <a:pt x="4110" y="0"/>
                    <a:pt x="5580" y="0"/>
                  </a:cubicBezTo>
                  <a:cubicBezTo>
                    <a:pt x="7050" y="0"/>
                    <a:pt x="8430" y="580"/>
                    <a:pt x="9480" y="1630"/>
                  </a:cubicBezTo>
                  <a:cubicBezTo>
                    <a:pt x="10530" y="2680"/>
                    <a:pt x="11120" y="4080"/>
                    <a:pt x="11160" y="5580"/>
                  </a:cubicBezTo>
                  <a:cubicBezTo>
                    <a:pt x="11160" y="5630"/>
                    <a:pt x="11140" y="5690"/>
                    <a:pt x="11100" y="5720"/>
                  </a:cubicBezTo>
                  <a:cubicBezTo>
                    <a:pt x="11070" y="5760"/>
                    <a:pt x="11020" y="5780"/>
                    <a:pt x="10960" y="5780"/>
                  </a:cubicBezTo>
                  <a:close/>
                  <a:moveTo>
                    <a:pt x="410" y="5380"/>
                  </a:moveTo>
                  <a:lnTo>
                    <a:pt x="10760" y="5380"/>
                  </a:lnTo>
                  <a:cubicBezTo>
                    <a:pt x="10580" y="2570"/>
                    <a:pt x="8350" y="400"/>
                    <a:pt x="5580" y="400"/>
                  </a:cubicBezTo>
                  <a:cubicBezTo>
                    <a:pt x="2810" y="400"/>
                    <a:pt x="580" y="2570"/>
                    <a:pt x="410" y="5380"/>
                  </a:cubicBezTo>
                  <a:close/>
                  <a:moveTo>
                    <a:pt x="5580" y="12700"/>
                  </a:moveTo>
                  <a:cubicBezTo>
                    <a:pt x="5470" y="12700"/>
                    <a:pt x="5380" y="12610"/>
                    <a:pt x="5380" y="12500"/>
                  </a:cubicBezTo>
                  <a:lnTo>
                    <a:pt x="5380" y="5580"/>
                  </a:lnTo>
                  <a:cubicBezTo>
                    <a:pt x="5380" y="5470"/>
                    <a:pt x="5470" y="5380"/>
                    <a:pt x="5580" y="5380"/>
                  </a:cubicBezTo>
                  <a:cubicBezTo>
                    <a:pt x="5690" y="5380"/>
                    <a:pt x="5780" y="5470"/>
                    <a:pt x="5780" y="5580"/>
                  </a:cubicBezTo>
                  <a:lnTo>
                    <a:pt x="5780" y="12500"/>
                  </a:lnTo>
                  <a:cubicBezTo>
                    <a:pt x="5780" y="12610"/>
                    <a:pt x="5690" y="12700"/>
                    <a:pt x="5580" y="12700"/>
                  </a:cubicBezTo>
                  <a:close/>
                  <a:moveTo>
                    <a:pt x="7850" y="12700"/>
                  </a:moveTo>
                  <a:lnTo>
                    <a:pt x="3310" y="12700"/>
                  </a:lnTo>
                  <a:cubicBezTo>
                    <a:pt x="3200" y="12700"/>
                    <a:pt x="3110" y="12610"/>
                    <a:pt x="3110" y="12500"/>
                  </a:cubicBezTo>
                  <a:cubicBezTo>
                    <a:pt x="3110" y="12390"/>
                    <a:pt x="3200" y="12300"/>
                    <a:pt x="3310" y="12300"/>
                  </a:cubicBezTo>
                  <a:lnTo>
                    <a:pt x="7850" y="12300"/>
                  </a:lnTo>
                  <a:cubicBezTo>
                    <a:pt x="7960" y="12300"/>
                    <a:pt x="8050" y="12390"/>
                    <a:pt x="8050" y="12500"/>
                  </a:cubicBezTo>
                  <a:cubicBezTo>
                    <a:pt x="8050" y="12610"/>
                    <a:pt x="7960" y="12700"/>
                    <a:pt x="7850" y="12700"/>
                  </a:cubicBezTo>
                  <a:close/>
                  <a:moveTo>
                    <a:pt x="8270" y="5680"/>
                  </a:moveTo>
                  <a:lnTo>
                    <a:pt x="2890" y="5680"/>
                  </a:lnTo>
                  <a:cubicBezTo>
                    <a:pt x="2860" y="5680"/>
                    <a:pt x="2840" y="5670"/>
                    <a:pt x="2820" y="5650"/>
                  </a:cubicBezTo>
                  <a:cubicBezTo>
                    <a:pt x="2800" y="5630"/>
                    <a:pt x="2790" y="5610"/>
                    <a:pt x="2790" y="5580"/>
                  </a:cubicBezTo>
                  <a:cubicBezTo>
                    <a:pt x="2830" y="2510"/>
                    <a:pt x="4050" y="100"/>
                    <a:pt x="5580" y="100"/>
                  </a:cubicBezTo>
                  <a:cubicBezTo>
                    <a:pt x="7110" y="100"/>
                    <a:pt x="8330" y="2510"/>
                    <a:pt x="8370" y="5580"/>
                  </a:cubicBezTo>
                  <a:cubicBezTo>
                    <a:pt x="8370" y="5610"/>
                    <a:pt x="8360" y="5630"/>
                    <a:pt x="8340" y="5650"/>
                  </a:cubicBezTo>
                  <a:cubicBezTo>
                    <a:pt x="8320" y="5670"/>
                    <a:pt x="8300" y="5680"/>
                    <a:pt x="8270" y="5680"/>
                  </a:cubicBezTo>
                  <a:close/>
                  <a:moveTo>
                    <a:pt x="2990" y="5480"/>
                  </a:moveTo>
                  <a:lnTo>
                    <a:pt x="8170" y="5480"/>
                  </a:lnTo>
                  <a:cubicBezTo>
                    <a:pt x="8110" y="2620"/>
                    <a:pt x="6960" y="300"/>
                    <a:pt x="5580" y="300"/>
                  </a:cubicBezTo>
                  <a:cubicBezTo>
                    <a:pt x="4200" y="300"/>
                    <a:pt x="3050" y="2620"/>
                    <a:pt x="2990" y="548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2" name="iconfont-11894-5689857"/>
            <p:cNvSpPr>
              <a:spLocks noChangeAspect="1"/>
            </p:cNvSpPr>
            <p:nvPr userDrawn="1"/>
          </p:nvSpPr>
          <p:spPr bwMode="auto">
            <a:xfrm>
              <a:off x="22092150" y="3130556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3" name="iconfont-11894-5689857"/>
            <p:cNvSpPr>
              <a:spLocks noChangeAspect="1"/>
            </p:cNvSpPr>
            <p:nvPr userDrawn="1"/>
          </p:nvSpPr>
          <p:spPr bwMode="auto">
            <a:xfrm>
              <a:off x="23401954" y="3124157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4" name="iconfont-11894-5689857"/>
            <p:cNvSpPr>
              <a:spLocks noChangeAspect="1"/>
            </p:cNvSpPr>
            <p:nvPr userDrawn="1"/>
          </p:nvSpPr>
          <p:spPr bwMode="auto">
            <a:xfrm>
              <a:off x="24530889" y="312415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85" name="iconfont-11894-5689857"/>
            <p:cNvSpPr>
              <a:spLocks noChangeAspect="1"/>
            </p:cNvSpPr>
            <p:nvPr userDrawn="1"/>
          </p:nvSpPr>
          <p:spPr bwMode="auto">
            <a:xfrm>
              <a:off x="25750260" y="3193410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6" name="iconfont-11894-5689857"/>
            <p:cNvSpPr>
              <a:spLocks noChangeAspect="1"/>
            </p:cNvSpPr>
            <p:nvPr userDrawn="1"/>
          </p:nvSpPr>
          <p:spPr bwMode="auto">
            <a:xfrm>
              <a:off x="26969630" y="3130259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87" name="iconfont-11894-5689857"/>
            <p:cNvSpPr>
              <a:spLocks noChangeAspect="1"/>
            </p:cNvSpPr>
            <p:nvPr userDrawn="1"/>
          </p:nvSpPr>
          <p:spPr bwMode="auto">
            <a:xfrm>
              <a:off x="28188999" y="3124157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88" name="iconfont-11894-5689857"/>
            <p:cNvSpPr>
              <a:spLocks noChangeAspect="1"/>
            </p:cNvSpPr>
            <p:nvPr userDrawn="1"/>
          </p:nvSpPr>
          <p:spPr bwMode="auto">
            <a:xfrm>
              <a:off x="13556559" y="459457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89" name="iconfont-11894-5689857"/>
            <p:cNvSpPr>
              <a:spLocks noChangeAspect="1"/>
            </p:cNvSpPr>
            <p:nvPr userDrawn="1"/>
          </p:nvSpPr>
          <p:spPr bwMode="auto">
            <a:xfrm>
              <a:off x="14775929" y="4630243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0" name="iconfont-11894-5689857"/>
            <p:cNvSpPr>
              <a:spLocks noChangeAspect="1"/>
            </p:cNvSpPr>
            <p:nvPr userDrawn="1"/>
          </p:nvSpPr>
          <p:spPr bwMode="auto">
            <a:xfrm>
              <a:off x="15995299" y="4617245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1" name="iconfont-11894-5689857"/>
            <p:cNvSpPr>
              <a:spLocks noChangeAspect="1"/>
            </p:cNvSpPr>
            <p:nvPr userDrawn="1"/>
          </p:nvSpPr>
          <p:spPr bwMode="auto">
            <a:xfrm>
              <a:off x="17214969" y="459457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2" name="iconfont-11894-5689857"/>
            <p:cNvSpPr>
              <a:spLocks noChangeAspect="1"/>
            </p:cNvSpPr>
            <p:nvPr userDrawn="1"/>
          </p:nvSpPr>
          <p:spPr bwMode="auto">
            <a:xfrm>
              <a:off x="18434538" y="4594574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3" name="iconfont-11894-5689857"/>
            <p:cNvSpPr>
              <a:spLocks noChangeAspect="1"/>
            </p:cNvSpPr>
            <p:nvPr userDrawn="1"/>
          </p:nvSpPr>
          <p:spPr bwMode="auto">
            <a:xfrm>
              <a:off x="19653408" y="4670772"/>
              <a:ext cx="609685" cy="457288"/>
            </a:xfrm>
            <a:custGeom>
              <a:avLst/>
              <a:gdLst>
                <a:gd name="T0" fmla="*/ 5520 w 12800"/>
                <a:gd name="T1" fmla="*/ 1120 h 9600"/>
                <a:gd name="T2" fmla="*/ 5680 w 12800"/>
                <a:gd name="T3" fmla="*/ 160 h 9600"/>
                <a:gd name="T4" fmla="*/ 9440 w 12800"/>
                <a:gd name="T5" fmla="*/ 640 h 9600"/>
                <a:gd name="T6" fmla="*/ 12080 w 12800"/>
                <a:gd name="T7" fmla="*/ 1600 h 9600"/>
                <a:gd name="T8" fmla="*/ 8880 w 12800"/>
                <a:gd name="T9" fmla="*/ 6880 h 9600"/>
                <a:gd name="T10" fmla="*/ 8720 w 12800"/>
                <a:gd name="T11" fmla="*/ 8400 h 9600"/>
                <a:gd name="T12" fmla="*/ 6560 w 12800"/>
                <a:gd name="T13" fmla="*/ 9040 h 9600"/>
                <a:gd name="T14" fmla="*/ 4720 w 12800"/>
                <a:gd name="T15" fmla="*/ 8080 h 9600"/>
                <a:gd name="T16" fmla="*/ 4080 w 12800"/>
                <a:gd name="T17" fmla="*/ 8640 h 9600"/>
                <a:gd name="T18" fmla="*/ 2080 w 12800"/>
                <a:gd name="T19" fmla="*/ 8400 h 9600"/>
                <a:gd name="T20" fmla="*/ 1280 w 12800"/>
                <a:gd name="T21" fmla="*/ 6400 h 9600"/>
                <a:gd name="T22" fmla="*/ 720 w 12800"/>
                <a:gd name="T23" fmla="*/ 4160 h 9600"/>
                <a:gd name="T24" fmla="*/ 1520 w 12800"/>
                <a:gd name="T25" fmla="*/ 2960 h 9600"/>
                <a:gd name="T26" fmla="*/ 1360 w 12800"/>
                <a:gd name="T27" fmla="*/ 3920 h 9600"/>
                <a:gd name="T28" fmla="*/ 5120 w 12800"/>
                <a:gd name="T29" fmla="*/ 1600 h 9600"/>
                <a:gd name="T30" fmla="*/ 6160 w 12800"/>
                <a:gd name="T31" fmla="*/ 1360 h 9600"/>
                <a:gd name="T32" fmla="*/ 5360 w 12800"/>
                <a:gd name="T33" fmla="*/ 1840 h 9600"/>
                <a:gd name="T34" fmla="*/ 4800 w 12800"/>
                <a:gd name="T35" fmla="*/ 4240 h 9600"/>
                <a:gd name="T36" fmla="*/ 6480 w 12800"/>
                <a:gd name="T37" fmla="*/ 5520 h 9600"/>
                <a:gd name="T38" fmla="*/ 6800 w 12800"/>
                <a:gd name="T39" fmla="*/ 5840 h 9600"/>
                <a:gd name="T40" fmla="*/ 3920 w 12800"/>
                <a:gd name="T41" fmla="*/ 5440 h 9600"/>
                <a:gd name="T42" fmla="*/ 1840 w 12800"/>
                <a:gd name="T43" fmla="*/ 4480 h 9600"/>
                <a:gd name="T44" fmla="*/ 2320 w 12800"/>
                <a:gd name="T45" fmla="*/ 8800 h 9600"/>
                <a:gd name="T46" fmla="*/ 3760 w 12800"/>
                <a:gd name="T47" fmla="*/ 8160 h 9600"/>
                <a:gd name="T48" fmla="*/ 5520 w 12800"/>
                <a:gd name="T49" fmla="*/ 7440 h 9600"/>
                <a:gd name="T50" fmla="*/ 5840 w 12800"/>
                <a:gd name="T51" fmla="*/ 7680 h 9600"/>
                <a:gd name="T52" fmla="*/ 5040 w 12800"/>
                <a:gd name="T53" fmla="*/ 8160 h 9600"/>
                <a:gd name="T54" fmla="*/ 6320 w 12800"/>
                <a:gd name="T55" fmla="*/ 8720 h 9600"/>
                <a:gd name="T56" fmla="*/ 7520 w 12800"/>
                <a:gd name="T57" fmla="*/ 7520 h 9600"/>
                <a:gd name="T58" fmla="*/ 8320 w 12800"/>
                <a:gd name="T59" fmla="*/ 5920 h 9600"/>
                <a:gd name="T60" fmla="*/ 8800 w 12800"/>
                <a:gd name="T61" fmla="*/ 5280 h 9600"/>
                <a:gd name="T62" fmla="*/ 8400 w 12800"/>
                <a:gd name="T63" fmla="*/ 5680 h 9600"/>
                <a:gd name="T64" fmla="*/ 9120 w 12800"/>
                <a:gd name="T65" fmla="*/ 5120 h 9600"/>
                <a:gd name="T66" fmla="*/ 12080 w 12800"/>
                <a:gd name="T67" fmla="*/ 2080 h 9600"/>
                <a:gd name="T68" fmla="*/ 10720 w 12800"/>
                <a:gd name="T69" fmla="*/ 4160 h 9600"/>
                <a:gd name="T70" fmla="*/ 10480 w 12800"/>
                <a:gd name="T71" fmla="*/ 3280 h 9600"/>
                <a:gd name="T72" fmla="*/ 10240 w 12800"/>
                <a:gd name="T73" fmla="*/ 3200 h 9600"/>
                <a:gd name="T74" fmla="*/ 10240 w 12800"/>
                <a:gd name="T75" fmla="*/ 2800 h 9600"/>
                <a:gd name="T76" fmla="*/ 10160 w 12800"/>
                <a:gd name="T77" fmla="*/ 2480 h 9600"/>
                <a:gd name="T78" fmla="*/ 10320 w 12800"/>
                <a:gd name="T79" fmla="*/ 2240 h 9600"/>
                <a:gd name="T80" fmla="*/ 10160 w 12800"/>
                <a:gd name="T81" fmla="*/ 1600 h 9600"/>
                <a:gd name="T82" fmla="*/ 9360 w 12800"/>
                <a:gd name="T83" fmla="*/ 960 h 9600"/>
                <a:gd name="T84" fmla="*/ 7760 w 12800"/>
                <a:gd name="T85" fmla="*/ 2720 h 9600"/>
                <a:gd name="T86" fmla="*/ 6640 w 12800"/>
                <a:gd name="T87" fmla="*/ 1920 h 9600"/>
                <a:gd name="T88" fmla="*/ 5200 w 12800"/>
                <a:gd name="T89" fmla="*/ 3360 h 9600"/>
                <a:gd name="T90" fmla="*/ 6000 w 12800"/>
                <a:gd name="T91" fmla="*/ 1920 h 9600"/>
                <a:gd name="T92" fmla="*/ 11520 w 12800"/>
                <a:gd name="T93" fmla="*/ 2400 h 9600"/>
                <a:gd name="T94" fmla="*/ 9040 w 12800"/>
                <a:gd name="T95" fmla="*/ 2720 h 9600"/>
                <a:gd name="T96" fmla="*/ 8480 w 12800"/>
                <a:gd name="T97" fmla="*/ 3680 h 9600"/>
                <a:gd name="T98" fmla="*/ 8000 w 12800"/>
                <a:gd name="T99" fmla="*/ 3360 h 9600"/>
                <a:gd name="T100" fmla="*/ 9120 w 12800"/>
                <a:gd name="T101" fmla="*/ 2480 h 9600"/>
                <a:gd name="T102" fmla="*/ 160 w 12800"/>
                <a:gd name="T103" fmla="*/ 4160 h 9600"/>
                <a:gd name="T104" fmla="*/ 480 w 12800"/>
                <a:gd name="T105" fmla="*/ 3120 h 9600"/>
                <a:gd name="T106" fmla="*/ 1120 w 12800"/>
                <a:gd name="T107" fmla="*/ 3440 h 9600"/>
                <a:gd name="T108" fmla="*/ 1120 w 12800"/>
                <a:gd name="T109" fmla="*/ 3440 h 9600"/>
                <a:gd name="T110" fmla="*/ 1200 w 12800"/>
                <a:gd name="T111" fmla="*/ 4480 h 9600"/>
                <a:gd name="T112" fmla="*/ 9760 w 12800"/>
                <a:gd name="T113" fmla="*/ 6320 h 9600"/>
                <a:gd name="T114" fmla="*/ 1360 w 12800"/>
                <a:gd name="T115" fmla="*/ 7600 h 9600"/>
                <a:gd name="T116" fmla="*/ 8000 w 12800"/>
                <a:gd name="T117" fmla="*/ 7440 h 9600"/>
                <a:gd name="T118" fmla="*/ 8400 w 12800"/>
                <a:gd name="T119" fmla="*/ 8240 h 9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800" h="9600">
                  <a:moveTo>
                    <a:pt x="6480" y="0"/>
                  </a:moveTo>
                  <a:lnTo>
                    <a:pt x="6480" y="0"/>
                  </a:lnTo>
                  <a:lnTo>
                    <a:pt x="6480" y="0"/>
                  </a:lnTo>
                  <a:cubicBezTo>
                    <a:pt x="6560" y="0"/>
                    <a:pt x="6560" y="0"/>
                    <a:pt x="6560" y="80"/>
                  </a:cubicBezTo>
                  <a:cubicBezTo>
                    <a:pt x="6560" y="80"/>
                    <a:pt x="6560" y="160"/>
                    <a:pt x="6480" y="160"/>
                  </a:cubicBezTo>
                  <a:cubicBezTo>
                    <a:pt x="6000" y="400"/>
                    <a:pt x="5840" y="560"/>
                    <a:pt x="5600" y="1040"/>
                  </a:cubicBezTo>
                  <a:lnTo>
                    <a:pt x="5520" y="1120"/>
                  </a:lnTo>
                  <a:cubicBezTo>
                    <a:pt x="5440" y="1120"/>
                    <a:pt x="5440" y="1120"/>
                    <a:pt x="5440" y="1040"/>
                  </a:cubicBezTo>
                  <a:lnTo>
                    <a:pt x="5440" y="1040"/>
                  </a:lnTo>
                  <a:cubicBezTo>
                    <a:pt x="5440" y="880"/>
                    <a:pt x="5520" y="720"/>
                    <a:pt x="5600" y="640"/>
                  </a:cubicBezTo>
                  <a:lnTo>
                    <a:pt x="5600" y="640"/>
                  </a:lnTo>
                  <a:cubicBezTo>
                    <a:pt x="5520" y="640"/>
                    <a:pt x="5520" y="640"/>
                    <a:pt x="5520" y="560"/>
                  </a:cubicBezTo>
                  <a:lnTo>
                    <a:pt x="5520" y="560"/>
                  </a:lnTo>
                  <a:cubicBezTo>
                    <a:pt x="5520" y="400"/>
                    <a:pt x="5600" y="240"/>
                    <a:pt x="5680" y="160"/>
                  </a:cubicBezTo>
                  <a:cubicBezTo>
                    <a:pt x="5760" y="80"/>
                    <a:pt x="5840" y="80"/>
                    <a:pt x="6000" y="0"/>
                  </a:cubicBezTo>
                  <a:lnTo>
                    <a:pt x="6000" y="0"/>
                  </a:lnTo>
                  <a:cubicBezTo>
                    <a:pt x="6000" y="0"/>
                    <a:pt x="6080" y="0"/>
                    <a:pt x="6080" y="80"/>
                  </a:cubicBezTo>
                  <a:cubicBezTo>
                    <a:pt x="6160" y="80"/>
                    <a:pt x="6320" y="0"/>
                    <a:pt x="6480" y="0"/>
                  </a:cubicBezTo>
                  <a:close/>
                  <a:moveTo>
                    <a:pt x="8160" y="80"/>
                  </a:moveTo>
                  <a:lnTo>
                    <a:pt x="8160" y="80"/>
                  </a:lnTo>
                  <a:cubicBezTo>
                    <a:pt x="8640" y="80"/>
                    <a:pt x="9040" y="320"/>
                    <a:pt x="9440" y="640"/>
                  </a:cubicBezTo>
                  <a:cubicBezTo>
                    <a:pt x="9760" y="880"/>
                    <a:pt x="10000" y="1120"/>
                    <a:pt x="10240" y="1280"/>
                  </a:cubicBezTo>
                  <a:cubicBezTo>
                    <a:pt x="10400" y="1360"/>
                    <a:pt x="10560" y="1440"/>
                    <a:pt x="10640" y="1600"/>
                  </a:cubicBezTo>
                  <a:cubicBezTo>
                    <a:pt x="10800" y="1760"/>
                    <a:pt x="10880" y="1920"/>
                    <a:pt x="10960" y="2160"/>
                  </a:cubicBezTo>
                  <a:cubicBezTo>
                    <a:pt x="11040" y="2160"/>
                    <a:pt x="11120" y="2080"/>
                    <a:pt x="11200" y="2000"/>
                  </a:cubicBezTo>
                  <a:cubicBezTo>
                    <a:pt x="11280" y="1920"/>
                    <a:pt x="11360" y="1760"/>
                    <a:pt x="11520" y="1600"/>
                  </a:cubicBezTo>
                  <a:lnTo>
                    <a:pt x="11920" y="1600"/>
                  </a:lnTo>
                  <a:lnTo>
                    <a:pt x="12080" y="1600"/>
                  </a:lnTo>
                  <a:cubicBezTo>
                    <a:pt x="12240" y="1680"/>
                    <a:pt x="12320" y="1760"/>
                    <a:pt x="12400" y="1840"/>
                  </a:cubicBezTo>
                  <a:cubicBezTo>
                    <a:pt x="12720" y="2480"/>
                    <a:pt x="12800" y="3440"/>
                    <a:pt x="12800" y="4080"/>
                  </a:cubicBezTo>
                  <a:cubicBezTo>
                    <a:pt x="12720" y="4800"/>
                    <a:pt x="12400" y="5520"/>
                    <a:pt x="11760" y="5920"/>
                  </a:cubicBezTo>
                  <a:cubicBezTo>
                    <a:pt x="11360" y="6160"/>
                    <a:pt x="10720" y="6160"/>
                    <a:pt x="10240" y="6080"/>
                  </a:cubicBezTo>
                  <a:cubicBezTo>
                    <a:pt x="10240" y="6160"/>
                    <a:pt x="10160" y="6240"/>
                    <a:pt x="10160" y="6320"/>
                  </a:cubicBezTo>
                  <a:cubicBezTo>
                    <a:pt x="10080" y="6720"/>
                    <a:pt x="9680" y="6960"/>
                    <a:pt x="9280" y="6960"/>
                  </a:cubicBezTo>
                  <a:cubicBezTo>
                    <a:pt x="9120" y="6960"/>
                    <a:pt x="8960" y="6960"/>
                    <a:pt x="8880" y="6880"/>
                  </a:cubicBezTo>
                  <a:cubicBezTo>
                    <a:pt x="8720" y="6800"/>
                    <a:pt x="8640" y="6720"/>
                    <a:pt x="8560" y="6640"/>
                  </a:cubicBezTo>
                  <a:lnTo>
                    <a:pt x="8320" y="6400"/>
                  </a:lnTo>
                  <a:lnTo>
                    <a:pt x="8320" y="6400"/>
                  </a:lnTo>
                  <a:cubicBezTo>
                    <a:pt x="8400" y="6560"/>
                    <a:pt x="8480" y="6720"/>
                    <a:pt x="8480" y="6880"/>
                  </a:cubicBezTo>
                  <a:cubicBezTo>
                    <a:pt x="8560" y="7040"/>
                    <a:pt x="8640" y="7200"/>
                    <a:pt x="8640" y="7440"/>
                  </a:cubicBezTo>
                  <a:lnTo>
                    <a:pt x="8640" y="8000"/>
                  </a:lnTo>
                  <a:cubicBezTo>
                    <a:pt x="8720" y="8160"/>
                    <a:pt x="8720" y="8240"/>
                    <a:pt x="8720" y="8400"/>
                  </a:cubicBezTo>
                  <a:cubicBezTo>
                    <a:pt x="8720" y="8560"/>
                    <a:pt x="8640" y="8720"/>
                    <a:pt x="8560" y="8800"/>
                  </a:cubicBezTo>
                  <a:lnTo>
                    <a:pt x="8080" y="8800"/>
                  </a:lnTo>
                  <a:lnTo>
                    <a:pt x="7440" y="8800"/>
                  </a:lnTo>
                  <a:lnTo>
                    <a:pt x="7200" y="8800"/>
                  </a:lnTo>
                  <a:cubicBezTo>
                    <a:pt x="7120" y="8800"/>
                    <a:pt x="7120" y="8800"/>
                    <a:pt x="7040" y="8720"/>
                  </a:cubicBezTo>
                  <a:cubicBezTo>
                    <a:pt x="6960" y="8800"/>
                    <a:pt x="6880" y="8880"/>
                    <a:pt x="6720" y="8960"/>
                  </a:cubicBezTo>
                  <a:cubicBezTo>
                    <a:pt x="6640" y="9040"/>
                    <a:pt x="6640" y="9040"/>
                    <a:pt x="6560" y="9040"/>
                  </a:cubicBezTo>
                  <a:lnTo>
                    <a:pt x="6480" y="9120"/>
                  </a:lnTo>
                  <a:cubicBezTo>
                    <a:pt x="6400" y="9200"/>
                    <a:pt x="6400" y="9280"/>
                    <a:pt x="6400" y="9280"/>
                  </a:cubicBezTo>
                  <a:cubicBezTo>
                    <a:pt x="6320" y="9360"/>
                    <a:pt x="6320" y="9440"/>
                    <a:pt x="6160" y="9440"/>
                  </a:cubicBezTo>
                  <a:cubicBezTo>
                    <a:pt x="5920" y="9600"/>
                    <a:pt x="5600" y="9600"/>
                    <a:pt x="5440" y="9440"/>
                  </a:cubicBezTo>
                  <a:cubicBezTo>
                    <a:pt x="5280" y="9360"/>
                    <a:pt x="5120" y="9120"/>
                    <a:pt x="4960" y="8880"/>
                  </a:cubicBezTo>
                  <a:cubicBezTo>
                    <a:pt x="4960" y="8800"/>
                    <a:pt x="4800" y="8640"/>
                    <a:pt x="4720" y="8400"/>
                  </a:cubicBezTo>
                  <a:cubicBezTo>
                    <a:pt x="4720" y="8320"/>
                    <a:pt x="4640" y="8160"/>
                    <a:pt x="4720" y="8080"/>
                  </a:cubicBezTo>
                  <a:cubicBezTo>
                    <a:pt x="4720" y="8000"/>
                    <a:pt x="4800" y="7920"/>
                    <a:pt x="4880" y="7840"/>
                  </a:cubicBezTo>
                  <a:lnTo>
                    <a:pt x="4960" y="7840"/>
                  </a:lnTo>
                  <a:lnTo>
                    <a:pt x="4320" y="7840"/>
                  </a:lnTo>
                  <a:lnTo>
                    <a:pt x="4320" y="7840"/>
                  </a:lnTo>
                  <a:lnTo>
                    <a:pt x="4320" y="8080"/>
                  </a:lnTo>
                  <a:cubicBezTo>
                    <a:pt x="4320" y="8160"/>
                    <a:pt x="4240" y="8240"/>
                    <a:pt x="4240" y="8320"/>
                  </a:cubicBezTo>
                  <a:cubicBezTo>
                    <a:pt x="4160" y="8400"/>
                    <a:pt x="4160" y="8480"/>
                    <a:pt x="4080" y="8640"/>
                  </a:cubicBezTo>
                  <a:lnTo>
                    <a:pt x="4080" y="9120"/>
                  </a:lnTo>
                  <a:cubicBezTo>
                    <a:pt x="4080" y="9280"/>
                    <a:pt x="3920" y="9360"/>
                    <a:pt x="3840" y="9360"/>
                  </a:cubicBezTo>
                  <a:cubicBezTo>
                    <a:pt x="3760" y="9440"/>
                    <a:pt x="3600" y="9440"/>
                    <a:pt x="3440" y="9360"/>
                  </a:cubicBezTo>
                  <a:cubicBezTo>
                    <a:pt x="3200" y="9360"/>
                    <a:pt x="2880" y="9280"/>
                    <a:pt x="2800" y="9200"/>
                  </a:cubicBezTo>
                  <a:cubicBezTo>
                    <a:pt x="2640" y="9120"/>
                    <a:pt x="2400" y="9120"/>
                    <a:pt x="2240" y="8960"/>
                  </a:cubicBezTo>
                  <a:cubicBezTo>
                    <a:pt x="2160" y="8880"/>
                    <a:pt x="2080" y="8800"/>
                    <a:pt x="2080" y="8720"/>
                  </a:cubicBezTo>
                  <a:lnTo>
                    <a:pt x="2080" y="8400"/>
                  </a:lnTo>
                  <a:cubicBezTo>
                    <a:pt x="2080" y="8320"/>
                    <a:pt x="2160" y="8240"/>
                    <a:pt x="2160" y="8240"/>
                  </a:cubicBezTo>
                  <a:cubicBezTo>
                    <a:pt x="2000" y="8240"/>
                    <a:pt x="1840" y="8240"/>
                    <a:pt x="1680" y="8160"/>
                  </a:cubicBezTo>
                  <a:cubicBezTo>
                    <a:pt x="1520" y="8080"/>
                    <a:pt x="1280" y="7920"/>
                    <a:pt x="1200" y="7840"/>
                  </a:cubicBezTo>
                  <a:cubicBezTo>
                    <a:pt x="880" y="7680"/>
                    <a:pt x="800" y="7440"/>
                    <a:pt x="720" y="7200"/>
                  </a:cubicBezTo>
                  <a:lnTo>
                    <a:pt x="720" y="6960"/>
                  </a:lnTo>
                  <a:cubicBezTo>
                    <a:pt x="720" y="6880"/>
                    <a:pt x="800" y="6880"/>
                    <a:pt x="880" y="6800"/>
                  </a:cubicBezTo>
                  <a:lnTo>
                    <a:pt x="1280" y="6400"/>
                  </a:lnTo>
                  <a:cubicBezTo>
                    <a:pt x="1360" y="6240"/>
                    <a:pt x="1360" y="6160"/>
                    <a:pt x="1440" y="6000"/>
                  </a:cubicBezTo>
                  <a:cubicBezTo>
                    <a:pt x="1440" y="5920"/>
                    <a:pt x="1440" y="5840"/>
                    <a:pt x="1360" y="5680"/>
                  </a:cubicBezTo>
                  <a:lnTo>
                    <a:pt x="1360" y="4720"/>
                  </a:lnTo>
                  <a:cubicBezTo>
                    <a:pt x="1280" y="4800"/>
                    <a:pt x="1200" y="4800"/>
                    <a:pt x="1120" y="4800"/>
                  </a:cubicBezTo>
                  <a:cubicBezTo>
                    <a:pt x="960" y="4720"/>
                    <a:pt x="880" y="4640"/>
                    <a:pt x="800" y="4480"/>
                  </a:cubicBezTo>
                  <a:cubicBezTo>
                    <a:pt x="800" y="4400"/>
                    <a:pt x="720" y="4320"/>
                    <a:pt x="720" y="4160"/>
                  </a:cubicBezTo>
                  <a:lnTo>
                    <a:pt x="720" y="4160"/>
                  </a:lnTo>
                  <a:cubicBezTo>
                    <a:pt x="560" y="4080"/>
                    <a:pt x="560" y="3920"/>
                    <a:pt x="560" y="3760"/>
                  </a:cubicBezTo>
                  <a:cubicBezTo>
                    <a:pt x="560" y="3600"/>
                    <a:pt x="640" y="3440"/>
                    <a:pt x="800" y="3360"/>
                  </a:cubicBezTo>
                  <a:cubicBezTo>
                    <a:pt x="880" y="3200"/>
                    <a:pt x="1040" y="3120"/>
                    <a:pt x="1120" y="3040"/>
                  </a:cubicBezTo>
                  <a:cubicBezTo>
                    <a:pt x="1280" y="2960"/>
                    <a:pt x="1360" y="2880"/>
                    <a:pt x="1440" y="2880"/>
                  </a:cubicBezTo>
                  <a:lnTo>
                    <a:pt x="1440" y="2880"/>
                  </a:lnTo>
                  <a:cubicBezTo>
                    <a:pt x="1520" y="2880"/>
                    <a:pt x="1520" y="2880"/>
                    <a:pt x="1520" y="2960"/>
                  </a:cubicBezTo>
                  <a:lnTo>
                    <a:pt x="1520" y="2960"/>
                  </a:lnTo>
                  <a:cubicBezTo>
                    <a:pt x="1520" y="3040"/>
                    <a:pt x="1440" y="3120"/>
                    <a:pt x="1440" y="3200"/>
                  </a:cubicBezTo>
                  <a:cubicBezTo>
                    <a:pt x="1600" y="3280"/>
                    <a:pt x="1600" y="3360"/>
                    <a:pt x="1600" y="3440"/>
                  </a:cubicBezTo>
                  <a:lnTo>
                    <a:pt x="1600" y="3760"/>
                  </a:lnTo>
                  <a:lnTo>
                    <a:pt x="1520" y="3840"/>
                  </a:lnTo>
                  <a:lnTo>
                    <a:pt x="1440" y="3840"/>
                  </a:lnTo>
                  <a:cubicBezTo>
                    <a:pt x="1440" y="3760"/>
                    <a:pt x="1360" y="3760"/>
                    <a:pt x="1360" y="3760"/>
                  </a:cubicBezTo>
                  <a:lnTo>
                    <a:pt x="1360" y="3920"/>
                  </a:lnTo>
                  <a:cubicBezTo>
                    <a:pt x="1360" y="4000"/>
                    <a:pt x="1280" y="4080"/>
                    <a:pt x="1200" y="4160"/>
                  </a:cubicBezTo>
                  <a:lnTo>
                    <a:pt x="1200" y="4160"/>
                  </a:lnTo>
                  <a:lnTo>
                    <a:pt x="1280" y="4160"/>
                  </a:lnTo>
                  <a:cubicBezTo>
                    <a:pt x="1440" y="4080"/>
                    <a:pt x="1600" y="3920"/>
                    <a:pt x="1760" y="3760"/>
                  </a:cubicBezTo>
                  <a:cubicBezTo>
                    <a:pt x="1920" y="3440"/>
                    <a:pt x="2080" y="3200"/>
                    <a:pt x="2400" y="2960"/>
                  </a:cubicBezTo>
                  <a:cubicBezTo>
                    <a:pt x="3040" y="2400"/>
                    <a:pt x="3680" y="2160"/>
                    <a:pt x="4720" y="2000"/>
                  </a:cubicBezTo>
                  <a:cubicBezTo>
                    <a:pt x="4800" y="1840"/>
                    <a:pt x="4960" y="1760"/>
                    <a:pt x="5120" y="1600"/>
                  </a:cubicBezTo>
                  <a:cubicBezTo>
                    <a:pt x="5280" y="1440"/>
                    <a:pt x="5520" y="1360"/>
                    <a:pt x="5680" y="1360"/>
                  </a:cubicBezTo>
                  <a:cubicBezTo>
                    <a:pt x="6000" y="960"/>
                    <a:pt x="6240" y="640"/>
                    <a:pt x="6800" y="400"/>
                  </a:cubicBezTo>
                  <a:cubicBezTo>
                    <a:pt x="7280" y="160"/>
                    <a:pt x="7760" y="80"/>
                    <a:pt x="8160" y="80"/>
                  </a:cubicBezTo>
                  <a:close/>
                  <a:moveTo>
                    <a:pt x="8160" y="480"/>
                  </a:moveTo>
                  <a:lnTo>
                    <a:pt x="8160" y="480"/>
                  </a:lnTo>
                  <a:cubicBezTo>
                    <a:pt x="7760" y="480"/>
                    <a:pt x="7360" y="560"/>
                    <a:pt x="6800" y="800"/>
                  </a:cubicBezTo>
                  <a:cubicBezTo>
                    <a:pt x="6480" y="960"/>
                    <a:pt x="6320" y="1120"/>
                    <a:pt x="6160" y="1360"/>
                  </a:cubicBezTo>
                  <a:lnTo>
                    <a:pt x="6800" y="1360"/>
                  </a:lnTo>
                  <a:lnTo>
                    <a:pt x="6800" y="1360"/>
                  </a:lnTo>
                  <a:cubicBezTo>
                    <a:pt x="6880" y="1360"/>
                    <a:pt x="6880" y="1360"/>
                    <a:pt x="6880" y="1440"/>
                  </a:cubicBezTo>
                  <a:cubicBezTo>
                    <a:pt x="6880" y="1440"/>
                    <a:pt x="6880" y="1520"/>
                    <a:pt x="6800" y="1520"/>
                  </a:cubicBezTo>
                  <a:cubicBezTo>
                    <a:pt x="6480" y="1520"/>
                    <a:pt x="6240" y="1600"/>
                    <a:pt x="5920" y="1600"/>
                  </a:cubicBezTo>
                  <a:cubicBezTo>
                    <a:pt x="5760" y="1600"/>
                    <a:pt x="5680" y="1600"/>
                    <a:pt x="5600" y="1680"/>
                  </a:cubicBezTo>
                  <a:cubicBezTo>
                    <a:pt x="5520" y="1680"/>
                    <a:pt x="5440" y="1760"/>
                    <a:pt x="5360" y="1840"/>
                  </a:cubicBezTo>
                  <a:cubicBezTo>
                    <a:pt x="4880" y="2320"/>
                    <a:pt x="4560" y="2800"/>
                    <a:pt x="4160" y="3200"/>
                  </a:cubicBezTo>
                  <a:cubicBezTo>
                    <a:pt x="3920" y="3440"/>
                    <a:pt x="3840" y="3680"/>
                    <a:pt x="3680" y="4000"/>
                  </a:cubicBezTo>
                  <a:cubicBezTo>
                    <a:pt x="3600" y="4080"/>
                    <a:pt x="3600" y="4160"/>
                    <a:pt x="3600" y="4240"/>
                  </a:cubicBezTo>
                  <a:cubicBezTo>
                    <a:pt x="3600" y="4320"/>
                    <a:pt x="3680" y="4400"/>
                    <a:pt x="3760" y="4480"/>
                  </a:cubicBezTo>
                  <a:cubicBezTo>
                    <a:pt x="3840" y="4720"/>
                    <a:pt x="4000" y="4880"/>
                    <a:pt x="4080" y="5040"/>
                  </a:cubicBezTo>
                  <a:cubicBezTo>
                    <a:pt x="4240" y="4800"/>
                    <a:pt x="4480" y="4560"/>
                    <a:pt x="4720" y="4240"/>
                  </a:cubicBezTo>
                  <a:lnTo>
                    <a:pt x="4800" y="4240"/>
                  </a:lnTo>
                  <a:cubicBezTo>
                    <a:pt x="4800" y="4160"/>
                    <a:pt x="4800" y="4240"/>
                    <a:pt x="4800" y="4240"/>
                  </a:cubicBezTo>
                  <a:lnTo>
                    <a:pt x="4800" y="4240"/>
                  </a:lnTo>
                  <a:cubicBezTo>
                    <a:pt x="4560" y="4640"/>
                    <a:pt x="4400" y="4960"/>
                    <a:pt x="4240" y="5280"/>
                  </a:cubicBezTo>
                  <a:cubicBezTo>
                    <a:pt x="4160" y="5520"/>
                    <a:pt x="4080" y="5600"/>
                    <a:pt x="4080" y="5760"/>
                  </a:cubicBezTo>
                  <a:cubicBezTo>
                    <a:pt x="4240" y="6000"/>
                    <a:pt x="4400" y="6080"/>
                    <a:pt x="4560" y="6160"/>
                  </a:cubicBezTo>
                  <a:cubicBezTo>
                    <a:pt x="4720" y="6240"/>
                    <a:pt x="4960" y="6240"/>
                    <a:pt x="5120" y="6080"/>
                  </a:cubicBezTo>
                  <a:cubicBezTo>
                    <a:pt x="5520" y="5840"/>
                    <a:pt x="6000" y="5520"/>
                    <a:pt x="6480" y="5520"/>
                  </a:cubicBezTo>
                  <a:cubicBezTo>
                    <a:pt x="6640" y="5120"/>
                    <a:pt x="6640" y="4560"/>
                    <a:pt x="6560" y="4000"/>
                  </a:cubicBezTo>
                  <a:cubicBezTo>
                    <a:pt x="6480" y="3600"/>
                    <a:pt x="6480" y="3200"/>
                    <a:pt x="6560" y="2720"/>
                  </a:cubicBezTo>
                  <a:lnTo>
                    <a:pt x="6640" y="2640"/>
                  </a:lnTo>
                  <a:cubicBezTo>
                    <a:pt x="6720" y="2640"/>
                    <a:pt x="6720" y="2640"/>
                    <a:pt x="6720" y="2720"/>
                  </a:cubicBezTo>
                  <a:lnTo>
                    <a:pt x="6720" y="2720"/>
                  </a:lnTo>
                  <a:cubicBezTo>
                    <a:pt x="6720" y="3120"/>
                    <a:pt x="6800" y="3520"/>
                    <a:pt x="6880" y="4000"/>
                  </a:cubicBezTo>
                  <a:cubicBezTo>
                    <a:pt x="7040" y="4640"/>
                    <a:pt x="7040" y="5200"/>
                    <a:pt x="6800" y="5840"/>
                  </a:cubicBezTo>
                  <a:lnTo>
                    <a:pt x="6720" y="5920"/>
                  </a:lnTo>
                  <a:cubicBezTo>
                    <a:pt x="6160" y="5920"/>
                    <a:pt x="5760" y="6240"/>
                    <a:pt x="5200" y="6480"/>
                  </a:cubicBezTo>
                  <a:cubicBezTo>
                    <a:pt x="4960" y="6640"/>
                    <a:pt x="4720" y="6640"/>
                    <a:pt x="4480" y="6560"/>
                  </a:cubicBezTo>
                  <a:cubicBezTo>
                    <a:pt x="4160" y="6480"/>
                    <a:pt x="4000" y="6320"/>
                    <a:pt x="3760" y="6000"/>
                  </a:cubicBezTo>
                  <a:lnTo>
                    <a:pt x="3760" y="5920"/>
                  </a:lnTo>
                  <a:lnTo>
                    <a:pt x="3760" y="5920"/>
                  </a:lnTo>
                  <a:cubicBezTo>
                    <a:pt x="3760" y="5680"/>
                    <a:pt x="3840" y="5600"/>
                    <a:pt x="3920" y="5440"/>
                  </a:cubicBezTo>
                  <a:cubicBezTo>
                    <a:pt x="3680" y="5120"/>
                    <a:pt x="3600" y="5040"/>
                    <a:pt x="3440" y="4720"/>
                  </a:cubicBezTo>
                  <a:cubicBezTo>
                    <a:pt x="3280" y="4560"/>
                    <a:pt x="3200" y="4400"/>
                    <a:pt x="3200" y="4240"/>
                  </a:cubicBezTo>
                  <a:cubicBezTo>
                    <a:pt x="3200" y="4160"/>
                    <a:pt x="3200" y="4000"/>
                    <a:pt x="3360" y="3760"/>
                  </a:cubicBezTo>
                  <a:cubicBezTo>
                    <a:pt x="3520" y="3520"/>
                    <a:pt x="3600" y="3200"/>
                    <a:pt x="3840" y="2960"/>
                  </a:cubicBezTo>
                  <a:cubicBezTo>
                    <a:pt x="4000" y="2800"/>
                    <a:pt x="4160" y="2640"/>
                    <a:pt x="4240" y="2480"/>
                  </a:cubicBezTo>
                  <a:cubicBezTo>
                    <a:pt x="3600" y="2560"/>
                    <a:pt x="3120" y="2800"/>
                    <a:pt x="2640" y="3200"/>
                  </a:cubicBezTo>
                  <a:cubicBezTo>
                    <a:pt x="2240" y="3520"/>
                    <a:pt x="2000" y="4000"/>
                    <a:pt x="1840" y="4480"/>
                  </a:cubicBezTo>
                  <a:cubicBezTo>
                    <a:pt x="1680" y="4800"/>
                    <a:pt x="1680" y="5120"/>
                    <a:pt x="1680" y="5680"/>
                  </a:cubicBezTo>
                  <a:cubicBezTo>
                    <a:pt x="1760" y="6320"/>
                    <a:pt x="2080" y="7120"/>
                    <a:pt x="2480" y="7680"/>
                  </a:cubicBezTo>
                  <a:lnTo>
                    <a:pt x="2480" y="7760"/>
                  </a:lnTo>
                  <a:lnTo>
                    <a:pt x="2480" y="7760"/>
                  </a:lnTo>
                  <a:cubicBezTo>
                    <a:pt x="2400" y="8080"/>
                    <a:pt x="2400" y="8400"/>
                    <a:pt x="2240" y="8640"/>
                  </a:cubicBezTo>
                  <a:lnTo>
                    <a:pt x="2240" y="8720"/>
                  </a:lnTo>
                  <a:lnTo>
                    <a:pt x="2320" y="8800"/>
                  </a:lnTo>
                  <a:cubicBezTo>
                    <a:pt x="2400" y="8880"/>
                    <a:pt x="2560" y="8880"/>
                    <a:pt x="2720" y="8960"/>
                  </a:cubicBezTo>
                  <a:cubicBezTo>
                    <a:pt x="2800" y="8960"/>
                    <a:pt x="3040" y="9040"/>
                    <a:pt x="3200" y="9040"/>
                  </a:cubicBezTo>
                  <a:lnTo>
                    <a:pt x="3440" y="9040"/>
                  </a:lnTo>
                  <a:cubicBezTo>
                    <a:pt x="3520" y="9040"/>
                    <a:pt x="3520" y="9040"/>
                    <a:pt x="3520" y="8960"/>
                  </a:cubicBezTo>
                  <a:lnTo>
                    <a:pt x="3520" y="8560"/>
                  </a:lnTo>
                  <a:lnTo>
                    <a:pt x="3520" y="8560"/>
                  </a:lnTo>
                  <a:cubicBezTo>
                    <a:pt x="3680" y="8320"/>
                    <a:pt x="3680" y="8320"/>
                    <a:pt x="3760" y="8160"/>
                  </a:cubicBezTo>
                  <a:cubicBezTo>
                    <a:pt x="4000" y="8080"/>
                    <a:pt x="4000" y="8000"/>
                    <a:pt x="4000" y="7840"/>
                  </a:cubicBezTo>
                  <a:lnTo>
                    <a:pt x="4000" y="7040"/>
                  </a:lnTo>
                  <a:lnTo>
                    <a:pt x="4000" y="7040"/>
                  </a:lnTo>
                  <a:cubicBezTo>
                    <a:pt x="4000" y="6960"/>
                    <a:pt x="4000" y="6960"/>
                    <a:pt x="4080" y="6960"/>
                  </a:cubicBezTo>
                  <a:cubicBezTo>
                    <a:pt x="4080" y="6960"/>
                    <a:pt x="4160" y="6960"/>
                    <a:pt x="4160" y="7040"/>
                  </a:cubicBezTo>
                  <a:cubicBezTo>
                    <a:pt x="4160" y="7120"/>
                    <a:pt x="4240" y="7280"/>
                    <a:pt x="4240" y="7440"/>
                  </a:cubicBezTo>
                  <a:cubicBezTo>
                    <a:pt x="4640" y="7520"/>
                    <a:pt x="5120" y="7520"/>
                    <a:pt x="5520" y="7440"/>
                  </a:cubicBezTo>
                  <a:lnTo>
                    <a:pt x="5520" y="7360"/>
                  </a:lnTo>
                  <a:cubicBezTo>
                    <a:pt x="5520" y="7200"/>
                    <a:pt x="5600" y="7120"/>
                    <a:pt x="5680" y="7040"/>
                  </a:cubicBezTo>
                  <a:lnTo>
                    <a:pt x="5760" y="6960"/>
                  </a:lnTo>
                  <a:cubicBezTo>
                    <a:pt x="5840" y="6960"/>
                    <a:pt x="5840" y="6960"/>
                    <a:pt x="5840" y="7040"/>
                  </a:cubicBezTo>
                  <a:lnTo>
                    <a:pt x="5840" y="7040"/>
                  </a:lnTo>
                  <a:lnTo>
                    <a:pt x="5840" y="7360"/>
                  </a:lnTo>
                  <a:lnTo>
                    <a:pt x="5840" y="7680"/>
                  </a:lnTo>
                  <a:lnTo>
                    <a:pt x="5840" y="7840"/>
                  </a:lnTo>
                  <a:lnTo>
                    <a:pt x="5840" y="7840"/>
                  </a:lnTo>
                  <a:cubicBezTo>
                    <a:pt x="5840" y="7920"/>
                    <a:pt x="5840" y="7920"/>
                    <a:pt x="5760" y="7920"/>
                  </a:cubicBezTo>
                  <a:cubicBezTo>
                    <a:pt x="5760" y="7920"/>
                    <a:pt x="5680" y="7920"/>
                    <a:pt x="5680" y="7840"/>
                  </a:cubicBezTo>
                  <a:lnTo>
                    <a:pt x="5600" y="7760"/>
                  </a:lnTo>
                  <a:cubicBezTo>
                    <a:pt x="5440" y="7840"/>
                    <a:pt x="5280" y="7920"/>
                    <a:pt x="5120" y="8080"/>
                  </a:cubicBezTo>
                  <a:lnTo>
                    <a:pt x="5040" y="8160"/>
                  </a:lnTo>
                  <a:lnTo>
                    <a:pt x="5040" y="8320"/>
                  </a:lnTo>
                  <a:cubicBezTo>
                    <a:pt x="5120" y="8480"/>
                    <a:pt x="5200" y="8560"/>
                    <a:pt x="5200" y="8640"/>
                  </a:cubicBezTo>
                  <a:cubicBezTo>
                    <a:pt x="5280" y="8800"/>
                    <a:pt x="5440" y="8960"/>
                    <a:pt x="5520" y="9040"/>
                  </a:cubicBezTo>
                  <a:cubicBezTo>
                    <a:pt x="5600" y="9120"/>
                    <a:pt x="5760" y="9200"/>
                    <a:pt x="5920" y="9120"/>
                  </a:cubicBezTo>
                  <a:cubicBezTo>
                    <a:pt x="6000" y="9040"/>
                    <a:pt x="6080" y="8960"/>
                    <a:pt x="6160" y="8800"/>
                  </a:cubicBezTo>
                  <a:lnTo>
                    <a:pt x="6160" y="8800"/>
                  </a:lnTo>
                  <a:cubicBezTo>
                    <a:pt x="6160" y="8800"/>
                    <a:pt x="6240" y="8720"/>
                    <a:pt x="6320" y="8720"/>
                  </a:cubicBezTo>
                  <a:cubicBezTo>
                    <a:pt x="6400" y="8640"/>
                    <a:pt x="6480" y="8560"/>
                    <a:pt x="6560" y="8560"/>
                  </a:cubicBezTo>
                  <a:cubicBezTo>
                    <a:pt x="6640" y="8480"/>
                    <a:pt x="6720" y="8400"/>
                    <a:pt x="6800" y="8400"/>
                  </a:cubicBezTo>
                  <a:cubicBezTo>
                    <a:pt x="6880" y="8320"/>
                    <a:pt x="6880" y="8320"/>
                    <a:pt x="6960" y="8320"/>
                  </a:cubicBezTo>
                  <a:lnTo>
                    <a:pt x="7040" y="8240"/>
                  </a:lnTo>
                  <a:lnTo>
                    <a:pt x="7120" y="8160"/>
                  </a:lnTo>
                  <a:cubicBezTo>
                    <a:pt x="7200" y="8000"/>
                    <a:pt x="7280" y="7920"/>
                    <a:pt x="7360" y="7840"/>
                  </a:cubicBezTo>
                  <a:cubicBezTo>
                    <a:pt x="7440" y="7760"/>
                    <a:pt x="7520" y="7600"/>
                    <a:pt x="7520" y="7520"/>
                  </a:cubicBezTo>
                  <a:cubicBezTo>
                    <a:pt x="7600" y="7440"/>
                    <a:pt x="7600" y="7360"/>
                    <a:pt x="7600" y="7280"/>
                  </a:cubicBezTo>
                  <a:cubicBezTo>
                    <a:pt x="7760" y="6880"/>
                    <a:pt x="7840" y="6560"/>
                    <a:pt x="7920" y="6160"/>
                  </a:cubicBezTo>
                  <a:cubicBezTo>
                    <a:pt x="7680" y="6000"/>
                    <a:pt x="7520" y="5920"/>
                    <a:pt x="7280" y="5680"/>
                  </a:cubicBezTo>
                  <a:lnTo>
                    <a:pt x="7280" y="5600"/>
                  </a:lnTo>
                  <a:cubicBezTo>
                    <a:pt x="7280" y="5520"/>
                    <a:pt x="7280" y="5520"/>
                    <a:pt x="7360" y="5520"/>
                  </a:cubicBezTo>
                  <a:lnTo>
                    <a:pt x="7440" y="5520"/>
                  </a:lnTo>
                  <a:cubicBezTo>
                    <a:pt x="7760" y="5760"/>
                    <a:pt x="8000" y="5840"/>
                    <a:pt x="8320" y="5920"/>
                  </a:cubicBezTo>
                  <a:lnTo>
                    <a:pt x="8320" y="5920"/>
                  </a:lnTo>
                  <a:lnTo>
                    <a:pt x="8640" y="6240"/>
                  </a:lnTo>
                  <a:lnTo>
                    <a:pt x="8880" y="6480"/>
                  </a:lnTo>
                  <a:lnTo>
                    <a:pt x="8800" y="6480"/>
                  </a:lnTo>
                  <a:cubicBezTo>
                    <a:pt x="8720" y="6400"/>
                    <a:pt x="8720" y="6320"/>
                    <a:pt x="8720" y="6240"/>
                  </a:cubicBezTo>
                  <a:cubicBezTo>
                    <a:pt x="8720" y="6080"/>
                    <a:pt x="8800" y="5920"/>
                    <a:pt x="8800" y="5760"/>
                  </a:cubicBezTo>
                  <a:cubicBezTo>
                    <a:pt x="8880" y="5600"/>
                    <a:pt x="8800" y="5440"/>
                    <a:pt x="8800" y="5280"/>
                  </a:cubicBezTo>
                  <a:lnTo>
                    <a:pt x="8800" y="5280"/>
                  </a:lnTo>
                  <a:lnTo>
                    <a:pt x="8800" y="5280"/>
                  </a:lnTo>
                  <a:lnTo>
                    <a:pt x="8800" y="5280"/>
                  </a:lnTo>
                  <a:lnTo>
                    <a:pt x="8720" y="5360"/>
                  </a:lnTo>
                  <a:cubicBezTo>
                    <a:pt x="8720" y="5440"/>
                    <a:pt x="8640" y="5520"/>
                    <a:pt x="8560" y="5680"/>
                  </a:cubicBezTo>
                  <a:lnTo>
                    <a:pt x="8480" y="5760"/>
                  </a:lnTo>
                  <a:cubicBezTo>
                    <a:pt x="8400" y="5760"/>
                    <a:pt x="8400" y="5760"/>
                    <a:pt x="8400" y="5680"/>
                  </a:cubicBezTo>
                  <a:lnTo>
                    <a:pt x="8400" y="5680"/>
                  </a:lnTo>
                  <a:cubicBezTo>
                    <a:pt x="8400" y="5600"/>
                    <a:pt x="8400" y="5520"/>
                    <a:pt x="8480" y="5440"/>
                  </a:cubicBezTo>
                  <a:cubicBezTo>
                    <a:pt x="8480" y="5360"/>
                    <a:pt x="8480" y="5280"/>
                    <a:pt x="8560" y="5200"/>
                  </a:cubicBezTo>
                  <a:cubicBezTo>
                    <a:pt x="8640" y="5120"/>
                    <a:pt x="8720" y="5120"/>
                    <a:pt x="8800" y="5120"/>
                  </a:cubicBezTo>
                  <a:cubicBezTo>
                    <a:pt x="8880" y="5120"/>
                    <a:pt x="8960" y="5120"/>
                    <a:pt x="9040" y="5040"/>
                  </a:cubicBezTo>
                  <a:lnTo>
                    <a:pt x="9040" y="5040"/>
                  </a:lnTo>
                  <a:cubicBezTo>
                    <a:pt x="9120" y="5040"/>
                    <a:pt x="9120" y="5040"/>
                    <a:pt x="9120" y="5120"/>
                  </a:cubicBezTo>
                  <a:lnTo>
                    <a:pt x="9120" y="5200"/>
                  </a:lnTo>
                  <a:cubicBezTo>
                    <a:pt x="9040" y="5200"/>
                    <a:pt x="8960" y="5280"/>
                    <a:pt x="8880" y="5280"/>
                  </a:cubicBezTo>
                  <a:lnTo>
                    <a:pt x="8880" y="5280"/>
                  </a:lnTo>
                  <a:cubicBezTo>
                    <a:pt x="9040" y="5360"/>
                    <a:pt x="9120" y="5440"/>
                    <a:pt x="9280" y="5440"/>
                  </a:cubicBezTo>
                  <a:cubicBezTo>
                    <a:pt x="10000" y="5680"/>
                    <a:pt x="10720" y="5920"/>
                    <a:pt x="11440" y="5520"/>
                  </a:cubicBezTo>
                  <a:cubicBezTo>
                    <a:pt x="11920" y="5200"/>
                    <a:pt x="12240" y="4560"/>
                    <a:pt x="12320" y="4000"/>
                  </a:cubicBezTo>
                  <a:cubicBezTo>
                    <a:pt x="12400" y="3440"/>
                    <a:pt x="12240" y="2640"/>
                    <a:pt x="12080" y="2080"/>
                  </a:cubicBezTo>
                  <a:cubicBezTo>
                    <a:pt x="12080" y="2080"/>
                    <a:pt x="12080" y="2000"/>
                    <a:pt x="12000" y="2000"/>
                  </a:cubicBezTo>
                  <a:cubicBezTo>
                    <a:pt x="11920" y="2320"/>
                    <a:pt x="11760" y="2560"/>
                    <a:pt x="11360" y="2640"/>
                  </a:cubicBezTo>
                  <a:lnTo>
                    <a:pt x="11120" y="2640"/>
                  </a:lnTo>
                  <a:cubicBezTo>
                    <a:pt x="11040" y="2640"/>
                    <a:pt x="11040" y="2640"/>
                    <a:pt x="10960" y="2560"/>
                  </a:cubicBezTo>
                  <a:lnTo>
                    <a:pt x="10960" y="2640"/>
                  </a:lnTo>
                  <a:cubicBezTo>
                    <a:pt x="11040" y="2880"/>
                    <a:pt x="11040" y="3200"/>
                    <a:pt x="10960" y="3440"/>
                  </a:cubicBezTo>
                  <a:cubicBezTo>
                    <a:pt x="10880" y="3680"/>
                    <a:pt x="10880" y="3920"/>
                    <a:pt x="10720" y="4160"/>
                  </a:cubicBezTo>
                  <a:lnTo>
                    <a:pt x="10640" y="4160"/>
                  </a:lnTo>
                  <a:cubicBezTo>
                    <a:pt x="10560" y="4160"/>
                    <a:pt x="10560" y="4160"/>
                    <a:pt x="10560" y="4080"/>
                  </a:cubicBezTo>
                  <a:lnTo>
                    <a:pt x="10560" y="4080"/>
                  </a:lnTo>
                  <a:cubicBezTo>
                    <a:pt x="10560" y="4000"/>
                    <a:pt x="10640" y="3680"/>
                    <a:pt x="10640" y="3440"/>
                  </a:cubicBezTo>
                  <a:lnTo>
                    <a:pt x="10640" y="3120"/>
                  </a:lnTo>
                  <a:cubicBezTo>
                    <a:pt x="10640" y="3120"/>
                    <a:pt x="10560" y="3120"/>
                    <a:pt x="10560" y="3200"/>
                  </a:cubicBezTo>
                  <a:cubicBezTo>
                    <a:pt x="10480" y="3200"/>
                    <a:pt x="10480" y="3280"/>
                    <a:pt x="10480" y="3280"/>
                  </a:cubicBezTo>
                  <a:cubicBezTo>
                    <a:pt x="10400" y="3520"/>
                    <a:pt x="10400" y="3680"/>
                    <a:pt x="10240" y="3920"/>
                  </a:cubicBezTo>
                  <a:lnTo>
                    <a:pt x="10160" y="4000"/>
                  </a:lnTo>
                  <a:cubicBezTo>
                    <a:pt x="10080" y="4000"/>
                    <a:pt x="10080" y="4000"/>
                    <a:pt x="10080" y="3920"/>
                  </a:cubicBezTo>
                  <a:lnTo>
                    <a:pt x="10080" y="3920"/>
                  </a:lnTo>
                  <a:cubicBezTo>
                    <a:pt x="10160" y="3840"/>
                    <a:pt x="10160" y="3680"/>
                    <a:pt x="10160" y="3600"/>
                  </a:cubicBezTo>
                  <a:cubicBezTo>
                    <a:pt x="10160" y="3520"/>
                    <a:pt x="10160" y="3360"/>
                    <a:pt x="10240" y="3200"/>
                  </a:cubicBezTo>
                  <a:lnTo>
                    <a:pt x="10240" y="3200"/>
                  </a:lnTo>
                  <a:cubicBezTo>
                    <a:pt x="10160" y="3200"/>
                    <a:pt x="10160" y="3280"/>
                    <a:pt x="10080" y="3360"/>
                  </a:cubicBezTo>
                  <a:cubicBezTo>
                    <a:pt x="10000" y="3440"/>
                    <a:pt x="10000" y="3600"/>
                    <a:pt x="9840" y="3760"/>
                  </a:cubicBezTo>
                  <a:lnTo>
                    <a:pt x="9760" y="3760"/>
                  </a:lnTo>
                  <a:cubicBezTo>
                    <a:pt x="9680" y="3760"/>
                    <a:pt x="9680" y="3760"/>
                    <a:pt x="9680" y="3680"/>
                  </a:cubicBezTo>
                  <a:lnTo>
                    <a:pt x="9680" y="3600"/>
                  </a:lnTo>
                  <a:cubicBezTo>
                    <a:pt x="9760" y="3440"/>
                    <a:pt x="9760" y="3280"/>
                    <a:pt x="9840" y="3120"/>
                  </a:cubicBezTo>
                  <a:cubicBezTo>
                    <a:pt x="9920" y="2960"/>
                    <a:pt x="10000" y="2880"/>
                    <a:pt x="10240" y="2800"/>
                  </a:cubicBezTo>
                  <a:lnTo>
                    <a:pt x="10400" y="2800"/>
                  </a:lnTo>
                  <a:lnTo>
                    <a:pt x="10080" y="2800"/>
                  </a:lnTo>
                  <a:lnTo>
                    <a:pt x="10080" y="2800"/>
                  </a:lnTo>
                  <a:cubicBezTo>
                    <a:pt x="10000" y="2800"/>
                    <a:pt x="10000" y="2800"/>
                    <a:pt x="10000" y="2720"/>
                  </a:cubicBezTo>
                  <a:cubicBezTo>
                    <a:pt x="10000" y="2720"/>
                    <a:pt x="10000" y="2640"/>
                    <a:pt x="10080" y="2640"/>
                  </a:cubicBezTo>
                  <a:lnTo>
                    <a:pt x="10160" y="2640"/>
                  </a:lnTo>
                  <a:cubicBezTo>
                    <a:pt x="10160" y="2560"/>
                    <a:pt x="10080" y="2560"/>
                    <a:pt x="10160" y="2480"/>
                  </a:cubicBezTo>
                  <a:lnTo>
                    <a:pt x="10160" y="2480"/>
                  </a:lnTo>
                  <a:lnTo>
                    <a:pt x="10160" y="2480"/>
                  </a:lnTo>
                  <a:lnTo>
                    <a:pt x="10000" y="2480"/>
                  </a:lnTo>
                  <a:lnTo>
                    <a:pt x="9920" y="2400"/>
                  </a:lnTo>
                  <a:cubicBezTo>
                    <a:pt x="9920" y="2400"/>
                    <a:pt x="9920" y="2320"/>
                    <a:pt x="10000" y="2320"/>
                  </a:cubicBezTo>
                  <a:cubicBezTo>
                    <a:pt x="10080" y="2320"/>
                    <a:pt x="10240" y="2240"/>
                    <a:pt x="10320" y="2240"/>
                  </a:cubicBezTo>
                  <a:lnTo>
                    <a:pt x="10320" y="2240"/>
                  </a:lnTo>
                  <a:lnTo>
                    <a:pt x="10320" y="2240"/>
                  </a:lnTo>
                  <a:lnTo>
                    <a:pt x="10320" y="2240"/>
                  </a:lnTo>
                  <a:lnTo>
                    <a:pt x="10320" y="2240"/>
                  </a:lnTo>
                  <a:cubicBezTo>
                    <a:pt x="10400" y="2240"/>
                    <a:pt x="10480" y="2160"/>
                    <a:pt x="10560" y="2160"/>
                  </a:cubicBezTo>
                  <a:lnTo>
                    <a:pt x="10640" y="2160"/>
                  </a:lnTo>
                  <a:cubicBezTo>
                    <a:pt x="10560" y="2080"/>
                    <a:pt x="10560" y="2000"/>
                    <a:pt x="10480" y="1840"/>
                  </a:cubicBezTo>
                  <a:cubicBezTo>
                    <a:pt x="10400" y="1760"/>
                    <a:pt x="10320" y="1760"/>
                    <a:pt x="10160" y="1600"/>
                  </a:cubicBezTo>
                  <a:cubicBezTo>
                    <a:pt x="10160" y="1600"/>
                    <a:pt x="10080" y="1600"/>
                    <a:pt x="10080" y="1520"/>
                  </a:cubicBezTo>
                  <a:lnTo>
                    <a:pt x="9760" y="1520"/>
                  </a:lnTo>
                  <a:lnTo>
                    <a:pt x="9760" y="1520"/>
                  </a:lnTo>
                  <a:cubicBezTo>
                    <a:pt x="9680" y="1520"/>
                    <a:pt x="9680" y="1520"/>
                    <a:pt x="9680" y="1440"/>
                  </a:cubicBezTo>
                  <a:cubicBezTo>
                    <a:pt x="9680" y="1440"/>
                    <a:pt x="9680" y="1360"/>
                    <a:pt x="9760" y="1360"/>
                  </a:cubicBezTo>
                  <a:lnTo>
                    <a:pt x="9840" y="1360"/>
                  </a:lnTo>
                  <a:cubicBezTo>
                    <a:pt x="9680" y="1200"/>
                    <a:pt x="9520" y="1120"/>
                    <a:pt x="9360" y="960"/>
                  </a:cubicBezTo>
                  <a:cubicBezTo>
                    <a:pt x="8960" y="640"/>
                    <a:pt x="8560" y="480"/>
                    <a:pt x="8160" y="480"/>
                  </a:cubicBezTo>
                  <a:close/>
                  <a:moveTo>
                    <a:pt x="8400" y="1760"/>
                  </a:moveTo>
                  <a:lnTo>
                    <a:pt x="8400" y="1760"/>
                  </a:lnTo>
                  <a:cubicBezTo>
                    <a:pt x="8480" y="1760"/>
                    <a:pt x="8480" y="1760"/>
                    <a:pt x="8480" y="1840"/>
                  </a:cubicBezTo>
                  <a:cubicBezTo>
                    <a:pt x="8480" y="1840"/>
                    <a:pt x="8480" y="1920"/>
                    <a:pt x="8400" y="1920"/>
                  </a:cubicBezTo>
                  <a:cubicBezTo>
                    <a:pt x="8000" y="2080"/>
                    <a:pt x="7920" y="2320"/>
                    <a:pt x="7840" y="2640"/>
                  </a:cubicBezTo>
                  <a:lnTo>
                    <a:pt x="7760" y="2720"/>
                  </a:lnTo>
                  <a:cubicBezTo>
                    <a:pt x="7760" y="2720"/>
                    <a:pt x="7680" y="2720"/>
                    <a:pt x="7680" y="2640"/>
                  </a:cubicBezTo>
                  <a:cubicBezTo>
                    <a:pt x="7680" y="2480"/>
                    <a:pt x="7680" y="2240"/>
                    <a:pt x="7760" y="2080"/>
                  </a:cubicBezTo>
                  <a:cubicBezTo>
                    <a:pt x="7840" y="1920"/>
                    <a:pt x="8080" y="1840"/>
                    <a:pt x="8400" y="1760"/>
                  </a:cubicBezTo>
                  <a:close/>
                  <a:moveTo>
                    <a:pt x="6640" y="1760"/>
                  </a:moveTo>
                  <a:lnTo>
                    <a:pt x="6640" y="1760"/>
                  </a:lnTo>
                  <a:cubicBezTo>
                    <a:pt x="6720" y="1760"/>
                    <a:pt x="6720" y="1760"/>
                    <a:pt x="6720" y="1840"/>
                  </a:cubicBezTo>
                  <a:cubicBezTo>
                    <a:pt x="6720" y="1840"/>
                    <a:pt x="6720" y="1920"/>
                    <a:pt x="6640" y="1920"/>
                  </a:cubicBezTo>
                  <a:cubicBezTo>
                    <a:pt x="6480" y="2000"/>
                    <a:pt x="6320" y="2080"/>
                    <a:pt x="6080" y="2160"/>
                  </a:cubicBezTo>
                  <a:cubicBezTo>
                    <a:pt x="5920" y="2400"/>
                    <a:pt x="5840" y="2480"/>
                    <a:pt x="5840" y="2800"/>
                  </a:cubicBezTo>
                  <a:lnTo>
                    <a:pt x="5760" y="2880"/>
                  </a:lnTo>
                  <a:cubicBezTo>
                    <a:pt x="5760" y="2880"/>
                    <a:pt x="5680" y="2880"/>
                    <a:pt x="5680" y="2800"/>
                  </a:cubicBezTo>
                  <a:cubicBezTo>
                    <a:pt x="5600" y="2640"/>
                    <a:pt x="5600" y="2560"/>
                    <a:pt x="5600" y="2400"/>
                  </a:cubicBezTo>
                  <a:cubicBezTo>
                    <a:pt x="5520" y="2560"/>
                    <a:pt x="5520" y="2640"/>
                    <a:pt x="5440" y="2800"/>
                  </a:cubicBezTo>
                  <a:cubicBezTo>
                    <a:pt x="5360" y="3040"/>
                    <a:pt x="5200" y="3200"/>
                    <a:pt x="5200" y="3360"/>
                  </a:cubicBezTo>
                  <a:lnTo>
                    <a:pt x="5120" y="3440"/>
                  </a:lnTo>
                  <a:cubicBezTo>
                    <a:pt x="5040" y="3440"/>
                    <a:pt x="5040" y="3440"/>
                    <a:pt x="5040" y="3360"/>
                  </a:cubicBezTo>
                  <a:lnTo>
                    <a:pt x="5040" y="3360"/>
                  </a:lnTo>
                  <a:cubicBezTo>
                    <a:pt x="5040" y="3200"/>
                    <a:pt x="5120" y="2960"/>
                    <a:pt x="5200" y="2720"/>
                  </a:cubicBezTo>
                  <a:cubicBezTo>
                    <a:pt x="5280" y="2400"/>
                    <a:pt x="5440" y="2160"/>
                    <a:pt x="5520" y="2080"/>
                  </a:cubicBezTo>
                  <a:cubicBezTo>
                    <a:pt x="5600" y="2000"/>
                    <a:pt x="5680" y="1920"/>
                    <a:pt x="5760" y="1920"/>
                  </a:cubicBezTo>
                  <a:lnTo>
                    <a:pt x="6000" y="1920"/>
                  </a:lnTo>
                  <a:cubicBezTo>
                    <a:pt x="6160" y="1840"/>
                    <a:pt x="6400" y="1840"/>
                    <a:pt x="6640" y="1760"/>
                  </a:cubicBezTo>
                  <a:close/>
                  <a:moveTo>
                    <a:pt x="11920" y="1920"/>
                  </a:moveTo>
                  <a:lnTo>
                    <a:pt x="11920" y="1920"/>
                  </a:lnTo>
                  <a:cubicBezTo>
                    <a:pt x="11760" y="2080"/>
                    <a:pt x="11680" y="2240"/>
                    <a:pt x="11520" y="2400"/>
                  </a:cubicBezTo>
                  <a:cubicBezTo>
                    <a:pt x="11440" y="2480"/>
                    <a:pt x="11360" y="2480"/>
                    <a:pt x="11360" y="2480"/>
                  </a:cubicBezTo>
                  <a:lnTo>
                    <a:pt x="11440" y="2480"/>
                  </a:lnTo>
                  <a:cubicBezTo>
                    <a:pt x="11520" y="2480"/>
                    <a:pt x="11520" y="2400"/>
                    <a:pt x="11520" y="2400"/>
                  </a:cubicBezTo>
                  <a:cubicBezTo>
                    <a:pt x="11680" y="2240"/>
                    <a:pt x="11840" y="2160"/>
                    <a:pt x="11920" y="1920"/>
                  </a:cubicBezTo>
                  <a:close/>
                  <a:moveTo>
                    <a:pt x="9120" y="2480"/>
                  </a:moveTo>
                  <a:lnTo>
                    <a:pt x="9120" y="2480"/>
                  </a:lnTo>
                  <a:lnTo>
                    <a:pt x="9120" y="2480"/>
                  </a:lnTo>
                  <a:cubicBezTo>
                    <a:pt x="9200" y="2480"/>
                    <a:pt x="9200" y="2480"/>
                    <a:pt x="9200" y="2560"/>
                  </a:cubicBezTo>
                  <a:lnTo>
                    <a:pt x="9200" y="2640"/>
                  </a:lnTo>
                  <a:cubicBezTo>
                    <a:pt x="9200" y="2640"/>
                    <a:pt x="9120" y="2720"/>
                    <a:pt x="9040" y="2720"/>
                  </a:cubicBezTo>
                  <a:lnTo>
                    <a:pt x="9200" y="2880"/>
                  </a:lnTo>
                  <a:lnTo>
                    <a:pt x="9200" y="2960"/>
                  </a:lnTo>
                  <a:cubicBezTo>
                    <a:pt x="9280" y="2960"/>
                    <a:pt x="9440" y="2880"/>
                    <a:pt x="9520" y="2880"/>
                  </a:cubicBezTo>
                  <a:lnTo>
                    <a:pt x="9520" y="2880"/>
                  </a:lnTo>
                  <a:cubicBezTo>
                    <a:pt x="9600" y="2880"/>
                    <a:pt x="9600" y="2880"/>
                    <a:pt x="9600" y="2960"/>
                  </a:cubicBezTo>
                  <a:cubicBezTo>
                    <a:pt x="9600" y="2960"/>
                    <a:pt x="9600" y="3040"/>
                    <a:pt x="9520" y="3040"/>
                  </a:cubicBezTo>
                  <a:cubicBezTo>
                    <a:pt x="9120" y="3120"/>
                    <a:pt x="8800" y="3360"/>
                    <a:pt x="8480" y="3680"/>
                  </a:cubicBezTo>
                  <a:lnTo>
                    <a:pt x="8400" y="3680"/>
                  </a:lnTo>
                  <a:cubicBezTo>
                    <a:pt x="8320" y="3680"/>
                    <a:pt x="8320" y="3680"/>
                    <a:pt x="8320" y="3600"/>
                  </a:cubicBezTo>
                  <a:lnTo>
                    <a:pt x="8320" y="3600"/>
                  </a:lnTo>
                  <a:cubicBezTo>
                    <a:pt x="8320" y="3520"/>
                    <a:pt x="8400" y="3440"/>
                    <a:pt x="8400" y="3440"/>
                  </a:cubicBezTo>
                  <a:lnTo>
                    <a:pt x="8240" y="3280"/>
                  </a:lnTo>
                  <a:lnTo>
                    <a:pt x="8240" y="3200"/>
                  </a:lnTo>
                  <a:cubicBezTo>
                    <a:pt x="8160" y="3280"/>
                    <a:pt x="8080" y="3280"/>
                    <a:pt x="8000" y="3360"/>
                  </a:cubicBezTo>
                  <a:lnTo>
                    <a:pt x="8000" y="3360"/>
                  </a:lnTo>
                  <a:cubicBezTo>
                    <a:pt x="7920" y="3360"/>
                    <a:pt x="7920" y="3360"/>
                    <a:pt x="7920" y="3280"/>
                  </a:cubicBezTo>
                  <a:lnTo>
                    <a:pt x="7920" y="3200"/>
                  </a:lnTo>
                  <a:lnTo>
                    <a:pt x="8160" y="2960"/>
                  </a:lnTo>
                  <a:cubicBezTo>
                    <a:pt x="8240" y="2880"/>
                    <a:pt x="8320" y="2720"/>
                    <a:pt x="8400" y="2720"/>
                  </a:cubicBezTo>
                  <a:cubicBezTo>
                    <a:pt x="8480" y="2640"/>
                    <a:pt x="8640" y="2640"/>
                    <a:pt x="8720" y="2640"/>
                  </a:cubicBezTo>
                  <a:cubicBezTo>
                    <a:pt x="8960" y="2560"/>
                    <a:pt x="9040" y="2480"/>
                    <a:pt x="9120" y="2480"/>
                  </a:cubicBezTo>
                  <a:lnTo>
                    <a:pt x="9120" y="2480"/>
                  </a:lnTo>
                  <a:close/>
                  <a:moveTo>
                    <a:pt x="800" y="2800"/>
                  </a:moveTo>
                  <a:cubicBezTo>
                    <a:pt x="880" y="2800"/>
                    <a:pt x="880" y="2800"/>
                    <a:pt x="880" y="2880"/>
                  </a:cubicBezTo>
                  <a:lnTo>
                    <a:pt x="880" y="2960"/>
                  </a:lnTo>
                  <a:cubicBezTo>
                    <a:pt x="480" y="3360"/>
                    <a:pt x="320" y="3600"/>
                    <a:pt x="320" y="4160"/>
                  </a:cubicBezTo>
                  <a:lnTo>
                    <a:pt x="240" y="4240"/>
                  </a:lnTo>
                  <a:cubicBezTo>
                    <a:pt x="240" y="4240"/>
                    <a:pt x="160" y="4240"/>
                    <a:pt x="160" y="4160"/>
                  </a:cubicBezTo>
                  <a:lnTo>
                    <a:pt x="160" y="3760"/>
                  </a:lnTo>
                  <a:lnTo>
                    <a:pt x="160" y="3760"/>
                  </a:lnTo>
                  <a:cubicBezTo>
                    <a:pt x="80" y="3760"/>
                    <a:pt x="0" y="3680"/>
                    <a:pt x="0" y="3680"/>
                  </a:cubicBezTo>
                  <a:lnTo>
                    <a:pt x="0" y="3280"/>
                  </a:lnTo>
                  <a:cubicBezTo>
                    <a:pt x="80" y="3200"/>
                    <a:pt x="160" y="3120"/>
                    <a:pt x="320" y="3040"/>
                  </a:cubicBezTo>
                  <a:lnTo>
                    <a:pt x="400" y="3040"/>
                  </a:lnTo>
                  <a:cubicBezTo>
                    <a:pt x="400" y="3040"/>
                    <a:pt x="480" y="3040"/>
                    <a:pt x="480" y="3120"/>
                  </a:cubicBezTo>
                  <a:cubicBezTo>
                    <a:pt x="480" y="2960"/>
                    <a:pt x="640" y="2880"/>
                    <a:pt x="800" y="2800"/>
                  </a:cubicBezTo>
                  <a:cubicBezTo>
                    <a:pt x="720" y="2800"/>
                    <a:pt x="800" y="2800"/>
                    <a:pt x="800" y="2800"/>
                  </a:cubicBezTo>
                  <a:close/>
                  <a:moveTo>
                    <a:pt x="10640" y="2880"/>
                  </a:moveTo>
                  <a:lnTo>
                    <a:pt x="10720" y="2880"/>
                  </a:lnTo>
                  <a:lnTo>
                    <a:pt x="10720" y="2880"/>
                  </a:lnTo>
                  <a:lnTo>
                    <a:pt x="10640" y="2880"/>
                  </a:lnTo>
                  <a:close/>
                  <a:moveTo>
                    <a:pt x="1120" y="3440"/>
                  </a:moveTo>
                  <a:lnTo>
                    <a:pt x="1120" y="3440"/>
                  </a:lnTo>
                  <a:cubicBezTo>
                    <a:pt x="1040" y="3520"/>
                    <a:pt x="960" y="3600"/>
                    <a:pt x="960" y="3680"/>
                  </a:cubicBezTo>
                  <a:cubicBezTo>
                    <a:pt x="880" y="3680"/>
                    <a:pt x="880" y="3760"/>
                    <a:pt x="880" y="3840"/>
                  </a:cubicBezTo>
                  <a:cubicBezTo>
                    <a:pt x="880" y="3920"/>
                    <a:pt x="880" y="4000"/>
                    <a:pt x="960" y="4080"/>
                  </a:cubicBezTo>
                  <a:lnTo>
                    <a:pt x="960" y="4080"/>
                  </a:lnTo>
                  <a:cubicBezTo>
                    <a:pt x="1040" y="4000"/>
                    <a:pt x="1120" y="3920"/>
                    <a:pt x="1120" y="3760"/>
                  </a:cubicBezTo>
                  <a:lnTo>
                    <a:pt x="1120" y="3440"/>
                  </a:lnTo>
                  <a:close/>
                  <a:moveTo>
                    <a:pt x="1520" y="4400"/>
                  </a:moveTo>
                  <a:cubicBezTo>
                    <a:pt x="1440" y="4400"/>
                    <a:pt x="1440" y="4400"/>
                    <a:pt x="1520" y="4400"/>
                  </a:cubicBezTo>
                  <a:cubicBezTo>
                    <a:pt x="1360" y="4400"/>
                    <a:pt x="1280" y="4480"/>
                    <a:pt x="1200" y="4480"/>
                  </a:cubicBezTo>
                  <a:cubicBezTo>
                    <a:pt x="1120" y="4480"/>
                    <a:pt x="1120" y="4480"/>
                    <a:pt x="1040" y="4400"/>
                  </a:cubicBezTo>
                  <a:lnTo>
                    <a:pt x="1040" y="4400"/>
                  </a:lnTo>
                  <a:lnTo>
                    <a:pt x="1040" y="4400"/>
                  </a:lnTo>
                  <a:cubicBezTo>
                    <a:pt x="1040" y="4480"/>
                    <a:pt x="1120" y="4480"/>
                    <a:pt x="1200" y="4480"/>
                  </a:cubicBezTo>
                  <a:cubicBezTo>
                    <a:pt x="1280" y="4480"/>
                    <a:pt x="1360" y="4480"/>
                    <a:pt x="1520" y="4400"/>
                  </a:cubicBezTo>
                  <a:cubicBezTo>
                    <a:pt x="1440" y="4400"/>
                    <a:pt x="1440" y="4400"/>
                    <a:pt x="1520" y="4400"/>
                  </a:cubicBezTo>
                  <a:cubicBezTo>
                    <a:pt x="1440" y="4400"/>
                    <a:pt x="1520" y="4400"/>
                    <a:pt x="1520" y="4400"/>
                  </a:cubicBezTo>
                  <a:close/>
                  <a:moveTo>
                    <a:pt x="9760" y="6320"/>
                  </a:moveTo>
                  <a:cubicBezTo>
                    <a:pt x="9760" y="6400"/>
                    <a:pt x="9680" y="6400"/>
                    <a:pt x="9600" y="6400"/>
                  </a:cubicBezTo>
                  <a:lnTo>
                    <a:pt x="9600" y="6400"/>
                  </a:lnTo>
                  <a:cubicBezTo>
                    <a:pt x="9680" y="6480"/>
                    <a:pt x="9760" y="6400"/>
                    <a:pt x="9760" y="6320"/>
                  </a:cubicBezTo>
                  <a:close/>
                  <a:moveTo>
                    <a:pt x="1600" y="6560"/>
                  </a:moveTo>
                  <a:lnTo>
                    <a:pt x="1600" y="6560"/>
                  </a:lnTo>
                  <a:cubicBezTo>
                    <a:pt x="1600" y="6640"/>
                    <a:pt x="1600" y="6640"/>
                    <a:pt x="1600" y="6560"/>
                  </a:cubicBezTo>
                  <a:cubicBezTo>
                    <a:pt x="1440" y="6720"/>
                    <a:pt x="1360" y="6880"/>
                    <a:pt x="1200" y="6960"/>
                  </a:cubicBezTo>
                  <a:lnTo>
                    <a:pt x="1120" y="7040"/>
                  </a:lnTo>
                  <a:lnTo>
                    <a:pt x="1120" y="7120"/>
                  </a:lnTo>
                  <a:cubicBezTo>
                    <a:pt x="1120" y="7280"/>
                    <a:pt x="1280" y="7440"/>
                    <a:pt x="1360" y="7600"/>
                  </a:cubicBezTo>
                  <a:cubicBezTo>
                    <a:pt x="1440" y="7680"/>
                    <a:pt x="1600" y="7760"/>
                    <a:pt x="1760" y="7840"/>
                  </a:cubicBezTo>
                  <a:cubicBezTo>
                    <a:pt x="1840" y="7840"/>
                    <a:pt x="1920" y="7920"/>
                    <a:pt x="2000" y="7920"/>
                  </a:cubicBezTo>
                  <a:cubicBezTo>
                    <a:pt x="2080" y="7920"/>
                    <a:pt x="2080" y="7920"/>
                    <a:pt x="2160" y="7840"/>
                  </a:cubicBezTo>
                  <a:cubicBezTo>
                    <a:pt x="2160" y="7840"/>
                    <a:pt x="2160" y="7760"/>
                    <a:pt x="2240" y="7680"/>
                  </a:cubicBezTo>
                  <a:cubicBezTo>
                    <a:pt x="1920" y="7440"/>
                    <a:pt x="1760" y="7040"/>
                    <a:pt x="1600" y="6560"/>
                  </a:cubicBezTo>
                  <a:close/>
                  <a:moveTo>
                    <a:pt x="8160" y="6960"/>
                  </a:moveTo>
                  <a:cubicBezTo>
                    <a:pt x="8080" y="7120"/>
                    <a:pt x="8080" y="7280"/>
                    <a:pt x="8000" y="7440"/>
                  </a:cubicBezTo>
                  <a:cubicBezTo>
                    <a:pt x="7920" y="7600"/>
                    <a:pt x="7840" y="7840"/>
                    <a:pt x="7680" y="8000"/>
                  </a:cubicBezTo>
                  <a:cubicBezTo>
                    <a:pt x="7600" y="8160"/>
                    <a:pt x="7440" y="8320"/>
                    <a:pt x="7360" y="8400"/>
                  </a:cubicBezTo>
                  <a:lnTo>
                    <a:pt x="7520" y="8400"/>
                  </a:lnTo>
                  <a:lnTo>
                    <a:pt x="7840" y="8400"/>
                  </a:lnTo>
                  <a:lnTo>
                    <a:pt x="8160" y="8400"/>
                  </a:lnTo>
                  <a:lnTo>
                    <a:pt x="8320" y="8400"/>
                  </a:lnTo>
                  <a:cubicBezTo>
                    <a:pt x="8320" y="8400"/>
                    <a:pt x="8400" y="8320"/>
                    <a:pt x="8400" y="8240"/>
                  </a:cubicBezTo>
                  <a:cubicBezTo>
                    <a:pt x="8400" y="8080"/>
                    <a:pt x="8400" y="8160"/>
                    <a:pt x="8320" y="8000"/>
                  </a:cubicBezTo>
                  <a:lnTo>
                    <a:pt x="8320" y="8000"/>
                  </a:lnTo>
                  <a:lnTo>
                    <a:pt x="8320" y="7440"/>
                  </a:lnTo>
                  <a:cubicBezTo>
                    <a:pt x="8240" y="7280"/>
                    <a:pt x="8240" y="7200"/>
                    <a:pt x="8160" y="696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4" name="iconfont-11894-5689857"/>
            <p:cNvSpPr>
              <a:spLocks noChangeAspect="1"/>
            </p:cNvSpPr>
            <p:nvPr userDrawn="1"/>
          </p:nvSpPr>
          <p:spPr bwMode="auto">
            <a:xfrm>
              <a:off x="20872779" y="4596055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5" name="iconfont-11894-5689857"/>
            <p:cNvSpPr>
              <a:spLocks noChangeAspect="1"/>
            </p:cNvSpPr>
            <p:nvPr userDrawn="1"/>
          </p:nvSpPr>
          <p:spPr bwMode="auto">
            <a:xfrm>
              <a:off x="22092151" y="4594573"/>
              <a:ext cx="609685" cy="609685"/>
            </a:xfrm>
            <a:custGeom>
              <a:avLst/>
              <a:gdLst>
                <a:gd name="T0" fmla="*/ 2400 w 12800"/>
                <a:gd name="T1" fmla="*/ 10240 h 12800"/>
                <a:gd name="T2" fmla="*/ 2400 w 12800"/>
                <a:gd name="T3" fmla="*/ 2640 h 12800"/>
                <a:gd name="T4" fmla="*/ 7120 w 12800"/>
                <a:gd name="T5" fmla="*/ 6400 h 12800"/>
                <a:gd name="T6" fmla="*/ 2400 w 12800"/>
                <a:gd name="T7" fmla="*/ 10240 h 12800"/>
                <a:gd name="T8" fmla="*/ 3200 w 12800"/>
                <a:gd name="T9" fmla="*/ 4160 h 12800"/>
                <a:gd name="T10" fmla="*/ 3200 w 12800"/>
                <a:gd name="T11" fmla="*/ 8640 h 12800"/>
                <a:gd name="T12" fmla="*/ 6000 w 12800"/>
                <a:gd name="T13" fmla="*/ 6400 h 12800"/>
                <a:gd name="T14" fmla="*/ 3200 w 12800"/>
                <a:gd name="T15" fmla="*/ 4160 h 12800"/>
                <a:gd name="T16" fmla="*/ 11680 w 12800"/>
                <a:gd name="T17" fmla="*/ 12800 h 12800"/>
                <a:gd name="T18" fmla="*/ 1120 w 12800"/>
                <a:gd name="T19" fmla="*/ 12800 h 12800"/>
                <a:gd name="T20" fmla="*/ 0 w 12800"/>
                <a:gd name="T21" fmla="*/ 11680 h 12800"/>
                <a:gd name="T22" fmla="*/ 0 w 12800"/>
                <a:gd name="T23" fmla="*/ 1120 h 12800"/>
                <a:gd name="T24" fmla="*/ 1120 w 12800"/>
                <a:gd name="T25" fmla="*/ 0 h 12800"/>
                <a:gd name="T26" fmla="*/ 11680 w 12800"/>
                <a:gd name="T27" fmla="*/ 0 h 12800"/>
                <a:gd name="T28" fmla="*/ 12800 w 12800"/>
                <a:gd name="T29" fmla="*/ 1120 h 12800"/>
                <a:gd name="T30" fmla="*/ 12800 w 12800"/>
                <a:gd name="T31" fmla="*/ 11680 h 12800"/>
                <a:gd name="T32" fmla="*/ 11680 w 12800"/>
                <a:gd name="T33" fmla="*/ 12800 h 12800"/>
                <a:gd name="T34" fmla="*/ 1120 w 12800"/>
                <a:gd name="T35" fmla="*/ 800 h 12800"/>
                <a:gd name="T36" fmla="*/ 720 w 12800"/>
                <a:gd name="T37" fmla="*/ 1200 h 12800"/>
                <a:gd name="T38" fmla="*/ 720 w 12800"/>
                <a:gd name="T39" fmla="*/ 11760 h 12800"/>
                <a:gd name="T40" fmla="*/ 1120 w 12800"/>
                <a:gd name="T41" fmla="*/ 12160 h 12800"/>
                <a:gd name="T42" fmla="*/ 11680 w 12800"/>
                <a:gd name="T43" fmla="*/ 12160 h 12800"/>
                <a:gd name="T44" fmla="*/ 12080 w 12800"/>
                <a:gd name="T45" fmla="*/ 11760 h 12800"/>
                <a:gd name="T46" fmla="*/ 12080 w 12800"/>
                <a:gd name="T47" fmla="*/ 1120 h 12800"/>
                <a:gd name="T48" fmla="*/ 11680 w 12800"/>
                <a:gd name="T49" fmla="*/ 720 h 12800"/>
                <a:gd name="T50" fmla="*/ 1120 w 12800"/>
                <a:gd name="T51" fmla="*/ 720 h 12800"/>
                <a:gd name="T52" fmla="*/ 1120 w 12800"/>
                <a:gd name="T53" fmla="*/ 800 h 12800"/>
                <a:gd name="T54" fmla="*/ 6400 w 12800"/>
                <a:gd name="T55" fmla="*/ 10240 h 12800"/>
                <a:gd name="T56" fmla="*/ 6400 w 12800"/>
                <a:gd name="T57" fmla="*/ 2640 h 12800"/>
                <a:gd name="T58" fmla="*/ 11120 w 12800"/>
                <a:gd name="T59" fmla="*/ 6400 h 12800"/>
                <a:gd name="T60" fmla="*/ 6400 w 12800"/>
                <a:gd name="T61" fmla="*/ 10240 h 12800"/>
                <a:gd name="T62" fmla="*/ 7200 w 12800"/>
                <a:gd name="T63" fmla="*/ 4160 h 12800"/>
                <a:gd name="T64" fmla="*/ 7200 w 12800"/>
                <a:gd name="T65" fmla="*/ 8640 h 12800"/>
                <a:gd name="T66" fmla="*/ 10000 w 12800"/>
                <a:gd name="T67" fmla="*/ 6400 h 12800"/>
                <a:gd name="T68" fmla="*/ 7200 w 12800"/>
                <a:gd name="T69" fmla="*/ 416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800" h="12800">
                  <a:moveTo>
                    <a:pt x="2400" y="10240"/>
                  </a:moveTo>
                  <a:lnTo>
                    <a:pt x="2400" y="2640"/>
                  </a:lnTo>
                  <a:lnTo>
                    <a:pt x="7120" y="6400"/>
                  </a:lnTo>
                  <a:lnTo>
                    <a:pt x="2400" y="10240"/>
                  </a:lnTo>
                  <a:close/>
                  <a:moveTo>
                    <a:pt x="3200" y="4160"/>
                  </a:moveTo>
                  <a:lnTo>
                    <a:pt x="3200" y="8640"/>
                  </a:lnTo>
                  <a:lnTo>
                    <a:pt x="6000" y="6400"/>
                  </a:lnTo>
                  <a:lnTo>
                    <a:pt x="3200" y="4160"/>
                  </a:lnTo>
                  <a:close/>
                  <a:moveTo>
                    <a:pt x="11680" y="12800"/>
                  </a:moveTo>
                  <a:lnTo>
                    <a:pt x="1120" y="12800"/>
                  </a:lnTo>
                  <a:cubicBezTo>
                    <a:pt x="480" y="12800"/>
                    <a:pt x="0" y="12320"/>
                    <a:pt x="0" y="11680"/>
                  </a:cubicBezTo>
                  <a:lnTo>
                    <a:pt x="0" y="1120"/>
                  </a:lnTo>
                  <a:cubicBezTo>
                    <a:pt x="0" y="480"/>
                    <a:pt x="480" y="0"/>
                    <a:pt x="1120" y="0"/>
                  </a:cubicBezTo>
                  <a:lnTo>
                    <a:pt x="11680" y="0"/>
                  </a:lnTo>
                  <a:cubicBezTo>
                    <a:pt x="12320" y="0"/>
                    <a:pt x="12800" y="480"/>
                    <a:pt x="12800" y="1120"/>
                  </a:cubicBezTo>
                  <a:lnTo>
                    <a:pt x="12800" y="11680"/>
                  </a:lnTo>
                  <a:cubicBezTo>
                    <a:pt x="12800" y="12320"/>
                    <a:pt x="12240" y="12800"/>
                    <a:pt x="11680" y="12800"/>
                  </a:cubicBezTo>
                  <a:close/>
                  <a:moveTo>
                    <a:pt x="1120" y="800"/>
                  </a:moveTo>
                  <a:cubicBezTo>
                    <a:pt x="880" y="800"/>
                    <a:pt x="720" y="960"/>
                    <a:pt x="720" y="1200"/>
                  </a:cubicBezTo>
                  <a:lnTo>
                    <a:pt x="720" y="11760"/>
                  </a:lnTo>
                  <a:cubicBezTo>
                    <a:pt x="720" y="12000"/>
                    <a:pt x="880" y="12160"/>
                    <a:pt x="1120" y="12160"/>
                  </a:cubicBezTo>
                  <a:lnTo>
                    <a:pt x="11680" y="12160"/>
                  </a:lnTo>
                  <a:cubicBezTo>
                    <a:pt x="11920" y="12160"/>
                    <a:pt x="12080" y="12000"/>
                    <a:pt x="12080" y="11760"/>
                  </a:cubicBezTo>
                  <a:lnTo>
                    <a:pt x="12080" y="1120"/>
                  </a:lnTo>
                  <a:cubicBezTo>
                    <a:pt x="12080" y="880"/>
                    <a:pt x="11920" y="720"/>
                    <a:pt x="11680" y="720"/>
                  </a:cubicBezTo>
                  <a:lnTo>
                    <a:pt x="1120" y="720"/>
                  </a:lnTo>
                  <a:lnTo>
                    <a:pt x="1120" y="800"/>
                  </a:lnTo>
                  <a:close/>
                  <a:moveTo>
                    <a:pt x="6400" y="10240"/>
                  </a:moveTo>
                  <a:lnTo>
                    <a:pt x="6400" y="2640"/>
                  </a:lnTo>
                  <a:lnTo>
                    <a:pt x="11120" y="6400"/>
                  </a:lnTo>
                  <a:lnTo>
                    <a:pt x="6400" y="10240"/>
                  </a:lnTo>
                  <a:close/>
                  <a:moveTo>
                    <a:pt x="7200" y="4160"/>
                  </a:moveTo>
                  <a:lnTo>
                    <a:pt x="7200" y="8640"/>
                  </a:lnTo>
                  <a:lnTo>
                    <a:pt x="10000" y="6400"/>
                  </a:lnTo>
                  <a:lnTo>
                    <a:pt x="7200" y="416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6" name="iconfont-11894-5689857"/>
            <p:cNvSpPr>
              <a:spLocks noChangeAspect="1"/>
            </p:cNvSpPr>
            <p:nvPr userDrawn="1"/>
          </p:nvSpPr>
          <p:spPr bwMode="auto">
            <a:xfrm>
              <a:off x="23311520" y="4594574"/>
              <a:ext cx="609685" cy="609685"/>
            </a:xfrm>
            <a:custGeom>
              <a:avLst/>
              <a:gdLst>
                <a:gd name="T0" fmla="*/ 12160 w 12960"/>
                <a:gd name="T1" fmla="*/ 0 h 12960"/>
                <a:gd name="T2" fmla="*/ 6800 w 12960"/>
                <a:gd name="T3" fmla="*/ 0 h 12960"/>
                <a:gd name="T4" fmla="*/ 5920 w 12960"/>
                <a:gd name="T5" fmla="*/ 640 h 12960"/>
                <a:gd name="T6" fmla="*/ 640 w 12960"/>
                <a:gd name="T7" fmla="*/ 5920 h 12960"/>
                <a:gd name="T8" fmla="*/ 640 w 12960"/>
                <a:gd name="T9" fmla="*/ 8240 h 12960"/>
                <a:gd name="T10" fmla="*/ 4720 w 12960"/>
                <a:gd name="T11" fmla="*/ 12320 h 12960"/>
                <a:gd name="T12" fmla="*/ 7040 w 12960"/>
                <a:gd name="T13" fmla="*/ 12320 h 12960"/>
                <a:gd name="T14" fmla="*/ 12320 w 12960"/>
                <a:gd name="T15" fmla="*/ 7040 h 12960"/>
                <a:gd name="T16" fmla="*/ 12960 w 12960"/>
                <a:gd name="T17" fmla="*/ 6080 h 12960"/>
                <a:gd name="T18" fmla="*/ 12960 w 12960"/>
                <a:gd name="T19" fmla="*/ 800 h 12960"/>
                <a:gd name="T20" fmla="*/ 12160 w 12960"/>
                <a:gd name="T21" fmla="*/ 0 h 12960"/>
                <a:gd name="T22" fmla="*/ 7120 w 12960"/>
                <a:gd name="T23" fmla="*/ 11120 h 12960"/>
                <a:gd name="T24" fmla="*/ 6560 w 12960"/>
                <a:gd name="T25" fmla="*/ 11680 h 12960"/>
                <a:gd name="T26" fmla="*/ 6560 w 12960"/>
                <a:gd name="T27" fmla="*/ 11680 h 12960"/>
                <a:gd name="T28" fmla="*/ 5360 w 12960"/>
                <a:gd name="T29" fmla="*/ 11680 h 12960"/>
                <a:gd name="T30" fmla="*/ 1280 w 12960"/>
                <a:gd name="T31" fmla="*/ 7600 h 12960"/>
                <a:gd name="T32" fmla="*/ 1280 w 12960"/>
                <a:gd name="T33" fmla="*/ 6400 h 12960"/>
                <a:gd name="T34" fmla="*/ 1840 w 12960"/>
                <a:gd name="T35" fmla="*/ 5840 h 12960"/>
                <a:gd name="T36" fmla="*/ 2400 w 12960"/>
                <a:gd name="T37" fmla="*/ 5280 h 12960"/>
                <a:gd name="T38" fmla="*/ 6480 w 12960"/>
                <a:gd name="T39" fmla="*/ 1200 h 12960"/>
                <a:gd name="T40" fmla="*/ 7200 w 12960"/>
                <a:gd name="T41" fmla="*/ 800 h 12960"/>
                <a:gd name="T42" fmla="*/ 11760 w 12960"/>
                <a:gd name="T43" fmla="*/ 800 h 12960"/>
                <a:gd name="T44" fmla="*/ 12160 w 12960"/>
                <a:gd name="T45" fmla="*/ 1120 h 12960"/>
                <a:gd name="T46" fmla="*/ 12160 w 12960"/>
                <a:gd name="T47" fmla="*/ 5680 h 12960"/>
                <a:gd name="T48" fmla="*/ 12160 w 12960"/>
                <a:gd name="T49" fmla="*/ 5680 h 12960"/>
                <a:gd name="T50" fmla="*/ 11760 w 12960"/>
                <a:gd name="T51" fmla="*/ 6400 h 12960"/>
                <a:gd name="T52" fmla="*/ 7680 w 12960"/>
                <a:gd name="T53" fmla="*/ 10480 h 12960"/>
                <a:gd name="T54" fmla="*/ 7120 w 12960"/>
                <a:gd name="T55" fmla="*/ 11120 h 12960"/>
                <a:gd name="T56" fmla="*/ 8000 w 12960"/>
                <a:gd name="T57" fmla="*/ 2640 h 12960"/>
                <a:gd name="T58" fmla="*/ 8000 w 12960"/>
                <a:gd name="T59" fmla="*/ 4960 h 12960"/>
                <a:gd name="T60" fmla="*/ 10320 w 12960"/>
                <a:gd name="T61" fmla="*/ 4960 h 12960"/>
                <a:gd name="T62" fmla="*/ 10320 w 12960"/>
                <a:gd name="T63" fmla="*/ 2640 h 12960"/>
                <a:gd name="T64" fmla="*/ 8000 w 12960"/>
                <a:gd name="T65" fmla="*/ 2640 h 12960"/>
                <a:gd name="T66" fmla="*/ 9760 w 12960"/>
                <a:gd name="T67" fmla="*/ 4400 h 12960"/>
                <a:gd name="T68" fmla="*/ 8560 w 12960"/>
                <a:gd name="T69" fmla="*/ 4400 h 12960"/>
                <a:gd name="T70" fmla="*/ 8560 w 12960"/>
                <a:gd name="T71" fmla="*/ 3200 h 12960"/>
                <a:gd name="T72" fmla="*/ 9760 w 12960"/>
                <a:gd name="T73" fmla="*/ 3200 h 12960"/>
                <a:gd name="T74" fmla="*/ 9760 w 12960"/>
                <a:gd name="T75" fmla="*/ 4400 h 12960"/>
                <a:gd name="T76" fmla="*/ 8357 w 12960"/>
                <a:gd name="T77" fmla="*/ 8327 h 12960"/>
                <a:gd name="T78" fmla="*/ 4680 w 12960"/>
                <a:gd name="T79" fmla="*/ 4651 h 12960"/>
                <a:gd name="T80" fmla="*/ 5472 w 12960"/>
                <a:gd name="T81" fmla="*/ 3859 h 12960"/>
                <a:gd name="T82" fmla="*/ 9149 w 12960"/>
                <a:gd name="T83" fmla="*/ 7536 h 12960"/>
                <a:gd name="T84" fmla="*/ 8357 w 12960"/>
                <a:gd name="T85" fmla="*/ 8327 h 12960"/>
                <a:gd name="T86" fmla="*/ 6739 w 12960"/>
                <a:gd name="T87" fmla="*/ 9999 h 12960"/>
                <a:gd name="T88" fmla="*/ 3062 w 12960"/>
                <a:gd name="T89" fmla="*/ 6322 h 12960"/>
                <a:gd name="T90" fmla="*/ 3854 w 12960"/>
                <a:gd name="T91" fmla="*/ 5530 h 12960"/>
                <a:gd name="T92" fmla="*/ 7531 w 12960"/>
                <a:gd name="T93" fmla="*/ 9207 h 12960"/>
                <a:gd name="T94" fmla="*/ 6739 w 12960"/>
                <a:gd name="T95" fmla="*/ 9999 h 12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960" h="12960">
                  <a:moveTo>
                    <a:pt x="12160" y="0"/>
                  </a:moveTo>
                  <a:lnTo>
                    <a:pt x="6800" y="0"/>
                  </a:lnTo>
                  <a:cubicBezTo>
                    <a:pt x="6400" y="0"/>
                    <a:pt x="6320" y="160"/>
                    <a:pt x="5920" y="640"/>
                  </a:cubicBezTo>
                  <a:lnTo>
                    <a:pt x="640" y="5920"/>
                  </a:lnTo>
                  <a:cubicBezTo>
                    <a:pt x="0" y="6560"/>
                    <a:pt x="0" y="7600"/>
                    <a:pt x="640" y="8240"/>
                  </a:cubicBezTo>
                  <a:lnTo>
                    <a:pt x="4720" y="12320"/>
                  </a:lnTo>
                  <a:cubicBezTo>
                    <a:pt x="5360" y="12960"/>
                    <a:pt x="6400" y="12960"/>
                    <a:pt x="7040" y="12320"/>
                  </a:cubicBezTo>
                  <a:lnTo>
                    <a:pt x="12320" y="7040"/>
                  </a:lnTo>
                  <a:cubicBezTo>
                    <a:pt x="12720" y="6720"/>
                    <a:pt x="12960" y="6560"/>
                    <a:pt x="12960" y="6080"/>
                  </a:cubicBezTo>
                  <a:lnTo>
                    <a:pt x="12960" y="800"/>
                  </a:lnTo>
                  <a:cubicBezTo>
                    <a:pt x="12960" y="320"/>
                    <a:pt x="12640" y="0"/>
                    <a:pt x="12160" y="0"/>
                  </a:cubicBezTo>
                  <a:close/>
                  <a:moveTo>
                    <a:pt x="7120" y="11120"/>
                  </a:moveTo>
                  <a:lnTo>
                    <a:pt x="6560" y="11680"/>
                  </a:lnTo>
                  <a:lnTo>
                    <a:pt x="6560" y="11680"/>
                  </a:lnTo>
                  <a:cubicBezTo>
                    <a:pt x="6240" y="12000"/>
                    <a:pt x="5680" y="12000"/>
                    <a:pt x="5360" y="11680"/>
                  </a:cubicBezTo>
                  <a:lnTo>
                    <a:pt x="1280" y="7600"/>
                  </a:lnTo>
                  <a:cubicBezTo>
                    <a:pt x="960" y="7280"/>
                    <a:pt x="960" y="6720"/>
                    <a:pt x="1280" y="6400"/>
                  </a:cubicBezTo>
                  <a:lnTo>
                    <a:pt x="1840" y="5840"/>
                  </a:lnTo>
                  <a:lnTo>
                    <a:pt x="2400" y="5280"/>
                  </a:lnTo>
                  <a:lnTo>
                    <a:pt x="6480" y="1200"/>
                  </a:lnTo>
                  <a:cubicBezTo>
                    <a:pt x="6720" y="1040"/>
                    <a:pt x="7040" y="800"/>
                    <a:pt x="7200" y="800"/>
                  </a:cubicBezTo>
                  <a:lnTo>
                    <a:pt x="11760" y="800"/>
                  </a:lnTo>
                  <a:cubicBezTo>
                    <a:pt x="12000" y="800"/>
                    <a:pt x="12160" y="960"/>
                    <a:pt x="12160" y="1120"/>
                  </a:cubicBezTo>
                  <a:lnTo>
                    <a:pt x="12160" y="5680"/>
                  </a:lnTo>
                  <a:lnTo>
                    <a:pt x="12160" y="5680"/>
                  </a:lnTo>
                  <a:cubicBezTo>
                    <a:pt x="12160" y="5920"/>
                    <a:pt x="12000" y="6240"/>
                    <a:pt x="11760" y="6400"/>
                  </a:cubicBezTo>
                  <a:lnTo>
                    <a:pt x="7680" y="10480"/>
                  </a:lnTo>
                  <a:lnTo>
                    <a:pt x="7120" y="11120"/>
                  </a:lnTo>
                  <a:close/>
                  <a:moveTo>
                    <a:pt x="8000" y="2640"/>
                  </a:moveTo>
                  <a:cubicBezTo>
                    <a:pt x="7360" y="3280"/>
                    <a:pt x="7360" y="4320"/>
                    <a:pt x="8000" y="4960"/>
                  </a:cubicBezTo>
                  <a:cubicBezTo>
                    <a:pt x="8640" y="5600"/>
                    <a:pt x="9680" y="5600"/>
                    <a:pt x="10320" y="4960"/>
                  </a:cubicBezTo>
                  <a:cubicBezTo>
                    <a:pt x="10960" y="4320"/>
                    <a:pt x="10960" y="3280"/>
                    <a:pt x="10320" y="2640"/>
                  </a:cubicBezTo>
                  <a:cubicBezTo>
                    <a:pt x="9680" y="2000"/>
                    <a:pt x="8640" y="2000"/>
                    <a:pt x="8000" y="2640"/>
                  </a:cubicBezTo>
                  <a:close/>
                  <a:moveTo>
                    <a:pt x="9760" y="4400"/>
                  </a:moveTo>
                  <a:cubicBezTo>
                    <a:pt x="9440" y="4720"/>
                    <a:pt x="8880" y="4720"/>
                    <a:pt x="8560" y="4400"/>
                  </a:cubicBezTo>
                  <a:cubicBezTo>
                    <a:pt x="8240" y="4080"/>
                    <a:pt x="8240" y="3520"/>
                    <a:pt x="8560" y="3200"/>
                  </a:cubicBezTo>
                  <a:cubicBezTo>
                    <a:pt x="8880" y="2880"/>
                    <a:pt x="9440" y="2880"/>
                    <a:pt x="9760" y="3200"/>
                  </a:cubicBezTo>
                  <a:cubicBezTo>
                    <a:pt x="10080" y="3600"/>
                    <a:pt x="10080" y="4080"/>
                    <a:pt x="9760" y="4400"/>
                  </a:cubicBezTo>
                  <a:close/>
                  <a:moveTo>
                    <a:pt x="8357" y="8327"/>
                  </a:moveTo>
                  <a:lnTo>
                    <a:pt x="4680" y="4651"/>
                  </a:lnTo>
                  <a:lnTo>
                    <a:pt x="5472" y="3859"/>
                  </a:lnTo>
                  <a:lnTo>
                    <a:pt x="9149" y="7536"/>
                  </a:lnTo>
                  <a:lnTo>
                    <a:pt x="8357" y="8327"/>
                  </a:lnTo>
                  <a:close/>
                  <a:moveTo>
                    <a:pt x="6739" y="9999"/>
                  </a:moveTo>
                  <a:lnTo>
                    <a:pt x="3062" y="6322"/>
                  </a:lnTo>
                  <a:lnTo>
                    <a:pt x="3854" y="5530"/>
                  </a:lnTo>
                  <a:lnTo>
                    <a:pt x="7531" y="9207"/>
                  </a:lnTo>
                  <a:lnTo>
                    <a:pt x="6739" y="99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7" name="iconfont-11894-5689857"/>
            <p:cNvSpPr>
              <a:spLocks noChangeAspect="1"/>
            </p:cNvSpPr>
            <p:nvPr userDrawn="1"/>
          </p:nvSpPr>
          <p:spPr bwMode="auto">
            <a:xfrm>
              <a:off x="24559690" y="4594574"/>
              <a:ext cx="552081" cy="609685"/>
            </a:xfrm>
            <a:custGeom>
              <a:avLst/>
              <a:gdLst>
                <a:gd name="T0" fmla="*/ 8880 w 11520"/>
                <a:gd name="T1" fmla="*/ 7520 h 12720"/>
                <a:gd name="T2" fmla="*/ 8720 w 11520"/>
                <a:gd name="T3" fmla="*/ 7520 h 12720"/>
                <a:gd name="T4" fmla="*/ 6240 w 11520"/>
                <a:gd name="T5" fmla="*/ 5280 h 12720"/>
                <a:gd name="T6" fmla="*/ 11360 w 11520"/>
                <a:gd name="T7" fmla="*/ 640 h 12720"/>
                <a:gd name="T8" fmla="*/ 10880 w 11520"/>
                <a:gd name="T9" fmla="*/ 80 h 12720"/>
                <a:gd name="T10" fmla="*/ 5680 w 11520"/>
                <a:gd name="T11" fmla="*/ 4720 h 12720"/>
                <a:gd name="T12" fmla="*/ 480 w 11520"/>
                <a:gd name="T13" fmla="*/ 0 h 12720"/>
                <a:gd name="T14" fmla="*/ 0 w 11520"/>
                <a:gd name="T15" fmla="*/ 560 h 12720"/>
                <a:gd name="T16" fmla="*/ 5120 w 11520"/>
                <a:gd name="T17" fmla="*/ 5200 h 12720"/>
                <a:gd name="T18" fmla="*/ 2640 w 11520"/>
                <a:gd name="T19" fmla="*/ 7440 h 12720"/>
                <a:gd name="T20" fmla="*/ 160 w 11520"/>
                <a:gd name="T21" fmla="*/ 10080 h 12720"/>
                <a:gd name="T22" fmla="*/ 2800 w 11520"/>
                <a:gd name="T23" fmla="*/ 12720 h 12720"/>
                <a:gd name="T24" fmla="*/ 5440 w 11520"/>
                <a:gd name="T25" fmla="*/ 10080 h 12720"/>
                <a:gd name="T26" fmla="*/ 3600 w 11520"/>
                <a:gd name="T27" fmla="*/ 7600 h 12720"/>
                <a:gd name="T28" fmla="*/ 5680 w 11520"/>
                <a:gd name="T29" fmla="*/ 5760 h 12720"/>
                <a:gd name="T30" fmla="*/ 7840 w 11520"/>
                <a:gd name="T31" fmla="*/ 7680 h 12720"/>
                <a:gd name="T32" fmla="*/ 6240 w 11520"/>
                <a:gd name="T33" fmla="*/ 10080 h 12720"/>
                <a:gd name="T34" fmla="*/ 8880 w 11520"/>
                <a:gd name="T35" fmla="*/ 12720 h 12720"/>
                <a:gd name="T36" fmla="*/ 11520 w 11520"/>
                <a:gd name="T37" fmla="*/ 10080 h 12720"/>
                <a:gd name="T38" fmla="*/ 8880 w 11520"/>
                <a:gd name="T39" fmla="*/ 7520 h 12720"/>
                <a:gd name="T40" fmla="*/ 4720 w 11520"/>
                <a:gd name="T41" fmla="*/ 10080 h 12720"/>
                <a:gd name="T42" fmla="*/ 2800 w 11520"/>
                <a:gd name="T43" fmla="*/ 12000 h 12720"/>
                <a:gd name="T44" fmla="*/ 880 w 11520"/>
                <a:gd name="T45" fmla="*/ 10080 h 12720"/>
                <a:gd name="T46" fmla="*/ 2800 w 11520"/>
                <a:gd name="T47" fmla="*/ 8160 h 12720"/>
                <a:gd name="T48" fmla="*/ 4720 w 11520"/>
                <a:gd name="T49" fmla="*/ 10080 h 12720"/>
                <a:gd name="T50" fmla="*/ 8880 w 11520"/>
                <a:gd name="T51" fmla="*/ 12000 h 12720"/>
                <a:gd name="T52" fmla="*/ 6960 w 11520"/>
                <a:gd name="T53" fmla="*/ 10080 h 12720"/>
                <a:gd name="T54" fmla="*/ 8880 w 11520"/>
                <a:gd name="T55" fmla="*/ 8160 h 12720"/>
                <a:gd name="T56" fmla="*/ 10800 w 11520"/>
                <a:gd name="T57" fmla="*/ 10080 h 12720"/>
                <a:gd name="T58" fmla="*/ 8880 w 11520"/>
                <a:gd name="T59" fmla="*/ 1200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20" h="12720">
                  <a:moveTo>
                    <a:pt x="8880" y="7520"/>
                  </a:moveTo>
                  <a:lnTo>
                    <a:pt x="8720" y="7520"/>
                  </a:lnTo>
                  <a:lnTo>
                    <a:pt x="6240" y="5280"/>
                  </a:lnTo>
                  <a:lnTo>
                    <a:pt x="11360" y="640"/>
                  </a:lnTo>
                  <a:lnTo>
                    <a:pt x="10880" y="80"/>
                  </a:lnTo>
                  <a:lnTo>
                    <a:pt x="5680" y="4720"/>
                  </a:lnTo>
                  <a:lnTo>
                    <a:pt x="480" y="0"/>
                  </a:lnTo>
                  <a:lnTo>
                    <a:pt x="0" y="560"/>
                  </a:lnTo>
                  <a:lnTo>
                    <a:pt x="5120" y="5200"/>
                  </a:lnTo>
                  <a:lnTo>
                    <a:pt x="2640" y="7440"/>
                  </a:lnTo>
                  <a:cubicBezTo>
                    <a:pt x="1280" y="7520"/>
                    <a:pt x="160" y="8640"/>
                    <a:pt x="160" y="10080"/>
                  </a:cubicBezTo>
                  <a:cubicBezTo>
                    <a:pt x="160" y="11520"/>
                    <a:pt x="1360" y="12720"/>
                    <a:pt x="2800" y="12720"/>
                  </a:cubicBezTo>
                  <a:cubicBezTo>
                    <a:pt x="4240" y="12720"/>
                    <a:pt x="5440" y="11520"/>
                    <a:pt x="5440" y="10080"/>
                  </a:cubicBezTo>
                  <a:cubicBezTo>
                    <a:pt x="5440" y="8880"/>
                    <a:pt x="4640" y="7920"/>
                    <a:pt x="3600" y="7600"/>
                  </a:cubicBezTo>
                  <a:lnTo>
                    <a:pt x="5680" y="5760"/>
                  </a:lnTo>
                  <a:lnTo>
                    <a:pt x="7840" y="7680"/>
                  </a:lnTo>
                  <a:cubicBezTo>
                    <a:pt x="6880" y="8080"/>
                    <a:pt x="6240" y="9040"/>
                    <a:pt x="6240" y="10080"/>
                  </a:cubicBezTo>
                  <a:cubicBezTo>
                    <a:pt x="6240" y="11520"/>
                    <a:pt x="7440" y="12720"/>
                    <a:pt x="8880" y="12720"/>
                  </a:cubicBezTo>
                  <a:cubicBezTo>
                    <a:pt x="10320" y="12720"/>
                    <a:pt x="11520" y="11520"/>
                    <a:pt x="11520" y="10080"/>
                  </a:cubicBezTo>
                  <a:cubicBezTo>
                    <a:pt x="11520" y="8640"/>
                    <a:pt x="10320" y="7520"/>
                    <a:pt x="8880" y="7520"/>
                  </a:cubicBezTo>
                  <a:close/>
                  <a:moveTo>
                    <a:pt x="4720" y="10080"/>
                  </a:moveTo>
                  <a:cubicBezTo>
                    <a:pt x="4720" y="11120"/>
                    <a:pt x="3840" y="12000"/>
                    <a:pt x="2800" y="12000"/>
                  </a:cubicBezTo>
                  <a:cubicBezTo>
                    <a:pt x="1760" y="12000"/>
                    <a:pt x="880" y="11120"/>
                    <a:pt x="880" y="10080"/>
                  </a:cubicBezTo>
                  <a:cubicBezTo>
                    <a:pt x="880" y="9040"/>
                    <a:pt x="1760" y="8160"/>
                    <a:pt x="2800" y="8160"/>
                  </a:cubicBezTo>
                  <a:cubicBezTo>
                    <a:pt x="3840" y="8160"/>
                    <a:pt x="4720" y="9040"/>
                    <a:pt x="4720" y="10080"/>
                  </a:cubicBezTo>
                  <a:close/>
                  <a:moveTo>
                    <a:pt x="8880" y="12000"/>
                  </a:moveTo>
                  <a:cubicBezTo>
                    <a:pt x="7840" y="12000"/>
                    <a:pt x="6960" y="11120"/>
                    <a:pt x="6960" y="10080"/>
                  </a:cubicBezTo>
                  <a:cubicBezTo>
                    <a:pt x="6960" y="9040"/>
                    <a:pt x="7840" y="8160"/>
                    <a:pt x="8880" y="8160"/>
                  </a:cubicBezTo>
                  <a:cubicBezTo>
                    <a:pt x="9920" y="8160"/>
                    <a:pt x="10800" y="9040"/>
                    <a:pt x="10800" y="10080"/>
                  </a:cubicBezTo>
                  <a:cubicBezTo>
                    <a:pt x="10800" y="11120"/>
                    <a:pt x="9920" y="12000"/>
                    <a:pt x="8880" y="1200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8" name="iconfont-11894-5689857"/>
            <p:cNvSpPr>
              <a:spLocks noChangeAspect="1"/>
            </p:cNvSpPr>
            <p:nvPr userDrawn="1"/>
          </p:nvSpPr>
          <p:spPr bwMode="auto">
            <a:xfrm>
              <a:off x="25750259" y="4617762"/>
              <a:ext cx="609685" cy="563308"/>
            </a:xfrm>
            <a:custGeom>
              <a:avLst/>
              <a:gdLst>
                <a:gd name="T0" fmla="*/ 10230 w 11229"/>
                <a:gd name="T1" fmla="*/ 8212 h 10372"/>
                <a:gd name="T2" fmla="*/ 10167 w 11229"/>
                <a:gd name="T3" fmla="*/ 8205 h 10372"/>
                <a:gd name="T4" fmla="*/ 4884 w 11229"/>
                <a:gd name="T5" fmla="*/ 8205 h 10372"/>
                <a:gd name="T6" fmla="*/ 4649 w 11229"/>
                <a:gd name="T7" fmla="*/ 7316 h 10372"/>
                <a:gd name="T8" fmla="*/ 9093 w 11229"/>
                <a:gd name="T9" fmla="*/ 6985 h 10372"/>
                <a:gd name="T10" fmla="*/ 9388 w 11229"/>
                <a:gd name="T11" fmla="*/ 6673 h 10372"/>
                <a:gd name="T12" fmla="*/ 10234 w 11229"/>
                <a:gd name="T13" fmla="*/ 1982 h 10372"/>
                <a:gd name="T14" fmla="*/ 10236 w 11229"/>
                <a:gd name="T15" fmla="*/ 1875 h 10372"/>
                <a:gd name="T16" fmla="*/ 9917 w 11229"/>
                <a:gd name="T17" fmla="*/ 1593 h 10372"/>
                <a:gd name="T18" fmla="*/ 3134 w 11229"/>
                <a:gd name="T19" fmla="*/ 1593 h 10372"/>
                <a:gd name="T20" fmla="*/ 2792 w 11229"/>
                <a:gd name="T21" fmla="*/ 302 h 10372"/>
                <a:gd name="T22" fmla="*/ 2472 w 11229"/>
                <a:gd name="T23" fmla="*/ 0 h 10372"/>
                <a:gd name="T24" fmla="*/ 320 w 11229"/>
                <a:gd name="T25" fmla="*/ 0 h 10372"/>
                <a:gd name="T26" fmla="*/ 0 w 11229"/>
                <a:gd name="T27" fmla="*/ 309 h 10372"/>
                <a:gd name="T28" fmla="*/ 320 w 11229"/>
                <a:gd name="T29" fmla="*/ 619 h 10372"/>
                <a:gd name="T30" fmla="*/ 2216 w 11229"/>
                <a:gd name="T31" fmla="*/ 619 h 10372"/>
                <a:gd name="T32" fmla="*/ 4224 w 11229"/>
                <a:gd name="T33" fmla="*/ 8205 h 10372"/>
                <a:gd name="T34" fmla="*/ 3622 w 11229"/>
                <a:gd name="T35" fmla="*/ 8205 h 10372"/>
                <a:gd name="T36" fmla="*/ 3562 w 11229"/>
                <a:gd name="T37" fmla="*/ 8211 h 10372"/>
                <a:gd name="T38" fmla="*/ 3447 w 11229"/>
                <a:gd name="T39" fmla="*/ 8205 h 10372"/>
                <a:gd name="T40" fmla="*/ 2327 w 11229"/>
                <a:gd name="T41" fmla="*/ 9289 h 10372"/>
                <a:gd name="T42" fmla="*/ 3447 w 11229"/>
                <a:gd name="T43" fmla="*/ 10372 h 10372"/>
                <a:gd name="T44" fmla="*/ 4567 w 11229"/>
                <a:gd name="T45" fmla="*/ 9289 h 10372"/>
                <a:gd name="T46" fmla="*/ 4445 w 11229"/>
                <a:gd name="T47" fmla="*/ 8796 h 10372"/>
                <a:gd name="T48" fmla="*/ 4584 w 11229"/>
                <a:gd name="T49" fmla="*/ 8796 h 10372"/>
                <a:gd name="T50" fmla="*/ 4674 w 11229"/>
                <a:gd name="T51" fmla="*/ 8796 h 10372"/>
                <a:gd name="T52" fmla="*/ 9111 w 11229"/>
                <a:gd name="T53" fmla="*/ 8796 h 10372"/>
                <a:gd name="T54" fmla="*/ 8988 w 11229"/>
                <a:gd name="T55" fmla="*/ 9289 h 10372"/>
                <a:gd name="T56" fmla="*/ 10109 w 11229"/>
                <a:gd name="T57" fmla="*/ 10372 h 10372"/>
                <a:gd name="T58" fmla="*/ 11229 w 11229"/>
                <a:gd name="T59" fmla="*/ 9289 h 10372"/>
                <a:gd name="T60" fmla="*/ 10230 w 11229"/>
                <a:gd name="T61" fmla="*/ 8212 h 10372"/>
                <a:gd name="T62" fmla="*/ 3447 w 11229"/>
                <a:gd name="T63" fmla="*/ 9879 h 10372"/>
                <a:gd name="T64" fmla="*/ 2836 w 11229"/>
                <a:gd name="T65" fmla="*/ 9289 h 10372"/>
                <a:gd name="T66" fmla="*/ 3447 w 11229"/>
                <a:gd name="T67" fmla="*/ 8697 h 10372"/>
                <a:gd name="T68" fmla="*/ 4058 w 11229"/>
                <a:gd name="T69" fmla="*/ 9289 h 10372"/>
                <a:gd name="T70" fmla="*/ 3447 w 11229"/>
                <a:gd name="T71" fmla="*/ 9879 h 10372"/>
                <a:gd name="T72" fmla="*/ 4487 w 11229"/>
                <a:gd name="T73" fmla="*/ 6707 h 10372"/>
                <a:gd name="T74" fmla="*/ 3298 w 11229"/>
                <a:gd name="T75" fmla="*/ 2212 h 10372"/>
                <a:gd name="T76" fmla="*/ 9543 w 11229"/>
                <a:gd name="T77" fmla="*/ 2212 h 10372"/>
                <a:gd name="T78" fmla="*/ 8790 w 11229"/>
                <a:gd name="T79" fmla="*/ 6387 h 10372"/>
                <a:gd name="T80" fmla="*/ 4487 w 11229"/>
                <a:gd name="T81" fmla="*/ 6707 h 10372"/>
                <a:gd name="T82" fmla="*/ 10109 w 11229"/>
                <a:gd name="T83" fmla="*/ 9879 h 10372"/>
                <a:gd name="T84" fmla="*/ 9498 w 11229"/>
                <a:gd name="T85" fmla="*/ 9289 h 10372"/>
                <a:gd name="T86" fmla="*/ 10109 w 11229"/>
                <a:gd name="T87" fmla="*/ 8697 h 10372"/>
                <a:gd name="T88" fmla="*/ 10719 w 11229"/>
                <a:gd name="T89" fmla="*/ 9289 h 10372"/>
                <a:gd name="T90" fmla="*/ 10109 w 11229"/>
                <a:gd name="T91" fmla="*/ 9879 h 10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229" h="10372">
                  <a:moveTo>
                    <a:pt x="10230" y="8212"/>
                  </a:moveTo>
                  <a:cubicBezTo>
                    <a:pt x="10209" y="8207"/>
                    <a:pt x="10188" y="8205"/>
                    <a:pt x="10167" y="8205"/>
                  </a:cubicBezTo>
                  <a:lnTo>
                    <a:pt x="4884" y="8205"/>
                  </a:lnTo>
                  <a:lnTo>
                    <a:pt x="4649" y="7316"/>
                  </a:lnTo>
                  <a:lnTo>
                    <a:pt x="9093" y="6985"/>
                  </a:lnTo>
                  <a:cubicBezTo>
                    <a:pt x="9263" y="6973"/>
                    <a:pt x="9391" y="6835"/>
                    <a:pt x="9388" y="6673"/>
                  </a:cubicBezTo>
                  <a:lnTo>
                    <a:pt x="10234" y="1982"/>
                  </a:lnTo>
                  <a:cubicBezTo>
                    <a:pt x="10241" y="1945"/>
                    <a:pt x="10242" y="1909"/>
                    <a:pt x="10236" y="1875"/>
                  </a:cubicBezTo>
                  <a:cubicBezTo>
                    <a:pt x="10222" y="1717"/>
                    <a:pt x="10085" y="1593"/>
                    <a:pt x="9917" y="1593"/>
                  </a:cubicBezTo>
                  <a:lnTo>
                    <a:pt x="3134" y="1593"/>
                  </a:lnTo>
                  <a:lnTo>
                    <a:pt x="2792" y="302"/>
                  </a:lnTo>
                  <a:cubicBezTo>
                    <a:pt x="2788" y="134"/>
                    <a:pt x="2647" y="0"/>
                    <a:pt x="2472" y="0"/>
                  </a:cubicBezTo>
                  <a:lnTo>
                    <a:pt x="320" y="0"/>
                  </a:lnTo>
                  <a:cubicBezTo>
                    <a:pt x="143" y="0"/>
                    <a:pt x="0" y="138"/>
                    <a:pt x="0" y="309"/>
                  </a:cubicBezTo>
                  <a:cubicBezTo>
                    <a:pt x="0" y="480"/>
                    <a:pt x="143" y="619"/>
                    <a:pt x="320" y="619"/>
                  </a:cubicBezTo>
                  <a:lnTo>
                    <a:pt x="2216" y="619"/>
                  </a:lnTo>
                  <a:lnTo>
                    <a:pt x="4224" y="8205"/>
                  </a:lnTo>
                  <a:lnTo>
                    <a:pt x="3622" y="8205"/>
                  </a:lnTo>
                  <a:cubicBezTo>
                    <a:pt x="3601" y="8205"/>
                    <a:pt x="3581" y="8207"/>
                    <a:pt x="3562" y="8211"/>
                  </a:cubicBezTo>
                  <a:cubicBezTo>
                    <a:pt x="3524" y="8207"/>
                    <a:pt x="3486" y="8205"/>
                    <a:pt x="3447" y="8205"/>
                  </a:cubicBezTo>
                  <a:cubicBezTo>
                    <a:pt x="2828" y="8205"/>
                    <a:pt x="2327" y="8690"/>
                    <a:pt x="2327" y="9289"/>
                  </a:cubicBezTo>
                  <a:cubicBezTo>
                    <a:pt x="2327" y="9887"/>
                    <a:pt x="2828" y="10372"/>
                    <a:pt x="3447" y="10372"/>
                  </a:cubicBezTo>
                  <a:cubicBezTo>
                    <a:pt x="4066" y="10372"/>
                    <a:pt x="4567" y="9887"/>
                    <a:pt x="4567" y="9289"/>
                  </a:cubicBezTo>
                  <a:cubicBezTo>
                    <a:pt x="4567" y="9111"/>
                    <a:pt x="4523" y="8944"/>
                    <a:pt x="4445" y="8796"/>
                  </a:cubicBezTo>
                  <a:lnTo>
                    <a:pt x="4584" y="8796"/>
                  </a:lnTo>
                  <a:cubicBezTo>
                    <a:pt x="4613" y="8800"/>
                    <a:pt x="4643" y="8800"/>
                    <a:pt x="4674" y="8796"/>
                  </a:cubicBezTo>
                  <a:lnTo>
                    <a:pt x="9111" y="8796"/>
                  </a:lnTo>
                  <a:cubicBezTo>
                    <a:pt x="9032" y="8944"/>
                    <a:pt x="8988" y="9111"/>
                    <a:pt x="8988" y="9289"/>
                  </a:cubicBezTo>
                  <a:cubicBezTo>
                    <a:pt x="8988" y="9887"/>
                    <a:pt x="9490" y="10372"/>
                    <a:pt x="10109" y="10372"/>
                  </a:cubicBezTo>
                  <a:cubicBezTo>
                    <a:pt x="10727" y="10372"/>
                    <a:pt x="11229" y="9887"/>
                    <a:pt x="11229" y="9289"/>
                  </a:cubicBezTo>
                  <a:cubicBezTo>
                    <a:pt x="11228" y="8730"/>
                    <a:pt x="10791" y="8270"/>
                    <a:pt x="10230" y="8212"/>
                  </a:cubicBezTo>
                  <a:close/>
                  <a:moveTo>
                    <a:pt x="3447" y="9879"/>
                  </a:moveTo>
                  <a:cubicBezTo>
                    <a:pt x="3109" y="9879"/>
                    <a:pt x="2836" y="9615"/>
                    <a:pt x="2836" y="9289"/>
                  </a:cubicBezTo>
                  <a:cubicBezTo>
                    <a:pt x="2836" y="8962"/>
                    <a:pt x="3110" y="8697"/>
                    <a:pt x="3447" y="8697"/>
                  </a:cubicBezTo>
                  <a:cubicBezTo>
                    <a:pt x="3784" y="8697"/>
                    <a:pt x="4058" y="8962"/>
                    <a:pt x="4058" y="9289"/>
                  </a:cubicBezTo>
                  <a:cubicBezTo>
                    <a:pt x="4058" y="9615"/>
                    <a:pt x="3784" y="9879"/>
                    <a:pt x="3447" y="9879"/>
                  </a:cubicBezTo>
                  <a:close/>
                  <a:moveTo>
                    <a:pt x="4487" y="6707"/>
                  </a:moveTo>
                  <a:lnTo>
                    <a:pt x="3298" y="2212"/>
                  </a:lnTo>
                  <a:lnTo>
                    <a:pt x="9543" y="2212"/>
                  </a:lnTo>
                  <a:lnTo>
                    <a:pt x="8790" y="6387"/>
                  </a:lnTo>
                  <a:lnTo>
                    <a:pt x="4487" y="6707"/>
                  </a:lnTo>
                  <a:close/>
                  <a:moveTo>
                    <a:pt x="10109" y="9879"/>
                  </a:moveTo>
                  <a:cubicBezTo>
                    <a:pt x="9771" y="9879"/>
                    <a:pt x="9498" y="9615"/>
                    <a:pt x="9498" y="9289"/>
                  </a:cubicBezTo>
                  <a:cubicBezTo>
                    <a:pt x="9498" y="8962"/>
                    <a:pt x="9771" y="8697"/>
                    <a:pt x="10109" y="8697"/>
                  </a:cubicBezTo>
                  <a:cubicBezTo>
                    <a:pt x="10446" y="8697"/>
                    <a:pt x="10719" y="8962"/>
                    <a:pt x="10719" y="9289"/>
                  </a:cubicBezTo>
                  <a:cubicBezTo>
                    <a:pt x="10719" y="9615"/>
                    <a:pt x="10446" y="9879"/>
                    <a:pt x="10109" y="9879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99" name="iconfont-11894-5689857"/>
            <p:cNvSpPr>
              <a:spLocks noChangeAspect="1"/>
            </p:cNvSpPr>
            <p:nvPr userDrawn="1"/>
          </p:nvSpPr>
          <p:spPr bwMode="auto">
            <a:xfrm>
              <a:off x="26998436" y="4594574"/>
              <a:ext cx="552081" cy="609685"/>
            </a:xfrm>
            <a:custGeom>
              <a:avLst/>
              <a:gdLst>
                <a:gd name="T0" fmla="*/ 8880 w 11520"/>
                <a:gd name="T1" fmla="*/ 7520 h 12720"/>
                <a:gd name="T2" fmla="*/ 8720 w 11520"/>
                <a:gd name="T3" fmla="*/ 7520 h 12720"/>
                <a:gd name="T4" fmla="*/ 6240 w 11520"/>
                <a:gd name="T5" fmla="*/ 5280 h 12720"/>
                <a:gd name="T6" fmla="*/ 11360 w 11520"/>
                <a:gd name="T7" fmla="*/ 640 h 12720"/>
                <a:gd name="T8" fmla="*/ 10880 w 11520"/>
                <a:gd name="T9" fmla="*/ 80 h 12720"/>
                <a:gd name="T10" fmla="*/ 5680 w 11520"/>
                <a:gd name="T11" fmla="*/ 4720 h 12720"/>
                <a:gd name="T12" fmla="*/ 480 w 11520"/>
                <a:gd name="T13" fmla="*/ 0 h 12720"/>
                <a:gd name="T14" fmla="*/ 0 w 11520"/>
                <a:gd name="T15" fmla="*/ 560 h 12720"/>
                <a:gd name="T16" fmla="*/ 5120 w 11520"/>
                <a:gd name="T17" fmla="*/ 5200 h 12720"/>
                <a:gd name="T18" fmla="*/ 2640 w 11520"/>
                <a:gd name="T19" fmla="*/ 7440 h 12720"/>
                <a:gd name="T20" fmla="*/ 160 w 11520"/>
                <a:gd name="T21" fmla="*/ 10080 h 12720"/>
                <a:gd name="T22" fmla="*/ 2800 w 11520"/>
                <a:gd name="T23" fmla="*/ 12720 h 12720"/>
                <a:gd name="T24" fmla="*/ 5440 w 11520"/>
                <a:gd name="T25" fmla="*/ 10080 h 12720"/>
                <a:gd name="T26" fmla="*/ 3600 w 11520"/>
                <a:gd name="T27" fmla="*/ 7600 h 12720"/>
                <a:gd name="T28" fmla="*/ 5680 w 11520"/>
                <a:gd name="T29" fmla="*/ 5760 h 12720"/>
                <a:gd name="T30" fmla="*/ 7840 w 11520"/>
                <a:gd name="T31" fmla="*/ 7680 h 12720"/>
                <a:gd name="T32" fmla="*/ 6240 w 11520"/>
                <a:gd name="T33" fmla="*/ 10080 h 12720"/>
                <a:gd name="T34" fmla="*/ 8880 w 11520"/>
                <a:gd name="T35" fmla="*/ 12720 h 12720"/>
                <a:gd name="T36" fmla="*/ 11520 w 11520"/>
                <a:gd name="T37" fmla="*/ 10080 h 12720"/>
                <a:gd name="T38" fmla="*/ 8880 w 11520"/>
                <a:gd name="T39" fmla="*/ 7520 h 12720"/>
                <a:gd name="T40" fmla="*/ 4720 w 11520"/>
                <a:gd name="T41" fmla="*/ 10080 h 12720"/>
                <a:gd name="T42" fmla="*/ 2800 w 11520"/>
                <a:gd name="T43" fmla="*/ 12000 h 12720"/>
                <a:gd name="T44" fmla="*/ 880 w 11520"/>
                <a:gd name="T45" fmla="*/ 10080 h 12720"/>
                <a:gd name="T46" fmla="*/ 2800 w 11520"/>
                <a:gd name="T47" fmla="*/ 8160 h 12720"/>
                <a:gd name="T48" fmla="*/ 4720 w 11520"/>
                <a:gd name="T49" fmla="*/ 10080 h 12720"/>
                <a:gd name="T50" fmla="*/ 8880 w 11520"/>
                <a:gd name="T51" fmla="*/ 12000 h 12720"/>
                <a:gd name="T52" fmla="*/ 6960 w 11520"/>
                <a:gd name="T53" fmla="*/ 10080 h 12720"/>
                <a:gd name="T54" fmla="*/ 8880 w 11520"/>
                <a:gd name="T55" fmla="*/ 8160 h 12720"/>
                <a:gd name="T56" fmla="*/ 10800 w 11520"/>
                <a:gd name="T57" fmla="*/ 10080 h 12720"/>
                <a:gd name="T58" fmla="*/ 8880 w 11520"/>
                <a:gd name="T59" fmla="*/ 1200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20" h="12720">
                  <a:moveTo>
                    <a:pt x="8880" y="7520"/>
                  </a:moveTo>
                  <a:lnTo>
                    <a:pt x="8720" y="7520"/>
                  </a:lnTo>
                  <a:lnTo>
                    <a:pt x="6240" y="5280"/>
                  </a:lnTo>
                  <a:lnTo>
                    <a:pt x="11360" y="640"/>
                  </a:lnTo>
                  <a:lnTo>
                    <a:pt x="10880" y="80"/>
                  </a:lnTo>
                  <a:lnTo>
                    <a:pt x="5680" y="4720"/>
                  </a:lnTo>
                  <a:lnTo>
                    <a:pt x="480" y="0"/>
                  </a:lnTo>
                  <a:lnTo>
                    <a:pt x="0" y="560"/>
                  </a:lnTo>
                  <a:lnTo>
                    <a:pt x="5120" y="5200"/>
                  </a:lnTo>
                  <a:lnTo>
                    <a:pt x="2640" y="7440"/>
                  </a:lnTo>
                  <a:cubicBezTo>
                    <a:pt x="1280" y="7520"/>
                    <a:pt x="160" y="8640"/>
                    <a:pt x="160" y="10080"/>
                  </a:cubicBezTo>
                  <a:cubicBezTo>
                    <a:pt x="160" y="11520"/>
                    <a:pt x="1360" y="12720"/>
                    <a:pt x="2800" y="12720"/>
                  </a:cubicBezTo>
                  <a:cubicBezTo>
                    <a:pt x="4240" y="12720"/>
                    <a:pt x="5440" y="11520"/>
                    <a:pt x="5440" y="10080"/>
                  </a:cubicBezTo>
                  <a:cubicBezTo>
                    <a:pt x="5440" y="8880"/>
                    <a:pt x="4640" y="7920"/>
                    <a:pt x="3600" y="7600"/>
                  </a:cubicBezTo>
                  <a:lnTo>
                    <a:pt x="5680" y="5760"/>
                  </a:lnTo>
                  <a:lnTo>
                    <a:pt x="7840" y="7680"/>
                  </a:lnTo>
                  <a:cubicBezTo>
                    <a:pt x="6880" y="8080"/>
                    <a:pt x="6240" y="9040"/>
                    <a:pt x="6240" y="10080"/>
                  </a:cubicBezTo>
                  <a:cubicBezTo>
                    <a:pt x="6240" y="11520"/>
                    <a:pt x="7440" y="12720"/>
                    <a:pt x="8880" y="12720"/>
                  </a:cubicBezTo>
                  <a:cubicBezTo>
                    <a:pt x="10320" y="12720"/>
                    <a:pt x="11520" y="11520"/>
                    <a:pt x="11520" y="10080"/>
                  </a:cubicBezTo>
                  <a:cubicBezTo>
                    <a:pt x="11520" y="8640"/>
                    <a:pt x="10320" y="7520"/>
                    <a:pt x="8880" y="7520"/>
                  </a:cubicBezTo>
                  <a:close/>
                  <a:moveTo>
                    <a:pt x="4720" y="10080"/>
                  </a:moveTo>
                  <a:cubicBezTo>
                    <a:pt x="4720" y="11120"/>
                    <a:pt x="3840" y="12000"/>
                    <a:pt x="2800" y="12000"/>
                  </a:cubicBezTo>
                  <a:cubicBezTo>
                    <a:pt x="1760" y="12000"/>
                    <a:pt x="880" y="11120"/>
                    <a:pt x="880" y="10080"/>
                  </a:cubicBezTo>
                  <a:cubicBezTo>
                    <a:pt x="880" y="9040"/>
                    <a:pt x="1760" y="8160"/>
                    <a:pt x="2800" y="8160"/>
                  </a:cubicBezTo>
                  <a:cubicBezTo>
                    <a:pt x="3840" y="8160"/>
                    <a:pt x="4720" y="9040"/>
                    <a:pt x="4720" y="10080"/>
                  </a:cubicBezTo>
                  <a:close/>
                  <a:moveTo>
                    <a:pt x="8880" y="12000"/>
                  </a:moveTo>
                  <a:cubicBezTo>
                    <a:pt x="7840" y="12000"/>
                    <a:pt x="6960" y="11120"/>
                    <a:pt x="6960" y="10080"/>
                  </a:cubicBezTo>
                  <a:cubicBezTo>
                    <a:pt x="6960" y="9040"/>
                    <a:pt x="7840" y="8160"/>
                    <a:pt x="8880" y="8160"/>
                  </a:cubicBezTo>
                  <a:cubicBezTo>
                    <a:pt x="9920" y="8160"/>
                    <a:pt x="10800" y="9040"/>
                    <a:pt x="10800" y="10080"/>
                  </a:cubicBezTo>
                  <a:cubicBezTo>
                    <a:pt x="10800" y="11120"/>
                    <a:pt x="9920" y="12000"/>
                    <a:pt x="8880" y="1200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00" name="iconfont-11894-5689857"/>
            <p:cNvSpPr>
              <a:spLocks noChangeAspect="1"/>
            </p:cNvSpPr>
            <p:nvPr userDrawn="1"/>
          </p:nvSpPr>
          <p:spPr bwMode="auto">
            <a:xfrm>
              <a:off x="28188999" y="459457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01" name="iconfont-11894-5689857"/>
            <p:cNvSpPr>
              <a:spLocks noChangeAspect="1"/>
            </p:cNvSpPr>
            <p:nvPr userDrawn="1"/>
          </p:nvSpPr>
          <p:spPr bwMode="auto">
            <a:xfrm>
              <a:off x="13556559" y="6064991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102" name="iconfont-11894-5689857"/>
            <p:cNvSpPr>
              <a:spLocks noChangeAspect="1"/>
            </p:cNvSpPr>
            <p:nvPr userDrawn="1"/>
          </p:nvSpPr>
          <p:spPr bwMode="auto">
            <a:xfrm>
              <a:off x="14775929" y="6100660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03" name="iconfont-11894-5689857"/>
            <p:cNvSpPr>
              <a:spLocks noChangeAspect="1"/>
            </p:cNvSpPr>
            <p:nvPr userDrawn="1"/>
          </p:nvSpPr>
          <p:spPr bwMode="auto">
            <a:xfrm>
              <a:off x="15995299" y="6087662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4" name="iconfont-11894-5689857"/>
            <p:cNvSpPr>
              <a:spLocks noChangeAspect="1"/>
            </p:cNvSpPr>
            <p:nvPr userDrawn="1"/>
          </p:nvSpPr>
          <p:spPr bwMode="auto">
            <a:xfrm>
              <a:off x="17214969" y="6064991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5" name="iconfont-11894-5689857"/>
            <p:cNvSpPr>
              <a:spLocks noChangeAspect="1"/>
            </p:cNvSpPr>
            <p:nvPr userDrawn="1"/>
          </p:nvSpPr>
          <p:spPr bwMode="auto">
            <a:xfrm>
              <a:off x="18434538" y="6064991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6" name="iconfont-11894-5689857"/>
            <p:cNvSpPr>
              <a:spLocks noChangeAspect="1"/>
            </p:cNvSpPr>
            <p:nvPr userDrawn="1"/>
          </p:nvSpPr>
          <p:spPr bwMode="auto">
            <a:xfrm>
              <a:off x="19746077" y="6064991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7" name="iconfont-11894-5689857"/>
            <p:cNvSpPr>
              <a:spLocks noChangeAspect="1"/>
            </p:cNvSpPr>
            <p:nvPr userDrawn="1"/>
          </p:nvSpPr>
          <p:spPr bwMode="auto">
            <a:xfrm>
              <a:off x="20872779" y="6066472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8" name="iconfont-11894-5689857"/>
            <p:cNvSpPr>
              <a:spLocks noChangeAspect="1"/>
            </p:cNvSpPr>
            <p:nvPr userDrawn="1"/>
          </p:nvSpPr>
          <p:spPr bwMode="auto">
            <a:xfrm>
              <a:off x="22092150" y="6071390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9" name="iconfont-11894-5689857"/>
            <p:cNvSpPr>
              <a:spLocks noChangeAspect="1"/>
            </p:cNvSpPr>
            <p:nvPr userDrawn="1"/>
          </p:nvSpPr>
          <p:spPr bwMode="auto">
            <a:xfrm>
              <a:off x="23401954" y="6064991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0" name="iconfont-11894-5689857"/>
            <p:cNvSpPr>
              <a:spLocks noChangeAspect="1"/>
            </p:cNvSpPr>
            <p:nvPr userDrawn="1"/>
          </p:nvSpPr>
          <p:spPr bwMode="auto">
            <a:xfrm>
              <a:off x="24530889" y="6064991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</p:sp>
        <p:sp>
          <p:nvSpPr>
            <p:cNvPr id="111" name="iconfont-11894-5689857"/>
            <p:cNvSpPr>
              <a:spLocks noChangeAspect="1"/>
            </p:cNvSpPr>
            <p:nvPr userDrawn="1"/>
          </p:nvSpPr>
          <p:spPr bwMode="auto">
            <a:xfrm>
              <a:off x="25750260" y="6134244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12" name="iconfont-11894-5689857"/>
            <p:cNvSpPr>
              <a:spLocks noChangeAspect="1"/>
            </p:cNvSpPr>
            <p:nvPr userDrawn="1"/>
          </p:nvSpPr>
          <p:spPr bwMode="auto">
            <a:xfrm>
              <a:off x="26969630" y="6071093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3" name="iconfont-11894-5689857"/>
            <p:cNvSpPr>
              <a:spLocks noChangeAspect="1"/>
            </p:cNvSpPr>
            <p:nvPr userDrawn="1"/>
          </p:nvSpPr>
          <p:spPr bwMode="auto">
            <a:xfrm>
              <a:off x="28188999" y="6064991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48000"/>
              </a:schemeClr>
            </a:solidFill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  <p:sp>
        <p:nvSpPr>
          <p:cNvPr id="114" name="矩形 113"/>
          <p:cNvSpPr/>
          <p:nvPr userDrawn="1"/>
        </p:nvSpPr>
        <p:spPr>
          <a:xfrm>
            <a:off x="420914" y="288480"/>
            <a:ext cx="11350172" cy="6290564"/>
          </a:xfrm>
          <a:prstGeom prst="rect">
            <a:avLst/>
          </a:prstGeom>
          <a:solidFill>
            <a:schemeClr val="bg1"/>
          </a:solidFill>
          <a:ln w="263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rgbClr val="E6E6E6"/>
              </a:solidFill>
            </a:endParaRPr>
          </a:p>
        </p:txBody>
      </p:sp>
      <p:grpSp>
        <p:nvGrpSpPr>
          <p:cNvPr id="438" name="组合 437"/>
          <p:cNvGrpSpPr/>
          <p:nvPr userDrawn="1"/>
        </p:nvGrpSpPr>
        <p:grpSpPr>
          <a:xfrm rot="20715591">
            <a:off x="-2678010" y="-1722569"/>
            <a:ext cx="14438908" cy="11720996"/>
            <a:chOff x="13556559" y="-5698344"/>
            <a:chExt cx="15242125" cy="12373020"/>
          </a:xfrm>
          <a:solidFill>
            <a:schemeClr val="accent4">
              <a:alpha val="15000"/>
            </a:schemeClr>
          </a:solidFill>
        </p:grpSpPr>
        <p:sp>
          <p:nvSpPr>
            <p:cNvPr id="9" name="iconfont-11894-5689857"/>
            <p:cNvSpPr>
              <a:spLocks noChangeAspect="1"/>
            </p:cNvSpPr>
            <p:nvPr userDrawn="1"/>
          </p:nvSpPr>
          <p:spPr bwMode="auto">
            <a:xfrm>
              <a:off x="13556559" y="-569834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08" name="iconfont-11894-5689857"/>
            <p:cNvSpPr>
              <a:spLocks noChangeAspect="1"/>
            </p:cNvSpPr>
            <p:nvPr userDrawn="1"/>
          </p:nvSpPr>
          <p:spPr bwMode="auto">
            <a:xfrm>
              <a:off x="14775929" y="-5662675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09" name="iconfont-11894-5689857"/>
            <p:cNvSpPr>
              <a:spLocks noChangeAspect="1"/>
            </p:cNvSpPr>
            <p:nvPr userDrawn="1"/>
          </p:nvSpPr>
          <p:spPr bwMode="auto">
            <a:xfrm>
              <a:off x="15995299" y="-5675673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0" name="iconfont-11894-5689857"/>
            <p:cNvSpPr>
              <a:spLocks noChangeAspect="1"/>
            </p:cNvSpPr>
            <p:nvPr userDrawn="1"/>
          </p:nvSpPr>
          <p:spPr bwMode="auto">
            <a:xfrm>
              <a:off x="17214969" y="-569834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1" name="iconfont-11894-5689857"/>
            <p:cNvSpPr>
              <a:spLocks noChangeAspect="1"/>
            </p:cNvSpPr>
            <p:nvPr userDrawn="1"/>
          </p:nvSpPr>
          <p:spPr bwMode="auto">
            <a:xfrm>
              <a:off x="18434538" y="-5698344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2" name="iconfont-11894-5689857"/>
            <p:cNvSpPr>
              <a:spLocks noChangeAspect="1"/>
            </p:cNvSpPr>
            <p:nvPr userDrawn="1"/>
          </p:nvSpPr>
          <p:spPr bwMode="auto">
            <a:xfrm>
              <a:off x="19746077" y="-5698344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3" name="iconfont-11894-5689857"/>
            <p:cNvSpPr>
              <a:spLocks noChangeAspect="1"/>
            </p:cNvSpPr>
            <p:nvPr userDrawn="1"/>
          </p:nvSpPr>
          <p:spPr bwMode="auto">
            <a:xfrm>
              <a:off x="20872779" y="-5696863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4" name="iconfont-11894-5689857"/>
            <p:cNvSpPr>
              <a:spLocks noChangeAspect="1"/>
            </p:cNvSpPr>
            <p:nvPr userDrawn="1"/>
          </p:nvSpPr>
          <p:spPr bwMode="auto">
            <a:xfrm>
              <a:off x="22092150" y="-5691945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5" name="iconfont-11894-5689857"/>
            <p:cNvSpPr>
              <a:spLocks noChangeAspect="1"/>
            </p:cNvSpPr>
            <p:nvPr userDrawn="1"/>
          </p:nvSpPr>
          <p:spPr bwMode="auto">
            <a:xfrm>
              <a:off x="23401954" y="-5698344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0" name="iconfont-11894-5689857"/>
            <p:cNvSpPr>
              <a:spLocks noChangeAspect="1"/>
            </p:cNvSpPr>
            <p:nvPr userDrawn="1"/>
          </p:nvSpPr>
          <p:spPr bwMode="auto">
            <a:xfrm>
              <a:off x="24530889" y="-569834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17" name="iconfont-11894-5689857"/>
            <p:cNvSpPr>
              <a:spLocks noChangeAspect="1"/>
            </p:cNvSpPr>
            <p:nvPr userDrawn="1"/>
          </p:nvSpPr>
          <p:spPr bwMode="auto">
            <a:xfrm>
              <a:off x="25750260" y="-5629091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118" name="iconfont-11894-5689857"/>
            <p:cNvSpPr>
              <a:spLocks noChangeAspect="1"/>
            </p:cNvSpPr>
            <p:nvPr userDrawn="1"/>
          </p:nvSpPr>
          <p:spPr bwMode="auto">
            <a:xfrm>
              <a:off x="26969630" y="-5692242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9" name="iconfont-11894-5689857"/>
            <p:cNvSpPr>
              <a:spLocks noChangeAspect="1"/>
            </p:cNvSpPr>
            <p:nvPr userDrawn="1"/>
          </p:nvSpPr>
          <p:spPr bwMode="auto">
            <a:xfrm>
              <a:off x="28188999" y="-569834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0" name="iconfont-11894-5689857"/>
            <p:cNvSpPr>
              <a:spLocks noChangeAspect="1"/>
            </p:cNvSpPr>
            <p:nvPr userDrawn="1"/>
          </p:nvSpPr>
          <p:spPr bwMode="auto">
            <a:xfrm>
              <a:off x="13556559" y="-422792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291" name="iconfont-11894-5689857"/>
            <p:cNvSpPr>
              <a:spLocks noChangeAspect="1"/>
            </p:cNvSpPr>
            <p:nvPr userDrawn="1"/>
          </p:nvSpPr>
          <p:spPr bwMode="auto">
            <a:xfrm>
              <a:off x="14775929" y="-4192258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2" name="iconfont-11894-5689857"/>
            <p:cNvSpPr>
              <a:spLocks noChangeAspect="1"/>
            </p:cNvSpPr>
            <p:nvPr userDrawn="1"/>
          </p:nvSpPr>
          <p:spPr bwMode="auto">
            <a:xfrm>
              <a:off x="15995299" y="-4205256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3" name="iconfont-11894-5689857"/>
            <p:cNvSpPr>
              <a:spLocks noChangeAspect="1"/>
            </p:cNvSpPr>
            <p:nvPr userDrawn="1"/>
          </p:nvSpPr>
          <p:spPr bwMode="auto">
            <a:xfrm>
              <a:off x="17214969" y="-4227927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4" name="iconfont-11894-5689857"/>
            <p:cNvSpPr>
              <a:spLocks noChangeAspect="1"/>
            </p:cNvSpPr>
            <p:nvPr userDrawn="1"/>
          </p:nvSpPr>
          <p:spPr bwMode="auto">
            <a:xfrm>
              <a:off x="18434041" y="-4227927"/>
              <a:ext cx="609685" cy="609685"/>
            </a:xfrm>
            <a:custGeom>
              <a:avLst/>
              <a:gdLst>
                <a:gd name="T0" fmla="*/ 12800 w 12800"/>
                <a:gd name="T1" fmla="*/ 11680 h 12800"/>
                <a:gd name="T2" fmla="*/ 11680 w 12800"/>
                <a:gd name="T3" fmla="*/ 12800 h 12800"/>
                <a:gd name="T4" fmla="*/ 1120 w 12800"/>
                <a:gd name="T5" fmla="*/ 12800 h 12800"/>
                <a:gd name="T6" fmla="*/ 0 w 12800"/>
                <a:gd name="T7" fmla="*/ 11680 h 12800"/>
                <a:gd name="T8" fmla="*/ 0 w 12800"/>
                <a:gd name="T9" fmla="*/ 1120 h 12800"/>
                <a:gd name="T10" fmla="*/ 1120 w 12800"/>
                <a:gd name="T11" fmla="*/ 0 h 12800"/>
                <a:gd name="T12" fmla="*/ 11680 w 12800"/>
                <a:gd name="T13" fmla="*/ 0 h 12800"/>
                <a:gd name="T14" fmla="*/ 12800 w 12800"/>
                <a:gd name="T15" fmla="*/ 1120 h 12800"/>
                <a:gd name="T16" fmla="*/ 12800 w 12800"/>
                <a:gd name="T17" fmla="*/ 11680 h 12800"/>
                <a:gd name="T18" fmla="*/ 12005 w 12800"/>
                <a:gd name="T19" fmla="*/ 1366 h 12800"/>
                <a:gd name="T20" fmla="*/ 11466 w 12800"/>
                <a:gd name="T21" fmla="*/ 800 h 12800"/>
                <a:gd name="T22" fmla="*/ 1200 w 12800"/>
                <a:gd name="T23" fmla="*/ 800 h 12800"/>
                <a:gd name="T24" fmla="*/ 800 w 12800"/>
                <a:gd name="T25" fmla="*/ 1200 h 12800"/>
                <a:gd name="T26" fmla="*/ 800 w 12800"/>
                <a:gd name="T27" fmla="*/ 11500 h 12800"/>
                <a:gd name="T28" fmla="*/ 1300 w 12800"/>
                <a:gd name="T29" fmla="*/ 12000 h 12800"/>
                <a:gd name="T30" fmla="*/ 11500 w 12800"/>
                <a:gd name="T31" fmla="*/ 12000 h 12800"/>
                <a:gd name="T32" fmla="*/ 12005 w 12800"/>
                <a:gd name="T33" fmla="*/ 11434 h 12800"/>
                <a:gd name="T34" fmla="*/ 12000 w 12800"/>
                <a:gd name="T35" fmla="*/ 1200 h 12800"/>
                <a:gd name="T36" fmla="*/ 12005 w 12800"/>
                <a:gd name="T37" fmla="*/ 1366 h 12800"/>
                <a:gd name="T38" fmla="*/ 8800 w 12800"/>
                <a:gd name="T39" fmla="*/ 10400 h 12800"/>
                <a:gd name="T40" fmla="*/ 4000 w 12800"/>
                <a:gd name="T41" fmla="*/ 10400 h 12800"/>
                <a:gd name="T42" fmla="*/ 4000 w 12800"/>
                <a:gd name="T43" fmla="*/ 7200 h 12800"/>
                <a:gd name="T44" fmla="*/ 1600 w 12800"/>
                <a:gd name="T45" fmla="*/ 7200 h 12800"/>
                <a:gd name="T46" fmla="*/ 6400 w 12800"/>
                <a:gd name="T47" fmla="*/ 1562 h 12800"/>
                <a:gd name="T48" fmla="*/ 11200 w 12800"/>
                <a:gd name="T49" fmla="*/ 7200 h 12800"/>
                <a:gd name="T50" fmla="*/ 8800 w 12800"/>
                <a:gd name="T51" fmla="*/ 7200 h 12800"/>
                <a:gd name="T52" fmla="*/ 8800 w 12800"/>
                <a:gd name="T53" fmla="*/ 10400 h 12800"/>
                <a:gd name="T54" fmla="*/ 4800 w 12800"/>
                <a:gd name="T55" fmla="*/ 9600 h 12800"/>
                <a:gd name="T56" fmla="*/ 8000 w 12800"/>
                <a:gd name="T57" fmla="*/ 9600 h 12800"/>
                <a:gd name="T58" fmla="*/ 8000 w 12800"/>
                <a:gd name="T59" fmla="*/ 6400 h 12800"/>
                <a:gd name="T60" fmla="*/ 9566 w 12800"/>
                <a:gd name="T61" fmla="*/ 6400 h 12800"/>
                <a:gd name="T62" fmla="*/ 6400 w 12800"/>
                <a:gd name="T63" fmla="*/ 2900 h 12800"/>
                <a:gd name="T64" fmla="*/ 3280 w 12800"/>
                <a:gd name="T65" fmla="*/ 6400 h 12800"/>
                <a:gd name="T66" fmla="*/ 4800 w 12800"/>
                <a:gd name="T67" fmla="*/ 6400 h 12800"/>
                <a:gd name="T68" fmla="*/ 4800 w 12800"/>
                <a:gd name="T69" fmla="*/ 96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800" h="12800">
                  <a:moveTo>
                    <a:pt x="12800" y="11680"/>
                  </a:moveTo>
                  <a:cubicBezTo>
                    <a:pt x="12800" y="12298"/>
                    <a:pt x="12298" y="12800"/>
                    <a:pt x="11680" y="12800"/>
                  </a:cubicBezTo>
                  <a:lnTo>
                    <a:pt x="1120" y="12800"/>
                  </a:lnTo>
                  <a:cubicBezTo>
                    <a:pt x="502" y="12800"/>
                    <a:pt x="0" y="12298"/>
                    <a:pt x="0" y="11680"/>
                  </a:cubicBezTo>
                  <a:lnTo>
                    <a:pt x="0" y="1120"/>
                  </a:lnTo>
                  <a:cubicBezTo>
                    <a:pt x="0" y="502"/>
                    <a:pt x="502" y="0"/>
                    <a:pt x="1120" y="0"/>
                  </a:cubicBezTo>
                  <a:lnTo>
                    <a:pt x="11680" y="0"/>
                  </a:lnTo>
                  <a:cubicBezTo>
                    <a:pt x="12298" y="0"/>
                    <a:pt x="12800" y="502"/>
                    <a:pt x="12800" y="1120"/>
                  </a:cubicBezTo>
                  <a:lnTo>
                    <a:pt x="12800" y="11680"/>
                  </a:lnTo>
                  <a:close/>
                  <a:moveTo>
                    <a:pt x="12005" y="1366"/>
                  </a:moveTo>
                  <a:cubicBezTo>
                    <a:pt x="12005" y="1017"/>
                    <a:pt x="11706" y="800"/>
                    <a:pt x="11466" y="800"/>
                  </a:cubicBezTo>
                  <a:lnTo>
                    <a:pt x="1200" y="800"/>
                  </a:lnTo>
                  <a:cubicBezTo>
                    <a:pt x="1038" y="800"/>
                    <a:pt x="800" y="1001"/>
                    <a:pt x="800" y="1200"/>
                  </a:cubicBezTo>
                  <a:lnTo>
                    <a:pt x="800" y="11500"/>
                  </a:lnTo>
                  <a:cubicBezTo>
                    <a:pt x="800" y="11740"/>
                    <a:pt x="1060" y="12000"/>
                    <a:pt x="1300" y="12000"/>
                  </a:cubicBezTo>
                  <a:lnTo>
                    <a:pt x="11500" y="12000"/>
                  </a:lnTo>
                  <a:cubicBezTo>
                    <a:pt x="11740" y="12000"/>
                    <a:pt x="12005" y="11674"/>
                    <a:pt x="12005" y="11434"/>
                  </a:cubicBezTo>
                  <a:lnTo>
                    <a:pt x="12000" y="1200"/>
                  </a:lnTo>
                  <a:lnTo>
                    <a:pt x="12005" y="1366"/>
                  </a:lnTo>
                  <a:close/>
                  <a:moveTo>
                    <a:pt x="8800" y="10400"/>
                  </a:moveTo>
                  <a:lnTo>
                    <a:pt x="4000" y="10400"/>
                  </a:lnTo>
                  <a:lnTo>
                    <a:pt x="4000" y="7200"/>
                  </a:lnTo>
                  <a:lnTo>
                    <a:pt x="1600" y="7200"/>
                  </a:lnTo>
                  <a:lnTo>
                    <a:pt x="6400" y="1562"/>
                  </a:lnTo>
                  <a:lnTo>
                    <a:pt x="11200" y="7200"/>
                  </a:lnTo>
                  <a:lnTo>
                    <a:pt x="8800" y="7200"/>
                  </a:lnTo>
                  <a:lnTo>
                    <a:pt x="8800" y="10400"/>
                  </a:lnTo>
                  <a:close/>
                  <a:moveTo>
                    <a:pt x="4800" y="9600"/>
                  </a:moveTo>
                  <a:lnTo>
                    <a:pt x="8000" y="9600"/>
                  </a:lnTo>
                  <a:lnTo>
                    <a:pt x="8000" y="6400"/>
                  </a:lnTo>
                  <a:lnTo>
                    <a:pt x="9566" y="6400"/>
                  </a:lnTo>
                  <a:lnTo>
                    <a:pt x="6400" y="2900"/>
                  </a:lnTo>
                  <a:lnTo>
                    <a:pt x="3280" y="6400"/>
                  </a:lnTo>
                  <a:lnTo>
                    <a:pt x="4800" y="6400"/>
                  </a:lnTo>
                  <a:lnTo>
                    <a:pt x="4800" y="96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25" name="iconfont-11894-5689857"/>
            <p:cNvSpPr>
              <a:spLocks noChangeAspect="1"/>
            </p:cNvSpPr>
            <p:nvPr userDrawn="1"/>
          </p:nvSpPr>
          <p:spPr bwMode="auto">
            <a:xfrm>
              <a:off x="19653408" y="-4227927"/>
              <a:ext cx="609685" cy="609685"/>
            </a:xfrm>
            <a:custGeom>
              <a:avLst/>
              <a:gdLst>
                <a:gd name="T0" fmla="*/ 12800 w 12800"/>
                <a:gd name="T1" fmla="*/ 12800 h 12800"/>
                <a:gd name="T2" fmla="*/ 0 w 12800"/>
                <a:gd name="T3" fmla="*/ 12800 h 12800"/>
                <a:gd name="T4" fmla="*/ 0 w 12800"/>
                <a:gd name="T5" fmla="*/ 0 h 12800"/>
                <a:gd name="T6" fmla="*/ 800 w 12800"/>
                <a:gd name="T7" fmla="*/ 0 h 12800"/>
                <a:gd name="T8" fmla="*/ 800 w 12800"/>
                <a:gd name="T9" fmla="*/ 12000 h 12800"/>
                <a:gd name="T10" fmla="*/ 12800 w 12800"/>
                <a:gd name="T11" fmla="*/ 12000 h 12800"/>
                <a:gd name="T12" fmla="*/ 12800 w 12800"/>
                <a:gd name="T13" fmla="*/ 12800 h 12800"/>
                <a:gd name="T14" fmla="*/ 800 w 12800"/>
                <a:gd name="T15" fmla="*/ 12480 h 12800"/>
                <a:gd name="T16" fmla="*/ 0 w 12800"/>
                <a:gd name="T17" fmla="*/ 12240 h 12800"/>
                <a:gd name="T18" fmla="*/ 2720 w 12800"/>
                <a:gd name="T19" fmla="*/ 2320 h 12800"/>
                <a:gd name="T20" fmla="*/ 6080 w 12800"/>
                <a:gd name="T21" fmla="*/ 7600 h 12800"/>
                <a:gd name="T22" fmla="*/ 8400 w 12800"/>
                <a:gd name="T23" fmla="*/ 2400 h 12800"/>
                <a:gd name="T24" fmla="*/ 12800 w 12800"/>
                <a:gd name="T25" fmla="*/ 2400 h 12800"/>
                <a:gd name="T26" fmla="*/ 12800 w 12800"/>
                <a:gd name="T27" fmla="*/ 3200 h 12800"/>
                <a:gd name="T28" fmla="*/ 8960 w 12800"/>
                <a:gd name="T29" fmla="*/ 3200 h 12800"/>
                <a:gd name="T30" fmla="*/ 6240 w 12800"/>
                <a:gd name="T31" fmla="*/ 9280 h 12800"/>
                <a:gd name="T32" fmla="*/ 3040 w 12800"/>
                <a:gd name="T33" fmla="*/ 4400 h 12800"/>
                <a:gd name="T34" fmla="*/ 800 w 12800"/>
                <a:gd name="T35" fmla="*/ 1248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800" h="12800">
                  <a:moveTo>
                    <a:pt x="12800" y="12800"/>
                  </a:moveTo>
                  <a:lnTo>
                    <a:pt x="0" y="12800"/>
                  </a:lnTo>
                  <a:lnTo>
                    <a:pt x="0" y="0"/>
                  </a:lnTo>
                  <a:lnTo>
                    <a:pt x="800" y="0"/>
                  </a:lnTo>
                  <a:lnTo>
                    <a:pt x="800" y="12000"/>
                  </a:lnTo>
                  <a:lnTo>
                    <a:pt x="12800" y="12000"/>
                  </a:lnTo>
                  <a:lnTo>
                    <a:pt x="12800" y="12800"/>
                  </a:lnTo>
                  <a:close/>
                  <a:moveTo>
                    <a:pt x="800" y="12480"/>
                  </a:moveTo>
                  <a:lnTo>
                    <a:pt x="0" y="12240"/>
                  </a:lnTo>
                  <a:lnTo>
                    <a:pt x="2720" y="2320"/>
                  </a:lnTo>
                  <a:lnTo>
                    <a:pt x="6080" y="7600"/>
                  </a:lnTo>
                  <a:lnTo>
                    <a:pt x="8400" y="2400"/>
                  </a:lnTo>
                  <a:lnTo>
                    <a:pt x="12800" y="2400"/>
                  </a:lnTo>
                  <a:lnTo>
                    <a:pt x="12800" y="3200"/>
                  </a:lnTo>
                  <a:lnTo>
                    <a:pt x="8960" y="3200"/>
                  </a:lnTo>
                  <a:lnTo>
                    <a:pt x="6240" y="9280"/>
                  </a:lnTo>
                  <a:lnTo>
                    <a:pt x="3040" y="4400"/>
                  </a:lnTo>
                  <a:lnTo>
                    <a:pt x="800" y="124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6" name="iconfont-11894-5689857"/>
            <p:cNvSpPr>
              <a:spLocks noChangeAspect="1"/>
            </p:cNvSpPr>
            <p:nvPr userDrawn="1"/>
          </p:nvSpPr>
          <p:spPr bwMode="auto">
            <a:xfrm>
              <a:off x="20872779" y="-4226446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97" name="iconfont-11894-5689857"/>
            <p:cNvSpPr>
              <a:spLocks noChangeAspect="1"/>
            </p:cNvSpPr>
            <p:nvPr userDrawn="1"/>
          </p:nvSpPr>
          <p:spPr bwMode="auto">
            <a:xfrm>
              <a:off x="22092150" y="-4221528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9" name="iconfont-11894-5689857"/>
            <p:cNvSpPr>
              <a:spLocks noChangeAspect="1"/>
            </p:cNvSpPr>
            <p:nvPr userDrawn="1"/>
          </p:nvSpPr>
          <p:spPr bwMode="auto">
            <a:xfrm>
              <a:off x="23311520" y="-4227927"/>
              <a:ext cx="609685" cy="609685"/>
            </a:xfrm>
            <a:custGeom>
              <a:avLst/>
              <a:gdLst>
                <a:gd name="T0" fmla="*/ 0 w 12800"/>
                <a:gd name="T1" fmla="*/ 800 h 12800"/>
                <a:gd name="T2" fmla="*/ 0 w 12800"/>
                <a:gd name="T3" fmla="*/ 12000 h 12800"/>
                <a:gd name="T4" fmla="*/ 800 w 12800"/>
                <a:gd name="T5" fmla="*/ 12800 h 12800"/>
                <a:gd name="T6" fmla="*/ 4800 w 12800"/>
                <a:gd name="T7" fmla="*/ 12800 h 12800"/>
                <a:gd name="T8" fmla="*/ 4800 w 12800"/>
                <a:gd name="T9" fmla="*/ 12000 h 12800"/>
                <a:gd name="T10" fmla="*/ 8000 w 12800"/>
                <a:gd name="T11" fmla="*/ 12000 h 12800"/>
                <a:gd name="T12" fmla="*/ 8000 w 12800"/>
                <a:gd name="T13" fmla="*/ 12800 h 12800"/>
                <a:gd name="T14" fmla="*/ 12000 w 12800"/>
                <a:gd name="T15" fmla="*/ 12800 h 12800"/>
                <a:gd name="T16" fmla="*/ 12800 w 12800"/>
                <a:gd name="T17" fmla="*/ 12000 h 12800"/>
                <a:gd name="T18" fmla="*/ 12800 w 12800"/>
                <a:gd name="T19" fmla="*/ 800 h 12800"/>
                <a:gd name="T20" fmla="*/ 12000 w 12800"/>
                <a:gd name="T21" fmla="*/ 0 h 12800"/>
                <a:gd name="T22" fmla="*/ 800 w 12800"/>
                <a:gd name="T23" fmla="*/ 0 h 12800"/>
                <a:gd name="T24" fmla="*/ 0 w 12800"/>
                <a:gd name="T25" fmla="*/ 800 h 12800"/>
                <a:gd name="T26" fmla="*/ 8000 w 12800"/>
                <a:gd name="T27" fmla="*/ 11200 h 12800"/>
                <a:gd name="T28" fmla="*/ 4800 w 12800"/>
                <a:gd name="T29" fmla="*/ 11200 h 12800"/>
                <a:gd name="T30" fmla="*/ 4800 w 12800"/>
                <a:gd name="T31" fmla="*/ 10400 h 12800"/>
                <a:gd name="T32" fmla="*/ 8000 w 12800"/>
                <a:gd name="T33" fmla="*/ 10400 h 12800"/>
                <a:gd name="T34" fmla="*/ 8000 w 12800"/>
                <a:gd name="T35" fmla="*/ 11200 h 12800"/>
                <a:gd name="T36" fmla="*/ 11200 w 12800"/>
                <a:gd name="T37" fmla="*/ 12000 h 12800"/>
                <a:gd name="T38" fmla="*/ 8800 w 12800"/>
                <a:gd name="T39" fmla="*/ 12000 h 12800"/>
                <a:gd name="T40" fmla="*/ 8800 w 12800"/>
                <a:gd name="T41" fmla="*/ 9600 h 12800"/>
                <a:gd name="T42" fmla="*/ 4000 w 12800"/>
                <a:gd name="T43" fmla="*/ 9600 h 12800"/>
                <a:gd name="T44" fmla="*/ 4000 w 12800"/>
                <a:gd name="T45" fmla="*/ 12000 h 12800"/>
                <a:gd name="T46" fmla="*/ 1600 w 12800"/>
                <a:gd name="T47" fmla="*/ 12000 h 12800"/>
                <a:gd name="T48" fmla="*/ 800 w 12800"/>
                <a:gd name="T49" fmla="*/ 11200 h 12800"/>
                <a:gd name="T50" fmla="*/ 800 w 12800"/>
                <a:gd name="T51" fmla="*/ 1600 h 12800"/>
                <a:gd name="T52" fmla="*/ 1600 w 12800"/>
                <a:gd name="T53" fmla="*/ 800 h 12800"/>
                <a:gd name="T54" fmla="*/ 11200 w 12800"/>
                <a:gd name="T55" fmla="*/ 800 h 12800"/>
                <a:gd name="T56" fmla="*/ 12000 w 12800"/>
                <a:gd name="T57" fmla="*/ 1600 h 12800"/>
                <a:gd name="T58" fmla="*/ 12000 w 12800"/>
                <a:gd name="T59" fmla="*/ 11200 h 12800"/>
                <a:gd name="T60" fmla="*/ 11200 w 12800"/>
                <a:gd name="T61" fmla="*/ 12000 h 12800"/>
                <a:gd name="T62" fmla="*/ 4000 w 12800"/>
                <a:gd name="T63" fmla="*/ 4800 h 12800"/>
                <a:gd name="T64" fmla="*/ 8800 w 12800"/>
                <a:gd name="T65" fmla="*/ 4800 h 12800"/>
                <a:gd name="T66" fmla="*/ 8800 w 12800"/>
                <a:gd name="T67" fmla="*/ 6400 h 12800"/>
                <a:gd name="T68" fmla="*/ 4000 w 12800"/>
                <a:gd name="T69" fmla="*/ 6400 h 12800"/>
                <a:gd name="T70" fmla="*/ 4000 w 12800"/>
                <a:gd name="T71" fmla="*/ 4800 h 12800"/>
                <a:gd name="T72" fmla="*/ 4000 w 12800"/>
                <a:gd name="T73" fmla="*/ 2400 h 12800"/>
                <a:gd name="T74" fmla="*/ 8800 w 12800"/>
                <a:gd name="T75" fmla="*/ 2400 h 12800"/>
                <a:gd name="T76" fmla="*/ 8800 w 12800"/>
                <a:gd name="T77" fmla="*/ 4000 h 12800"/>
                <a:gd name="T78" fmla="*/ 4000 w 12800"/>
                <a:gd name="T79" fmla="*/ 4000 h 12800"/>
                <a:gd name="T80" fmla="*/ 4000 w 12800"/>
                <a:gd name="T81" fmla="*/ 2400 h 12800"/>
                <a:gd name="T82" fmla="*/ 4000 w 12800"/>
                <a:gd name="T83" fmla="*/ 7200 h 12800"/>
                <a:gd name="T84" fmla="*/ 8800 w 12800"/>
                <a:gd name="T85" fmla="*/ 7200 h 12800"/>
                <a:gd name="T86" fmla="*/ 8800 w 12800"/>
                <a:gd name="T87" fmla="*/ 8800 h 12800"/>
                <a:gd name="T88" fmla="*/ 4000 w 12800"/>
                <a:gd name="T89" fmla="*/ 8800 h 12800"/>
                <a:gd name="T90" fmla="*/ 4000 w 12800"/>
                <a:gd name="T91" fmla="*/ 72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00" h="12800">
                  <a:moveTo>
                    <a:pt x="0" y="800"/>
                  </a:moveTo>
                  <a:lnTo>
                    <a:pt x="0" y="12000"/>
                  </a:lnTo>
                  <a:cubicBezTo>
                    <a:pt x="0" y="12442"/>
                    <a:pt x="358" y="12800"/>
                    <a:pt x="800" y="12800"/>
                  </a:cubicBezTo>
                  <a:lnTo>
                    <a:pt x="4800" y="12800"/>
                  </a:lnTo>
                  <a:lnTo>
                    <a:pt x="4800" y="12000"/>
                  </a:lnTo>
                  <a:lnTo>
                    <a:pt x="8000" y="12000"/>
                  </a:lnTo>
                  <a:lnTo>
                    <a:pt x="8000" y="12800"/>
                  </a:lnTo>
                  <a:lnTo>
                    <a:pt x="12000" y="12800"/>
                  </a:lnTo>
                  <a:cubicBezTo>
                    <a:pt x="12442" y="12800"/>
                    <a:pt x="12800" y="12442"/>
                    <a:pt x="12800" y="12000"/>
                  </a:cubicBezTo>
                  <a:lnTo>
                    <a:pt x="12800" y="800"/>
                  </a:lnTo>
                  <a:cubicBezTo>
                    <a:pt x="12800" y="358"/>
                    <a:pt x="12442" y="0"/>
                    <a:pt x="12000" y="0"/>
                  </a:cubicBezTo>
                  <a:lnTo>
                    <a:pt x="800" y="0"/>
                  </a:lnTo>
                  <a:cubicBezTo>
                    <a:pt x="358" y="0"/>
                    <a:pt x="0" y="358"/>
                    <a:pt x="0" y="800"/>
                  </a:cubicBezTo>
                  <a:close/>
                  <a:moveTo>
                    <a:pt x="8000" y="11200"/>
                  </a:moveTo>
                  <a:lnTo>
                    <a:pt x="4800" y="11200"/>
                  </a:lnTo>
                  <a:lnTo>
                    <a:pt x="4800" y="10400"/>
                  </a:lnTo>
                  <a:lnTo>
                    <a:pt x="8000" y="10400"/>
                  </a:lnTo>
                  <a:lnTo>
                    <a:pt x="8000" y="11200"/>
                  </a:lnTo>
                  <a:close/>
                  <a:moveTo>
                    <a:pt x="11200" y="12000"/>
                  </a:moveTo>
                  <a:lnTo>
                    <a:pt x="8800" y="12000"/>
                  </a:lnTo>
                  <a:lnTo>
                    <a:pt x="8800" y="9600"/>
                  </a:lnTo>
                  <a:lnTo>
                    <a:pt x="4000" y="9600"/>
                  </a:lnTo>
                  <a:lnTo>
                    <a:pt x="4000" y="12000"/>
                  </a:lnTo>
                  <a:lnTo>
                    <a:pt x="1600" y="12000"/>
                  </a:lnTo>
                  <a:cubicBezTo>
                    <a:pt x="1158" y="12000"/>
                    <a:pt x="800" y="11642"/>
                    <a:pt x="800" y="11200"/>
                  </a:cubicBezTo>
                  <a:lnTo>
                    <a:pt x="800" y="1600"/>
                  </a:lnTo>
                  <a:cubicBezTo>
                    <a:pt x="800" y="1158"/>
                    <a:pt x="1158" y="800"/>
                    <a:pt x="1600" y="800"/>
                  </a:cubicBezTo>
                  <a:lnTo>
                    <a:pt x="11200" y="800"/>
                  </a:lnTo>
                  <a:cubicBezTo>
                    <a:pt x="11642" y="800"/>
                    <a:pt x="12000" y="1158"/>
                    <a:pt x="12000" y="1600"/>
                  </a:cubicBezTo>
                  <a:lnTo>
                    <a:pt x="12000" y="11200"/>
                  </a:lnTo>
                  <a:cubicBezTo>
                    <a:pt x="12000" y="11642"/>
                    <a:pt x="11642" y="12000"/>
                    <a:pt x="11200" y="12000"/>
                  </a:cubicBezTo>
                  <a:close/>
                  <a:moveTo>
                    <a:pt x="4000" y="4800"/>
                  </a:moveTo>
                  <a:lnTo>
                    <a:pt x="8800" y="4800"/>
                  </a:lnTo>
                  <a:lnTo>
                    <a:pt x="8800" y="6400"/>
                  </a:lnTo>
                  <a:lnTo>
                    <a:pt x="4000" y="6400"/>
                  </a:lnTo>
                  <a:lnTo>
                    <a:pt x="4000" y="4800"/>
                  </a:lnTo>
                  <a:close/>
                  <a:moveTo>
                    <a:pt x="4000" y="2400"/>
                  </a:moveTo>
                  <a:lnTo>
                    <a:pt x="8800" y="2400"/>
                  </a:lnTo>
                  <a:lnTo>
                    <a:pt x="8800" y="4000"/>
                  </a:lnTo>
                  <a:lnTo>
                    <a:pt x="4000" y="4000"/>
                  </a:lnTo>
                  <a:lnTo>
                    <a:pt x="4000" y="2400"/>
                  </a:lnTo>
                  <a:close/>
                  <a:moveTo>
                    <a:pt x="4000" y="7200"/>
                  </a:moveTo>
                  <a:lnTo>
                    <a:pt x="8800" y="7200"/>
                  </a:lnTo>
                  <a:lnTo>
                    <a:pt x="8800" y="8800"/>
                  </a:lnTo>
                  <a:lnTo>
                    <a:pt x="4000" y="8800"/>
                  </a:lnTo>
                  <a:lnTo>
                    <a:pt x="4000" y="72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299" name="iconfont-11894-5689857"/>
            <p:cNvSpPr>
              <a:spLocks noChangeAspect="1"/>
            </p:cNvSpPr>
            <p:nvPr userDrawn="1"/>
          </p:nvSpPr>
          <p:spPr bwMode="auto">
            <a:xfrm>
              <a:off x="24530889" y="-422792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00" name="iconfont-11894-5689857"/>
            <p:cNvSpPr>
              <a:spLocks noChangeAspect="1"/>
            </p:cNvSpPr>
            <p:nvPr userDrawn="1"/>
          </p:nvSpPr>
          <p:spPr bwMode="auto">
            <a:xfrm>
              <a:off x="25750260" y="-4158674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01" name="iconfont-11894-5689857"/>
            <p:cNvSpPr>
              <a:spLocks noChangeAspect="1"/>
            </p:cNvSpPr>
            <p:nvPr userDrawn="1"/>
          </p:nvSpPr>
          <p:spPr bwMode="auto">
            <a:xfrm>
              <a:off x="26969630" y="-4221825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2" name="iconfont-11894-5689857"/>
            <p:cNvSpPr>
              <a:spLocks noChangeAspect="1"/>
            </p:cNvSpPr>
            <p:nvPr userDrawn="1"/>
          </p:nvSpPr>
          <p:spPr bwMode="auto">
            <a:xfrm>
              <a:off x="28188999" y="-4227927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04" name="iconfont-11894-5689857"/>
            <p:cNvSpPr>
              <a:spLocks noChangeAspect="1"/>
            </p:cNvSpPr>
            <p:nvPr userDrawn="1"/>
          </p:nvSpPr>
          <p:spPr bwMode="auto">
            <a:xfrm>
              <a:off x="13556559" y="-2757510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05" name="iconfont-11894-5689857"/>
            <p:cNvSpPr>
              <a:spLocks noChangeAspect="1"/>
            </p:cNvSpPr>
            <p:nvPr userDrawn="1"/>
          </p:nvSpPr>
          <p:spPr bwMode="auto">
            <a:xfrm>
              <a:off x="14775929" y="-2721841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06" name="iconfont-11894-5689857"/>
            <p:cNvSpPr>
              <a:spLocks noChangeAspect="1"/>
            </p:cNvSpPr>
            <p:nvPr userDrawn="1"/>
          </p:nvSpPr>
          <p:spPr bwMode="auto">
            <a:xfrm>
              <a:off x="15995299" y="-2734839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7" name="iconfont-11894-5689857"/>
            <p:cNvSpPr>
              <a:spLocks noChangeAspect="1"/>
            </p:cNvSpPr>
            <p:nvPr userDrawn="1"/>
          </p:nvSpPr>
          <p:spPr bwMode="auto">
            <a:xfrm>
              <a:off x="17214969" y="-2757510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8" name="iconfont-11894-5689857"/>
            <p:cNvSpPr>
              <a:spLocks noChangeAspect="1"/>
            </p:cNvSpPr>
            <p:nvPr userDrawn="1"/>
          </p:nvSpPr>
          <p:spPr bwMode="auto">
            <a:xfrm>
              <a:off x="18434538" y="-2757510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09" name="iconfont-11894-5689857"/>
            <p:cNvSpPr>
              <a:spLocks noChangeAspect="1"/>
            </p:cNvSpPr>
            <p:nvPr userDrawn="1"/>
          </p:nvSpPr>
          <p:spPr bwMode="auto">
            <a:xfrm>
              <a:off x="19746077" y="-2757510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6" name="iconfont-11894-5689857"/>
            <p:cNvSpPr>
              <a:spLocks noChangeAspect="1"/>
            </p:cNvSpPr>
            <p:nvPr userDrawn="1"/>
          </p:nvSpPr>
          <p:spPr bwMode="auto">
            <a:xfrm>
              <a:off x="20905719" y="-2757510"/>
              <a:ext cx="543805" cy="609685"/>
            </a:xfrm>
            <a:custGeom>
              <a:avLst/>
              <a:gdLst>
                <a:gd name="T0" fmla="*/ 10400 w 11417"/>
                <a:gd name="T1" fmla="*/ 4000 h 12800"/>
                <a:gd name="T2" fmla="*/ 6400 w 11417"/>
                <a:gd name="T3" fmla="*/ 4000 h 12800"/>
                <a:gd name="T4" fmla="*/ 6400 w 11417"/>
                <a:gd name="T5" fmla="*/ 800 h 12800"/>
                <a:gd name="T6" fmla="*/ 7200 w 11417"/>
                <a:gd name="T7" fmla="*/ 800 h 12800"/>
                <a:gd name="T8" fmla="*/ 7200 w 11417"/>
                <a:gd name="T9" fmla="*/ 3200 h 12800"/>
                <a:gd name="T10" fmla="*/ 10400 w 11417"/>
                <a:gd name="T11" fmla="*/ 3200 h 12800"/>
                <a:gd name="T12" fmla="*/ 10400 w 11417"/>
                <a:gd name="T13" fmla="*/ 4000 h 12800"/>
                <a:gd name="T14" fmla="*/ 9087 w 11417"/>
                <a:gd name="T15" fmla="*/ 9425 h 12800"/>
                <a:gd name="T16" fmla="*/ 11417 w 11417"/>
                <a:gd name="T17" fmla="*/ 11755 h 12800"/>
                <a:gd name="T18" fmla="*/ 10908 w 11417"/>
                <a:gd name="T19" fmla="*/ 12264 h 12800"/>
                <a:gd name="T20" fmla="*/ 8578 w 11417"/>
                <a:gd name="T21" fmla="*/ 9934 h 12800"/>
                <a:gd name="T22" fmla="*/ 9087 w 11417"/>
                <a:gd name="T23" fmla="*/ 9425 h 12800"/>
                <a:gd name="T24" fmla="*/ 7782 w 11417"/>
                <a:gd name="T25" fmla="*/ 10560 h 12800"/>
                <a:gd name="T26" fmla="*/ 5862 w 11417"/>
                <a:gd name="T27" fmla="*/ 8640 h 12800"/>
                <a:gd name="T28" fmla="*/ 7782 w 11417"/>
                <a:gd name="T29" fmla="*/ 6720 h 12800"/>
                <a:gd name="T30" fmla="*/ 9702 w 11417"/>
                <a:gd name="T31" fmla="*/ 8640 h 12800"/>
                <a:gd name="T32" fmla="*/ 7782 w 11417"/>
                <a:gd name="T33" fmla="*/ 10560 h 12800"/>
                <a:gd name="T34" fmla="*/ 7782 w 11417"/>
                <a:gd name="T35" fmla="*/ 7520 h 12800"/>
                <a:gd name="T36" fmla="*/ 6662 w 11417"/>
                <a:gd name="T37" fmla="*/ 8640 h 12800"/>
                <a:gd name="T38" fmla="*/ 7782 w 11417"/>
                <a:gd name="T39" fmla="*/ 9760 h 12800"/>
                <a:gd name="T40" fmla="*/ 8902 w 11417"/>
                <a:gd name="T41" fmla="*/ 8640 h 12800"/>
                <a:gd name="T42" fmla="*/ 7782 w 11417"/>
                <a:gd name="T43" fmla="*/ 7520 h 12800"/>
                <a:gd name="T44" fmla="*/ 7200 w 11417"/>
                <a:gd name="T45" fmla="*/ 12800 h 12800"/>
                <a:gd name="T46" fmla="*/ 1542 w 11417"/>
                <a:gd name="T47" fmla="*/ 12800 h 12800"/>
                <a:gd name="T48" fmla="*/ 0 w 11417"/>
                <a:gd name="T49" fmla="*/ 10880 h 12800"/>
                <a:gd name="T50" fmla="*/ 0 w 11417"/>
                <a:gd name="T51" fmla="*/ 1615 h 12800"/>
                <a:gd name="T52" fmla="*/ 1542 w 11417"/>
                <a:gd name="T53" fmla="*/ 0 h 12800"/>
                <a:gd name="T54" fmla="*/ 7062 w 11417"/>
                <a:gd name="T55" fmla="*/ 0 h 12800"/>
                <a:gd name="T56" fmla="*/ 11200 w 11417"/>
                <a:gd name="T57" fmla="*/ 3120 h 12800"/>
                <a:gd name="T58" fmla="*/ 11200 w 11417"/>
                <a:gd name="T59" fmla="*/ 8000 h 12800"/>
                <a:gd name="T60" fmla="*/ 10400 w 11417"/>
                <a:gd name="T61" fmla="*/ 8000 h 12800"/>
                <a:gd name="T62" fmla="*/ 10400 w 11417"/>
                <a:gd name="T63" fmla="*/ 3440 h 12800"/>
                <a:gd name="T64" fmla="*/ 6822 w 11417"/>
                <a:gd name="T65" fmla="*/ 800 h 12800"/>
                <a:gd name="T66" fmla="*/ 1542 w 11417"/>
                <a:gd name="T67" fmla="*/ 800 h 12800"/>
                <a:gd name="T68" fmla="*/ 800 w 11417"/>
                <a:gd name="T69" fmla="*/ 1668 h 12800"/>
                <a:gd name="T70" fmla="*/ 800 w 11417"/>
                <a:gd name="T71" fmla="*/ 10960 h 12800"/>
                <a:gd name="T72" fmla="*/ 1542 w 11417"/>
                <a:gd name="T73" fmla="*/ 12000 h 12800"/>
                <a:gd name="T74" fmla="*/ 7200 w 11417"/>
                <a:gd name="T75" fmla="*/ 12000 h 12800"/>
                <a:gd name="T76" fmla="*/ 7200 w 11417"/>
                <a:gd name="T77" fmla="*/ 12800 h 12800"/>
                <a:gd name="T78" fmla="*/ 1600 w 11417"/>
                <a:gd name="T79" fmla="*/ 2400 h 12800"/>
                <a:gd name="T80" fmla="*/ 4800 w 11417"/>
                <a:gd name="T81" fmla="*/ 2400 h 12800"/>
                <a:gd name="T82" fmla="*/ 4800 w 11417"/>
                <a:gd name="T83" fmla="*/ 3200 h 12800"/>
                <a:gd name="T84" fmla="*/ 1600 w 11417"/>
                <a:gd name="T85" fmla="*/ 3200 h 12800"/>
                <a:gd name="T86" fmla="*/ 1600 w 11417"/>
                <a:gd name="T87" fmla="*/ 2400 h 12800"/>
                <a:gd name="T88" fmla="*/ 1600 w 11417"/>
                <a:gd name="T89" fmla="*/ 4000 h 12800"/>
                <a:gd name="T90" fmla="*/ 5600 w 11417"/>
                <a:gd name="T91" fmla="*/ 4000 h 12800"/>
                <a:gd name="T92" fmla="*/ 5600 w 11417"/>
                <a:gd name="T93" fmla="*/ 4800 h 12800"/>
                <a:gd name="T94" fmla="*/ 1600 w 11417"/>
                <a:gd name="T95" fmla="*/ 4800 h 12800"/>
                <a:gd name="T96" fmla="*/ 1600 w 11417"/>
                <a:gd name="T97" fmla="*/ 4000 h 12800"/>
                <a:gd name="T98" fmla="*/ 1600 w 11417"/>
                <a:gd name="T99" fmla="*/ 5600 h 12800"/>
                <a:gd name="T100" fmla="*/ 6400 w 11417"/>
                <a:gd name="T101" fmla="*/ 5600 h 12800"/>
                <a:gd name="T102" fmla="*/ 6400 w 11417"/>
                <a:gd name="T103" fmla="*/ 6400 h 12800"/>
                <a:gd name="T104" fmla="*/ 1600 w 11417"/>
                <a:gd name="T105" fmla="*/ 6400 h 12800"/>
                <a:gd name="T106" fmla="*/ 1600 w 11417"/>
                <a:gd name="T107" fmla="*/ 56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417" h="12800">
                  <a:moveTo>
                    <a:pt x="10400" y="4000"/>
                  </a:moveTo>
                  <a:lnTo>
                    <a:pt x="6400" y="4000"/>
                  </a:lnTo>
                  <a:lnTo>
                    <a:pt x="6400" y="800"/>
                  </a:lnTo>
                  <a:lnTo>
                    <a:pt x="7200" y="800"/>
                  </a:lnTo>
                  <a:lnTo>
                    <a:pt x="7200" y="3200"/>
                  </a:lnTo>
                  <a:lnTo>
                    <a:pt x="10400" y="3200"/>
                  </a:lnTo>
                  <a:lnTo>
                    <a:pt x="10400" y="4000"/>
                  </a:lnTo>
                  <a:close/>
                  <a:moveTo>
                    <a:pt x="9087" y="9425"/>
                  </a:moveTo>
                  <a:lnTo>
                    <a:pt x="11417" y="11755"/>
                  </a:lnTo>
                  <a:lnTo>
                    <a:pt x="10908" y="12264"/>
                  </a:lnTo>
                  <a:lnTo>
                    <a:pt x="8578" y="9934"/>
                  </a:lnTo>
                  <a:lnTo>
                    <a:pt x="9087" y="9425"/>
                  </a:lnTo>
                  <a:close/>
                  <a:moveTo>
                    <a:pt x="7782" y="10560"/>
                  </a:moveTo>
                  <a:cubicBezTo>
                    <a:pt x="6742" y="10560"/>
                    <a:pt x="5862" y="9680"/>
                    <a:pt x="5862" y="8640"/>
                  </a:cubicBezTo>
                  <a:cubicBezTo>
                    <a:pt x="5862" y="7600"/>
                    <a:pt x="6742" y="6720"/>
                    <a:pt x="7782" y="6720"/>
                  </a:cubicBezTo>
                  <a:cubicBezTo>
                    <a:pt x="8822" y="6720"/>
                    <a:pt x="9702" y="7600"/>
                    <a:pt x="9702" y="8640"/>
                  </a:cubicBezTo>
                  <a:cubicBezTo>
                    <a:pt x="9622" y="9680"/>
                    <a:pt x="8822" y="10560"/>
                    <a:pt x="7782" y="10560"/>
                  </a:cubicBezTo>
                  <a:close/>
                  <a:moveTo>
                    <a:pt x="7782" y="7520"/>
                  </a:moveTo>
                  <a:cubicBezTo>
                    <a:pt x="7142" y="7520"/>
                    <a:pt x="6662" y="8000"/>
                    <a:pt x="6662" y="8640"/>
                  </a:cubicBezTo>
                  <a:cubicBezTo>
                    <a:pt x="6662" y="9280"/>
                    <a:pt x="7142" y="9760"/>
                    <a:pt x="7782" y="9760"/>
                  </a:cubicBezTo>
                  <a:cubicBezTo>
                    <a:pt x="8422" y="9760"/>
                    <a:pt x="8902" y="9280"/>
                    <a:pt x="8902" y="8640"/>
                  </a:cubicBezTo>
                  <a:cubicBezTo>
                    <a:pt x="8902" y="8000"/>
                    <a:pt x="8342" y="7520"/>
                    <a:pt x="7782" y="7520"/>
                  </a:cubicBezTo>
                  <a:close/>
                  <a:moveTo>
                    <a:pt x="7200" y="12800"/>
                  </a:moveTo>
                  <a:lnTo>
                    <a:pt x="1542" y="12800"/>
                  </a:lnTo>
                  <a:cubicBezTo>
                    <a:pt x="582" y="12800"/>
                    <a:pt x="0" y="11920"/>
                    <a:pt x="0" y="10880"/>
                  </a:cubicBezTo>
                  <a:lnTo>
                    <a:pt x="0" y="1615"/>
                  </a:lnTo>
                  <a:cubicBezTo>
                    <a:pt x="0" y="683"/>
                    <a:pt x="582" y="0"/>
                    <a:pt x="1542" y="0"/>
                  </a:cubicBezTo>
                  <a:lnTo>
                    <a:pt x="7062" y="0"/>
                  </a:lnTo>
                  <a:lnTo>
                    <a:pt x="11200" y="3120"/>
                  </a:lnTo>
                  <a:lnTo>
                    <a:pt x="11200" y="8000"/>
                  </a:lnTo>
                  <a:lnTo>
                    <a:pt x="10400" y="8000"/>
                  </a:lnTo>
                  <a:lnTo>
                    <a:pt x="10400" y="3440"/>
                  </a:lnTo>
                  <a:lnTo>
                    <a:pt x="6822" y="800"/>
                  </a:lnTo>
                  <a:lnTo>
                    <a:pt x="1542" y="800"/>
                  </a:lnTo>
                  <a:cubicBezTo>
                    <a:pt x="982" y="800"/>
                    <a:pt x="800" y="1222"/>
                    <a:pt x="800" y="1668"/>
                  </a:cubicBezTo>
                  <a:lnTo>
                    <a:pt x="800" y="10960"/>
                  </a:lnTo>
                  <a:cubicBezTo>
                    <a:pt x="800" y="11520"/>
                    <a:pt x="982" y="12000"/>
                    <a:pt x="1542" y="12000"/>
                  </a:cubicBezTo>
                  <a:lnTo>
                    <a:pt x="7200" y="12000"/>
                  </a:lnTo>
                  <a:lnTo>
                    <a:pt x="7200" y="12800"/>
                  </a:lnTo>
                  <a:close/>
                  <a:moveTo>
                    <a:pt x="1600" y="2400"/>
                  </a:moveTo>
                  <a:lnTo>
                    <a:pt x="4800" y="2400"/>
                  </a:lnTo>
                  <a:lnTo>
                    <a:pt x="4800" y="3200"/>
                  </a:lnTo>
                  <a:lnTo>
                    <a:pt x="1600" y="3200"/>
                  </a:lnTo>
                  <a:lnTo>
                    <a:pt x="1600" y="2400"/>
                  </a:lnTo>
                  <a:close/>
                  <a:moveTo>
                    <a:pt x="1600" y="4000"/>
                  </a:moveTo>
                  <a:lnTo>
                    <a:pt x="5600" y="4000"/>
                  </a:lnTo>
                  <a:lnTo>
                    <a:pt x="5600" y="4800"/>
                  </a:lnTo>
                  <a:lnTo>
                    <a:pt x="1600" y="4800"/>
                  </a:lnTo>
                  <a:lnTo>
                    <a:pt x="1600" y="4000"/>
                  </a:lnTo>
                  <a:close/>
                  <a:moveTo>
                    <a:pt x="1600" y="5600"/>
                  </a:moveTo>
                  <a:lnTo>
                    <a:pt x="6400" y="5600"/>
                  </a:lnTo>
                  <a:lnTo>
                    <a:pt x="6400" y="6400"/>
                  </a:lnTo>
                  <a:lnTo>
                    <a:pt x="1600" y="6400"/>
                  </a:lnTo>
                  <a:lnTo>
                    <a:pt x="1600" y="56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11" name="iconfont-11894-5689857"/>
            <p:cNvSpPr>
              <a:spLocks noChangeAspect="1"/>
            </p:cNvSpPr>
            <p:nvPr userDrawn="1"/>
          </p:nvSpPr>
          <p:spPr bwMode="auto">
            <a:xfrm>
              <a:off x="22092150" y="-2751111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2" name="iconfont-11894-5689857"/>
            <p:cNvSpPr>
              <a:spLocks noChangeAspect="1"/>
            </p:cNvSpPr>
            <p:nvPr userDrawn="1"/>
          </p:nvSpPr>
          <p:spPr bwMode="auto">
            <a:xfrm>
              <a:off x="23401954" y="-2757510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30" name="iconfont-11894-5689857"/>
            <p:cNvSpPr>
              <a:spLocks noChangeAspect="1"/>
            </p:cNvSpPr>
            <p:nvPr userDrawn="1"/>
          </p:nvSpPr>
          <p:spPr bwMode="auto">
            <a:xfrm>
              <a:off x="24530945" y="-2757510"/>
              <a:ext cx="609571" cy="609685"/>
            </a:xfrm>
            <a:custGeom>
              <a:avLst/>
              <a:gdLst>
                <a:gd name="T0" fmla="*/ 0 w 11163"/>
                <a:gd name="T1" fmla="*/ 5582 h 11163"/>
                <a:gd name="T2" fmla="*/ 11163 w 11163"/>
                <a:gd name="T3" fmla="*/ 5582 h 11163"/>
                <a:gd name="T4" fmla="*/ 5581 w 11163"/>
                <a:gd name="T5" fmla="*/ 9964 h 11163"/>
                <a:gd name="T6" fmla="*/ 5581 w 11163"/>
                <a:gd name="T7" fmla="*/ 1200 h 11163"/>
                <a:gd name="T8" fmla="*/ 5581 w 11163"/>
                <a:gd name="T9" fmla="*/ 9964 h 11163"/>
                <a:gd name="T10" fmla="*/ 1699 w 11163"/>
                <a:gd name="T11" fmla="*/ 5582 h 11163"/>
                <a:gd name="T12" fmla="*/ 9464 w 11163"/>
                <a:gd name="T13" fmla="*/ 5582 h 11163"/>
                <a:gd name="T14" fmla="*/ 8410 w 11163"/>
                <a:gd name="T15" fmla="*/ 6786 h 11163"/>
                <a:gd name="T16" fmla="*/ 6994 w 11163"/>
                <a:gd name="T17" fmla="*/ 5848 h 11163"/>
                <a:gd name="T18" fmla="*/ 6994 w 11163"/>
                <a:gd name="T19" fmla="*/ 5315 h 11163"/>
                <a:gd name="T20" fmla="*/ 8410 w 11163"/>
                <a:gd name="T21" fmla="*/ 4377 h 11163"/>
                <a:gd name="T22" fmla="*/ 8410 w 11163"/>
                <a:gd name="T23" fmla="*/ 6786 h 11163"/>
                <a:gd name="T24" fmla="*/ 8012 w 11163"/>
                <a:gd name="T25" fmla="*/ 3714 h 11163"/>
                <a:gd name="T26" fmla="*/ 6069 w 11163"/>
                <a:gd name="T27" fmla="*/ 4233 h 11163"/>
                <a:gd name="T28" fmla="*/ 5980 w 11163"/>
                <a:gd name="T29" fmla="*/ 2534 h 11163"/>
                <a:gd name="T30" fmla="*/ 5580 w 11163"/>
                <a:gd name="T31" fmla="*/ 6267 h 11163"/>
                <a:gd name="T32" fmla="*/ 5580 w 11163"/>
                <a:gd name="T33" fmla="*/ 4897 h 11163"/>
                <a:gd name="T34" fmla="*/ 5580 w 11163"/>
                <a:gd name="T35" fmla="*/ 6267 h 11163"/>
                <a:gd name="T36" fmla="*/ 5205 w 11163"/>
                <a:gd name="T37" fmla="*/ 2542 h 11163"/>
                <a:gd name="T38" fmla="*/ 4646 w 11163"/>
                <a:gd name="T39" fmla="*/ 4493 h 11163"/>
                <a:gd name="T40" fmla="*/ 3127 w 11163"/>
                <a:gd name="T41" fmla="*/ 3735 h 11163"/>
                <a:gd name="T42" fmla="*/ 2741 w 11163"/>
                <a:gd name="T43" fmla="*/ 4405 h 11163"/>
                <a:gd name="T44" fmla="*/ 4165 w 11163"/>
                <a:gd name="T45" fmla="*/ 5329 h 11163"/>
                <a:gd name="T46" fmla="*/ 4165 w 11163"/>
                <a:gd name="T47" fmla="*/ 5834 h 11163"/>
                <a:gd name="T48" fmla="*/ 2741 w 11163"/>
                <a:gd name="T49" fmla="*/ 6759 h 11163"/>
                <a:gd name="T50" fmla="*/ 2741 w 11163"/>
                <a:gd name="T51" fmla="*/ 4405 h 11163"/>
                <a:gd name="T52" fmla="*/ 3135 w 11163"/>
                <a:gd name="T53" fmla="*/ 7426 h 11163"/>
                <a:gd name="T54" fmla="*/ 5105 w 11163"/>
                <a:gd name="T55" fmla="*/ 6934 h 11163"/>
                <a:gd name="T56" fmla="*/ 5208 w 11163"/>
                <a:gd name="T57" fmla="*/ 8632 h 11163"/>
                <a:gd name="T58" fmla="*/ 5981 w 11163"/>
                <a:gd name="T59" fmla="*/ 8629 h 11163"/>
                <a:gd name="T60" fmla="*/ 6069 w 11163"/>
                <a:gd name="T61" fmla="*/ 6931 h 11163"/>
                <a:gd name="T62" fmla="*/ 8013 w 11163"/>
                <a:gd name="T63" fmla="*/ 7450 h 11163"/>
                <a:gd name="T64" fmla="*/ 5981 w 11163"/>
                <a:gd name="T65" fmla="*/ 8629 h 11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163" h="11163">
                  <a:moveTo>
                    <a:pt x="5581" y="0"/>
                  </a:moveTo>
                  <a:cubicBezTo>
                    <a:pt x="2498" y="0"/>
                    <a:pt x="0" y="2499"/>
                    <a:pt x="0" y="5582"/>
                  </a:cubicBezTo>
                  <a:cubicBezTo>
                    <a:pt x="0" y="8664"/>
                    <a:pt x="2498" y="11163"/>
                    <a:pt x="5581" y="11163"/>
                  </a:cubicBezTo>
                  <a:cubicBezTo>
                    <a:pt x="8664" y="11163"/>
                    <a:pt x="11163" y="8664"/>
                    <a:pt x="11163" y="5582"/>
                  </a:cubicBezTo>
                  <a:cubicBezTo>
                    <a:pt x="11163" y="2499"/>
                    <a:pt x="8664" y="0"/>
                    <a:pt x="5581" y="0"/>
                  </a:cubicBezTo>
                  <a:close/>
                  <a:moveTo>
                    <a:pt x="5581" y="9964"/>
                  </a:moveTo>
                  <a:cubicBezTo>
                    <a:pt x="3164" y="9964"/>
                    <a:pt x="1199" y="7998"/>
                    <a:pt x="1199" y="5582"/>
                  </a:cubicBezTo>
                  <a:cubicBezTo>
                    <a:pt x="1199" y="3165"/>
                    <a:pt x="3164" y="1200"/>
                    <a:pt x="5581" y="1200"/>
                  </a:cubicBezTo>
                  <a:cubicBezTo>
                    <a:pt x="7998" y="1200"/>
                    <a:pt x="9964" y="3165"/>
                    <a:pt x="9964" y="5582"/>
                  </a:cubicBezTo>
                  <a:cubicBezTo>
                    <a:pt x="9964" y="7998"/>
                    <a:pt x="7998" y="9964"/>
                    <a:pt x="5581" y="9964"/>
                  </a:cubicBezTo>
                  <a:close/>
                  <a:moveTo>
                    <a:pt x="5581" y="1699"/>
                  </a:moveTo>
                  <a:cubicBezTo>
                    <a:pt x="3436" y="1699"/>
                    <a:pt x="1699" y="3437"/>
                    <a:pt x="1699" y="5582"/>
                  </a:cubicBezTo>
                  <a:cubicBezTo>
                    <a:pt x="1699" y="7726"/>
                    <a:pt x="3436" y="9464"/>
                    <a:pt x="5581" y="9464"/>
                  </a:cubicBezTo>
                  <a:cubicBezTo>
                    <a:pt x="7726" y="9464"/>
                    <a:pt x="9464" y="7726"/>
                    <a:pt x="9464" y="5582"/>
                  </a:cubicBezTo>
                  <a:cubicBezTo>
                    <a:pt x="9464" y="3437"/>
                    <a:pt x="7726" y="1699"/>
                    <a:pt x="5581" y="1699"/>
                  </a:cubicBezTo>
                  <a:close/>
                  <a:moveTo>
                    <a:pt x="8410" y="6786"/>
                  </a:moveTo>
                  <a:cubicBezTo>
                    <a:pt x="8407" y="6784"/>
                    <a:pt x="8404" y="6779"/>
                    <a:pt x="8401" y="6777"/>
                  </a:cubicBezTo>
                  <a:lnTo>
                    <a:pt x="6994" y="5848"/>
                  </a:lnTo>
                  <a:cubicBezTo>
                    <a:pt x="7010" y="5761"/>
                    <a:pt x="7021" y="5673"/>
                    <a:pt x="7021" y="5582"/>
                  </a:cubicBezTo>
                  <a:cubicBezTo>
                    <a:pt x="7021" y="5491"/>
                    <a:pt x="7011" y="5402"/>
                    <a:pt x="6994" y="5315"/>
                  </a:cubicBezTo>
                  <a:lnTo>
                    <a:pt x="8401" y="4386"/>
                  </a:lnTo>
                  <a:cubicBezTo>
                    <a:pt x="8404" y="4384"/>
                    <a:pt x="8407" y="4379"/>
                    <a:pt x="8410" y="4377"/>
                  </a:cubicBezTo>
                  <a:cubicBezTo>
                    <a:pt x="8568" y="4747"/>
                    <a:pt x="8656" y="5154"/>
                    <a:pt x="8656" y="5582"/>
                  </a:cubicBezTo>
                  <a:cubicBezTo>
                    <a:pt x="8656" y="6009"/>
                    <a:pt x="8568" y="6416"/>
                    <a:pt x="8410" y="6786"/>
                  </a:cubicBezTo>
                  <a:close/>
                  <a:moveTo>
                    <a:pt x="8018" y="3712"/>
                  </a:moveTo>
                  <a:cubicBezTo>
                    <a:pt x="8016" y="3713"/>
                    <a:pt x="8014" y="3713"/>
                    <a:pt x="8012" y="3714"/>
                  </a:cubicBezTo>
                  <a:lnTo>
                    <a:pt x="6503" y="4485"/>
                  </a:lnTo>
                  <a:cubicBezTo>
                    <a:pt x="6375" y="4377"/>
                    <a:pt x="6229" y="4291"/>
                    <a:pt x="6069" y="4233"/>
                  </a:cubicBezTo>
                  <a:lnTo>
                    <a:pt x="5982" y="2542"/>
                  </a:lnTo>
                  <a:cubicBezTo>
                    <a:pt x="5982" y="2540"/>
                    <a:pt x="5980" y="2537"/>
                    <a:pt x="5980" y="2534"/>
                  </a:cubicBezTo>
                  <a:cubicBezTo>
                    <a:pt x="6808" y="2643"/>
                    <a:pt x="7532" y="3081"/>
                    <a:pt x="8018" y="3712"/>
                  </a:cubicBezTo>
                  <a:close/>
                  <a:moveTo>
                    <a:pt x="5580" y="6267"/>
                  </a:moveTo>
                  <a:cubicBezTo>
                    <a:pt x="5202" y="6267"/>
                    <a:pt x="4895" y="5960"/>
                    <a:pt x="4895" y="5582"/>
                  </a:cubicBezTo>
                  <a:cubicBezTo>
                    <a:pt x="4895" y="5204"/>
                    <a:pt x="5202" y="4897"/>
                    <a:pt x="5580" y="4897"/>
                  </a:cubicBezTo>
                  <a:cubicBezTo>
                    <a:pt x="5958" y="4897"/>
                    <a:pt x="6264" y="5204"/>
                    <a:pt x="6264" y="5582"/>
                  </a:cubicBezTo>
                  <a:cubicBezTo>
                    <a:pt x="6264" y="5960"/>
                    <a:pt x="5958" y="6267"/>
                    <a:pt x="5580" y="6267"/>
                  </a:cubicBezTo>
                  <a:close/>
                  <a:moveTo>
                    <a:pt x="5208" y="2531"/>
                  </a:moveTo>
                  <a:cubicBezTo>
                    <a:pt x="5207" y="2534"/>
                    <a:pt x="5205" y="2539"/>
                    <a:pt x="5205" y="2542"/>
                  </a:cubicBezTo>
                  <a:lnTo>
                    <a:pt x="5104" y="4229"/>
                  </a:lnTo>
                  <a:cubicBezTo>
                    <a:pt x="4934" y="4289"/>
                    <a:pt x="4780" y="4379"/>
                    <a:pt x="4646" y="4493"/>
                  </a:cubicBezTo>
                  <a:lnTo>
                    <a:pt x="3135" y="3738"/>
                  </a:lnTo>
                  <a:cubicBezTo>
                    <a:pt x="3132" y="3737"/>
                    <a:pt x="3129" y="3737"/>
                    <a:pt x="3127" y="3735"/>
                  </a:cubicBezTo>
                  <a:cubicBezTo>
                    <a:pt x="3618" y="3085"/>
                    <a:pt x="4359" y="2634"/>
                    <a:pt x="5208" y="2531"/>
                  </a:cubicBezTo>
                  <a:close/>
                  <a:moveTo>
                    <a:pt x="2741" y="4405"/>
                  </a:moveTo>
                  <a:cubicBezTo>
                    <a:pt x="2742" y="4406"/>
                    <a:pt x="2744" y="4409"/>
                    <a:pt x="2746" y="4410"/>
                  </a:cubicBezTo>
                  <a:lnTo>
                    <a:pt x="4165" y="5329"/>
                  </a:lnTo>
                  <a:cubicBezTo>
                    <a:pt x="4151" y="5411"/>
                    <a:pt x="4140" y="5495"/>
                    <a:pt x="4140" y="5582"/>
                  </a:cubicBezTo>
                  <a:cubicBezTo>
                    <a:pt x="4140" y="5668"/>
                    <a:pt x="4150" y="5752"/>
                    <a:pt x="4165" y="5834"/>
                  </a:cubicBezTo>
                  <a:lnTo>
                    <a:pt x="2746" y="6753"/>
                  </a:lnTo>
                  <a:cubicBezTo>
                    <a:pt x="2745" y="6754"/>
                    <a:pt x="2742" y="6757"/>
                    <a:pt x="2741" y="6759"/>
                  </a:cubicBezTo>
                  <a:cubicBezTo>
                    <a:pt x="2590" y="6396"/>
                    <a:pt x="2505" y="5999"/>
                    <a:pt x="2505" y="5582"/>
                  </a:cubicBezTo>
                  <a:cubicBezTo>
                    <a:pt x="2506" y="5165"/>
                    <a:pt x="2590" y="4768"/>
                    <a:pt x="2741" y="4405"/>
                  </a:cubicBezTo>
                  <a:close/>
                  <a:moveTo>
                    <a:pt x="3128" y="7428"/>
                  </a:moveTo>
                  <a:cubicBezTo>
                    <a:pt x="3129" y="7428"/>
                    <a:pt x="3133" y="7427"/>
                    <a:pt x="3135" y="7426"/>
                  </a:cubicBezTo>
                  <a:lnTo>
                    <a:pt x="4647" y="6670"/>
                  </a:lnTo>
                  <a:cubicBezTo>
                    <a:pt x="4781" y="6786"/>
                    <a:pt x="4934" y="6875"/>
                    <a:pt x="5105" y="6934"/>
                  </a:cubicBezTo>
                  <a:lnTo>
                    <a:pt x="5205" y="8622"/>
                  </a:lnTo>
                  <a:cubicBezTo>
                    <a:pt x="5205" y="8625"/>
                    <a:pt x="5208" y="8629"/>
                    <a:pt x="5208" y="8632"/>
                  </a:cubicBezTo>
                  <a:cubicBezTo>
                    <a:pt x="4359" y="8530"/>
                    <a:pt x="3618" y="8079"/>
                    <a:pt x="3128" y="7428"/>
                  </a:cubicBezTo>
                  <a:close/>
                  <a:moveTo>
                    <a:pt x="5981" y="8629"/>
                  </a:moveTo>
                  <a:cubicBezTo>
                    <a:pt x="5981" y="8626"/>
                    <a:pt x="5982" y="8624"/>
                    <a:pt x="5982" y="8622"/>
                  </a:cubicBezTo>
                  <a:lnTo>
                    <a:pt x="6069" y="6931"/>
                  </a:lnTo>
                  <a:cubicBezTo>
                    <a:pt x="6229" y="6872"/>
                    <a:pt x="6375" y="6786"/>
                    <a:pt x="6503" y="6678"/>
                  </a:cubicBezTo>
                  <a:lnTo>
                    <a:pt x="8013" y="7450"/>
                  </a:lnTo>
                  <a:cubicBezTo>
                    <a:pt x="8014" y="7450"/>
                    <a:pt x="8016" y="7451"/>
                    <a:pt x="8018" y="7451"/>
                  </a:cubicBezTo>
                  <a:cubicBezTo>
                    <a:pt x="7532" y="8083"/>
                    <a:pt x="6808" y="8520"/>
                    <a:pt x="5981" y="86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14" name="iconfont-11894-5689857"/>
            <p:cNvSpPr>
              <a:spLocks noChangeAspect="1"/>
            </p:cNvSpPr>
            <p:nvPr userDrawn="1"/>
          </p:nvSpPr>
          <p:spPr bwMode="auto">
            <a:xfrm>
              <a:off x="25750260" y="-2688257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8" name="iconfont-11894-5689857"/>
            <p:cNvSpPr>
              <a:spLocks noChangeAspect="1"/>
            </p:cNvSpPr>
            <p:nvPr userDrawn="1"/>
          </p:nvSpPr>
          <p:spPr bwMode="auto">
            <a:xfrm>
              <a:off x="26978856" y="-2757510"/>
              <a:ext cx="591237" cy="609685"/>
            </a:xfrm>
            <a:custGeom>
              <a:avLst/>
              <a:gdLst>
                <a:gd name="T0" fmla="*/ 5719 w 12417"/>
                <a:gd name="T1" fmla="*/ 2264 h 12804"/>
                <a:gd name="T2" fmla="*/ 5719 w 12417"/>
                <a:gd name="T3" fmla="*/ 5366 h 12804"/>
                <a:gd name="T4" fmla="*/ 5720 w 12417"/>
                <a:gd name="T5" fmla="*/ 2816 h 12804"/>
                <a:gd name="T6" fmla="*/ 4596 w 12417"/>
                <a:gd name="T7" fmla="*/ 3938 h 12804"/>
                <a:gd name="T8" fmla="*/ 5720 w 12417"/>
                <a:gd name="T9" fmla="*/ 5917 h 12804"/>
                <a:gd name="T10" fmla="*/ 7700 w 12417"/>
                <a:gd name="T11" fmla="*/ 6211 h 12804"/>
                <a:gd name="T12" fmla="*/ 5034 w 12417"/>
                <a:gd name="T13" fmla="*/ 5462 h 12804"/>
                <a:gd name="T14" fmla="*/ 5871 w 12417"/>
                <a:gd name="T15" fmla="*/ 8460 h 12804"/>
                <a:gd name="T16" fmla="*/ 5763 w 12417"/>
                <a:gd name="T17" fmla="*/ 5268 h 12804"/>
                <a:gd name="T18" fmla="*/ 6409 w 12417"/>
                <a:gd name="T19" fmla="*/ 5466 h 12804"/>
                <a:gd name="T20" fmla="*/ 8933 w 12417"/>
                <a:gd name="T21" fmla="*/ 10332 h 12804"/>
                <a:gd name="T22" fmla="*/ 9845 w 12417"/>
                <a:gd name="T23" fmla="*/ 9087 h 12804"/>
                <a:gd name="T24" fmla="*/ 12413 w 12417"/>
                <a:gd name="T25" fmla="*/ 9743 h 12804"/>
                <a:gd name="T26" fmla="*/ 11727 w 12417"/>
                <a:gd name="T27" fmla="*/ 9056 h 12804"/>
                <a:gd name="T28" fmla="*/ 11732 w 12417"/>
                <a:gd name="T29" fmla="*/ 7666 h 12804"/>
                <a:gd name="T30" fmla="*/ 10925 w 12417"/>
                <a:gd name="T31" fmla="*/ 6943 h 12804"/>
                <a:gd name="T32" fmla="*/ 9988 w 12417"/>
                <a:gd name="T33" fmla="*/ 7193 h 12804"/>
                <a:gd name="T34" fmla="*/ 9357 w 12417"/>
                <a:gd name="T35" fmla="*/ 6463 h 12804"/>
                <a:gd name="T36" fmla="*/ 8670 w 12417"/>
                <a:gd name="T37" fmla="*/ 7149 h 12804"/>
                <a:gd name="T38" fmla="*/ 7758 w 12417"/>
                <a:gd name="T39" fmla="*/ 6832 h 12804"/>
                <a:gd name="T40" fmla="*/ 7508 w 12417"/>
                <a:gd name="T41" fmla="*/ 7768 h 12804"/>
                <a:gd name="T42" fmla="*/ 6559 w 12417"/>
                <a:gd name="T43" fmla="*/ 7950 h 12804"/>
                <a:gd name="T44" fmla="*/ 6526 w 12417"/>
                <a:gd name="T45" fmla="*/ 8658 h 12804"/>
                <a:gd name="T46" fmla="*/ 6079 w 12417"/>
                <a:gd name="T47" fmla="*/ 9519 h 12804"/>
                <a:gd name="T48" fmla="*/ 6766 w 12417"/>
                <a:gd name="T49" fmla="*/ 10205 h 12804"/>
                <a:gd name="T50" fmla="*/ 6614 w 12417"/>
                <a:gd name="T51" fmla="*/ 10934 h 12804"/>
                <a:gd name="T52" fmla="*/ 7385 w 12417"/>
                <a:gd name="T53" fmla="*/ 11368 h 12804"/>
                <a:gd name="T54" fmla="*/ 8074 w 12417"/>
                <a:gd name="T55" fmla="*/ 12575 h 12804"/>
                <a:gd name="T56" fmla="*/ 9133 w 12417"/>
                <a:gd name="T57" fmla="*/ 12798 h 12804"/>
                <a:gd name="T58" fmla="*/ 9819 w 12417"/>
                <a:gd name="T59" fmla="*/ 12112 h 12804"/>
                <a:gd name="T60" fmla="*/ 11209 w 12417"/>
                <a:gd name="T61" fmla="*/ 12118 h 12804"/>
                <a:gd name="T62" fmla="*/ 11932 w 12417"/>
                <a:gd name="T63" fmla="*/ 11312 h 12804"/>
                <a:gd name="T64" fmla="*/ 11774 w 12417"/>
                <a:gd name="T65" fmla="*/ 9929 h 12804"/>
                <a:gd name="T66" fmla="*/ 7604 w 12417"/>
                <a:gd name="T67" fmla="*/ 10422 h 12804"/>
                <a:gd name="T68" fmla="*/ 8454 w 12417"/>
                <a:gd name="T69" fmla="*/ 7988 h 12804"/>
                <a:gd name="T70" fmla="*/ 10356 w 12417"/>
                <a:gd name="T71" fmla="*/ 8175 h 12804"/>
                <a:gd name="T72" fmla="*/ 4705 w 12417"/>
                <a:gd name="T73" fmla="*/ 9599 h 12804"/>
                <a:gd name="T74" fmla="*/ 800 w 12417"/>
                <a:gd name="T75" fmla="*/ 1920 h 12804"/>
                <a:gd name="T76" fmla="*/ 9600 w 12417"/>
                <a:gd name="T77" fmla="*/ 1920 h 12804"/>
                <a:gd name="T78" fmla="*/ 10400 w 12417"/>
                <a:gd name="T79" fmla="*/ 1600 h 12804"/>
                <a:gd name="T80" fmla="*/ 0 w 12417"/>
                <a:gd name="T81" fmla="*/ 1600 h 12804"/>
                <a:gd name="T82" fmla="*/ 4827 w 12417"/>
                <a:gd name="T83" fmla="*/ 10399 h 12804"/>
                <a:gd name="T84" fmla="*/ 1351 w 12417"/>
                <a:gd name="T85" fmla="*/ 7983 h 12804"/>
                <a:gd name="T86" fmla="*/ 4119 w 12417"/>
                <a:gd name="T87" fmla="*/ 4940 h 12804"/>
                <a:gd name="T88" fmla="*/ 4120 w 12417"/>
                <a:gd name="T89" fmla="*/ 5331 h 12804"/>
                <a:gd name="T90" fmla="*/ 4120 w 12417"/>
                <a:gd name="T91" fmla="*/ 2856 h 12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417" h="12804">
                  <a:moveTo>
                    <a:pt x="6404" y="5462"/>
                  </a:moveTo>
                  <a:cubicBezTo>
                    <a:pt x="6986" y="5200"/>
                    <a:pt x="7394" y="4616"/>
                    <a:pt x="7394" y="3938"/>
                  </a:cubicBezTo>
                  <a:cubicBezTo>
                    <a:pt x="7394" y="3015"/>
                    <a:pt x="6642" y="2264"/>
                    <a:pt x="5719" y="2264"/>
                  </a:cubicBezTo>
                  <a:cubicBezTo>
                    <a:pt x="4796" y="2264"/>
                    <a:pt x="4045" y="3014"/>
                    <a:pt x="4045" y="3938"/>
                  </a:cubicBezTo>
                  <a:cubicBezTo>
                    <a:pt x="4045" y="4616"/>
                    <a:pt x="4452" y="5200"/>
                    <a:pt x="5034" y="5462"/>
                  </a:cubicBezTo>
                  <a:cubicBezTo>
                    <a:pt x="5254" y="5405"/>
                    <a:pt x="5482" y="5366"/>
                    <a:pt x="5719" y="5366"/>
                  </a:cubicBezTo>
                  <a:cubicBezTo>
                    <a:pt x="5958" y="5366"/>
                    <a:pt x="6184" y="5405"/>
                    <a:pt x="6404" y="5462"/>
                  </a:cubicBezTo>
                  <a:close/>
                  <a:moveTo>
                    <a:pt x="4596" y="3938"/>
                  </a:moveTo>
                  <a:cubicBezTo>
                    <a:pt x="4596" y="3318"/>
                    <a:pt x="5100" y="2816"/>
                    <a:pt x="5720" y="2816"/>
                  </a:cubicBezTo>
                  <a:cubicBezTo>
                    <a:pt x="6339" y="2816"/>
                    <a:pt x="6843" y="3319"/>
                    <a:pt x="6843" y="3938"/>
                  </a:cubicBezTo>
                  <a:cubicBezTo>
                    <a:pt x="6843" y="4557"/>
                    <a:pt x="6339" y="5062"/>
                    <a:pt x="5720" y="5062"/>
                  </a:cubicBezTo>
                  <a:cubicBezTo>
                    <a:pt x="5100" y="5062"/>
                    <a:pt x="4596" y="4556"/>
                    <a:pt x="4596" y="3938"/>
                  </a:cubicBezTo>
                  <a:close/>
                  <a:moveTo>
                    <a:pt x="6230" y="7859"/>
                  </a:moveTo>
                  <a:lnTo>
                    <a:pt x="3518" y="7859"/>
                  </a:lnTo>
                  <a:cubicBezTo>
                    <a:pt x="3655" y="6766"/>
                    <a:pt x="4590" y="5917"/>
                    <a:pt x="5720" y="5917"/>
                  </a:cubicBezTo>
                  <a:cubicBezTo>
                    <a:pt x="6300" y="5917"/>
                    <a:pt x="6826" y="6143"/>
                    <a:pt x="7221" y="6508"/>
                  </a:cubicBezTo>
                  <a:cubicBezTo>
                    <a:pt x="7341" y="6424"/>
                    <a:pt x="7460" y="6336"/>
                    <a:pt x="7584" y="6271"/>
                  </a:cubicBezTo>
                  <a:lnTo>
                    <a:pt x="7700" y="6211"/>
                  </a:lnTo>
                  <a:cubicBezTo>
                    <a:pt x="7350" y="5851"/>
                    <a:pt x="6905" y="5591"/>
                    <a:pt x="6404" y="5461"/>
                  </a:cubicBezTo>
                  <a:cubicBezTo>
                    <a:pt x="6195" y="5556"/>
                    <a:pt x="5964" y="5612"/>
                    <a:pt x="5720" y="5612"/>
                  </a:cubicBezTo>
                  <a:cubicBezTo>
                    <a:pt x="5476" y="5612"/>
                    <a:pt x="5244" y="5556"/>
                    <a:pt x="5034" y="5462"/>
                  </a:cubicBezTo>
                  <a:cubicBezTo>
                    <a:pt x="3840" y="5768"/>
                    <a:pt x="2951" y="6846"/>
                    <a:pt x="2951" y="8135"/>
                  </a:cubicBezTo>
                  <a:cubicBezTo>
                    <a:pt x="2951" y="8287"/>
                    <a:pt x="3075" y="8411"/>
                    <a:pt x="3226" y="8411"/>
                  </a:cubicBezTo>
                  <a:lnTo>
                    <a:pt x="5871" y="8460"/>
                  </a:lnTo>
                  <a:cubicBezTo>
                    <a:pt x="5871" y="8460"/>
                    <a:pt x="6198" y="7930"/>
                    <a:pt x="6230" y="7859"/>
                  </a:cubicBezTo>
                  <a:close/>
                  <a:moveTo>
                    <a:pt x="6409" y="5466"/>
                  </a:moveTo>
                  <a:cubicBezTo>
                    <a:pt x="6224" y="5268"/>
                    <a:pt x="6001" y="5268"/>
                    <a:pt x="5763" y="5268"/>
                  </a:cubicBezTo>
                  <a:cubicBezTo>
                    <a:pt x="5526" y="5268"/>
                    <a:pt x="5210" y="5268"/>
                    <a:pt x="5038" y="5466"/>
                  </a:cubicBezTo>
                  <a:cubicBezTo>
                    <a:pt x="5249" y="5570"/>
                    <a:pt x="5480" y="5632"/>
                    <a:pt x="5724" y="5632"/>
                  </a:cubicBezTo>
                  <a:cubicBezTo>
                    <a:pt x="5969" y="5632"/>
                    <a:pt x="6199" y="5570"/>
                    <a:pt x="6409" y="5466"/>
                  </a:cubicBezTo>
                  <a:close/>
                  <a:moveTo>
                    <a:pt x="9621" y="8916"/>
                  </a:moveTo>
                  <a:cubicBezTo>
                    <a:pt x="9231" y="8727"/>
                    <a:pt x="8760" y="8889"/>
                    <a:pt x="8569" y="9280"/>
                  </a:cubicBezTo>
                  <a:cubicBezTo>
                    <a:pt x="8380" y="9671"/>
                    <a:pt x="8542" y="10142"/>
                    <a:pt x="8933" y="10332"/>
                  </a:cubicBezTo>
                  <a:cubicBezTo>
                    <a:pt x="9005" y="10367"/>
                    <a:pt x="9079" y="10378"/>
                    <a:pt x="9154" y="10390"/>
                  </a:cubicBezTo>
                  <a:cubicBezTo>
                    <a:pt x="9488" y="10442"/>
                    <a:pt x="9830" y="10288"/>
                    <a:pt x="9986" y="9969"/>
                  </a:cubicBezTo>
                  <a:cubicBezTo>
                    <a:pt x="10132" y="9666"/>
                    <a:pt x="10064" y="9319"/>
                    <a:pt x="9845" y="9087"/>
                  </a:cubicBezTo>
                  <a:cubicBezTo>
                    <a:pt x="9782" y="9020"/>
                    <a:pt x="9709" y="8959"/>
                    <a:pt x="9621" y="8916"/>
                  </a:cubicBezTo>
                  <a:close/>
                  <a:moveTo>
                    <a:pt x="11774" y="9929"/>
                  </a:moveTo>
                  <a:cubicBezTo>
                    <a:pt x="12032" y="9864"/>
                    <a:pt x="12245" y="9802"/>
                    <a:pt x="12413" y="9743"/>
                  </a:cubicBezTo>
                  <a:cubicBezTo>
                    <a:pt x="12417" y="9570"/>
                    <a:pt x="12412" y="9394"/>
                    <a:pt x="12386" y="9218"/>
                  </a:cubicBezTo>
                  <a:cubicBezTo>
                    <a:pt x="12385" y="9203"/>
                    <a:pt x="12383" y="9187"/>
                    <a:pt x="12381" y="9172"/>
                  </a:cubicBezTo>
                  <a:cubicBezTo>
                    <a:pt x="12207" y="9131"/>
                    <a:pt x="11991" y="9092"/>
                    <a:pt x="11727" y="9056"/>
                  </a:cubicBezTo>
                  <a:cubicBezTo>
                    <a:pt x="11692" y="8906"/>
                    <a:pt x="11644" y="8762"/>
                    <a:pt x="11586" y="8623"/>
                  </a:cubicBezTo>
                  <a:cubicBezTo>
                    <a:pt x="11776" y="8439"/>
                    <a:pt x="11929" y="8279"/>
                    <a:pt x="12044" y="8143"/>
                  </a:cubicBezTo>
                  <a:cubicBezTo>
                    <a:pt x="11953" y="7974"/>
                    <a:pt x="11848" y="7814"/>
                    <a:pt x="11732" y="7666"/>
                  </a:cubicBezTo>
                  <a:cubicBezTo>
                    <a:pt x="11560" y="7717"/>
                    <a:pt x="11352" y="7792"/>
                    <a:pt x="11106" y="7893"/>
                  </a:cubicBezTo>
                  <a:cubicBezTo>
                    <a:pt x="11004" y="7781"/>
                    <a:pt x="10889" y="7680"/>
                    <a:pt x="10768" y="7589"/>
                  </a:cubicBezTo>
                  <a:cubicBezTo>
                    <a:pt x="10840" y="7334"/>
                    <a:pt x="10892" y="7119"/>
                    <a:pt x="10925" y="6943"/>
                  </a:cubicBezTo>
                  <a:cubicBezTo>
                    <a:pt x="10764" y="6843"/>
                    <a:pt x="10592" y="6756"/>
                    <a:pt x="10417" y="6684"/>
                  </a:cubicBezTo>
                  <a:cubicBezTo>
                    <a:pt x="10398" y="6705"/>
                    <a:pt x="10375" y="6732"/>
                    <a:pt x="10355" y="6753"/>
                  </a:cubicBezTo>
                  <a:cubicBezTo>
                    <a:pt x="10246" y="6874"/>
                    <a:pt x="10126" y="7015"/>
                    <a:pt x="9988" y="7193"/>
                  </a:cubicBezTo>
                  <a:cubicBezTo>
                    <a:pt x="9941" y="7179"/>
                    <a:pt x="9892" y="7175"/>
                    <a:pt x="9845" y="7163"/>
                  </a:cubicBezTo>
                  <a:cubicBezTo>
                    <a:pt x="9745" y="7139"/>
                    <a:pt x="9646" y="7112"/>
                    <a:pt x="9544" y="7099"/>
                  </a:cubicBezTo>
                  <a:cubicBezTo>
                    <a:pt x="9478" y="6843"/>
                    <a:pt x="9417" y="6630"/>
                    <a:pt x="9357" y="6463"/>
                  </a:cubicBezTo>
                  <a:cubicBezTo>
                    <a:pt x="9184" y="6457"/>
                    <a:pt x="9009" y="6464"/>
                    <a:pt x="8833" y="6488"/>
                  </a:cubicBezTo>
                  <a:cubicBezTo>
                    <a:pt x="8815" y="6490"/>
                    <a:pt x="8801" y="6492"/>
                    <a:pt x="8785" y="6495"/>
                  </a:cubicBezTo>
                  <a:cubicBezTo>
                    <a:pt x="8746" y="6668"/>
                    <a:pt x="8705" y="6885"/>
                    <a:pt x="8670" y="7149"/>
                  </a:cubicBezTo>
                  <a:cubicBezTo>
                    <a:pt x="8531" y="7180"/>
                    <a:pt x="8397" y="7227"/>
                    <a:pt x="8269" y="7280"/>
                  </a:cubicBezTo>
                  <a:cubicBezTo>
                    <a:pt x="8258" y="7284"/>
                    <a:pt x="8248" y="7285"/>
                    <a:pt x="8238" y="7290"/>
                  </a:cubicBezTo>
                  <a:cubicBezTo>
                    <a:pt x="8053" y="7099"/>
                    <a:pt x="7894" y="6946"/>
                    <a:pt x="7758" y="6832"/>
                  </a:cubicBezTo>
                  <a:cubicBezTo>
                    <a:pt x="7657" y="6884"/>
                    <a:pt x="7568" y="6954"/>
                    <a:pt x="7474" y="7017"/>
                  </a:cubicBezTo>
                  <a:cubicBezTo>
                    <a:pt x="7410" y="7061"/>
                    <a:pt x="7341" y="7095"/>
                    <a:pt x="7281" y="7143"/>
                  </a:cubicBezTo>
                  <a:cubicBezTo>
                    <a:pt x="7332" y="7315"/>
                    <a:pt x="7407" y="7522"/>
                    <a:pt x="7508" y="7768"/>
                  </a:cubicBezTo>
                  <a:cubicBezTo>
                    <a:pt x="7402" y="7868"/>
                    <a:pt x="7305" y="7977"/>
                    <a:pt x="7218" y="8092"/>
                  </a:cubicBezTo>
                  <a:lnTo>
                    <a:pt x="7150" y="8092"/>
                  </a:lnTo>
                  <a:cubicBezTo>
                    <a:pt x="6921" y="8028"/>
                    <a:pt x="6721" y="7979"/>
                    <a:pt x="6559" y="7950"/>
                  </a:cubicBezTo>
                  <a:cubicBezTo>
                    <a:pt x="6531" y="7995"/>
                    <a:pt x="6513" y="8046"/>
                    <a:pt x="6487" y="8092"/>
                  </a:cubicBezTo>
                  <a:cubicBezTo>
                    <a:pt x="6420" y="8212"/>
                    <a:pt x="6352" y="8332"/>
                    <a:pt x="6301" y="8459"/>
                  </a:cubicBezTo>
                  <a:cubicBezTo>
                    <a:pt x="6366" y="8521"/>
                    <a:pt x="6441" y="8587"/>
                    <a:pt x="6526" y="8658"/>
                  </a:cubicBezTo>
                  <a:cubicBezTo>
                    <a:pt x="6610" y="8729"/>
                    <a:pt x="6705" y="8805"/>
                    <a:pt x="6810" y="8886"/>
                  </a:cubicBezTo>
                  <a:cubicBezTo>
                    <a:pt x="6768" y="9031"/>
                    <a:pt x="6734" y="9179"/>
                    <a:pt x="6718" y="9332"/>
                  </a:cubicBezTo>
                  <a:cubicBezTo>
                    <a:pt x="6460" y="9396"/>
                    <a:pt x="6247" y="9459"/>
                    <a:pt x="6079" y="9519"/>
                  </a:cubicBezTo>
                  <a:cubicBezTo>
                    <a:pt x="6073" y="9691"/>
                    <a:pt x="6082" y="9866"/>
                    <a:pt x="6104" y="10042"/>
                  </a:cubicBezTo>
                  <a:cubicBezTo>
                    <a:pt x="6106" y="10058"/>
                    <a:pt x="6109" y="10074"/>
                    <a:pt x="6111" y="10089"/>
                  </a:cubicBezTo>
                  <a:cubicBezTo>
                    <a:pt x="6284" y="10130"/>
                    <a:pt x="6502" y="10168"/>
                    <a:pt x="6766" y="10205"/>
                  </a:cubicBezTo>
                  <a:cubicBezTo>
                    <a:pt x="6783" y="10280"/>
                    <a:pt x="6814" y="10350"/>
                    <a:pt x="6837" y="10422"/>
                  </a:cubicBezTo>
                  <a:cubicBezTo>
                    <a:pt x="6860" y="10494"/>
                    <a:pt x="6877" y="10568"/>
                    <a:pt x="6906" y="10637"/>
                  </a:cubicBezTo>
                  <a:cubicBezTo>
                    <a:pt x="6795" y="10745"/>
                    <a:pt x="6700" y="10842"/>
                    <a:pt x="6614" y="10934"/>
                  </a:cubicBezTo>
                  <a:cubicBezTo>
                    <a:pt x="6552" y="10998"/>
                    <a:pt x="6494" y="11061"/>
                    <a:pt x="6446" y="11117"/>
                  </a:cubicBezTo>
                  <a:cubicBezTo>
                    <a:pt x="6537" y="11287"/>
                    <a:pt x="6641" y="11446"/>
                    <a:pt x="6759" y="11597"/>
                  </a:cubicBezTo>
                  <a:cubicBezTo>
                    <a:pt x="6929" y="11546"/>
                    <a:pt x="7139" y="11469"/>
                    <a:pt x="7385" y="11368"/>
                  </a:cubicBezTo>
                  <a:cubicBezTo>
                    <a:pt x="7487" y="11480"/>
                    <a:pt x="7602" y="11581"/>
                    <a:pt x="7723" y="11672"/>
                  </a:cubicBezTo>
                  <a:cubicBezTo>
                    <a:pt x="7650" y="11926"/>
                    <a:pt x="7597" y="12142"/>
                    <a:pt x="7566" y="12318"/>
                  </a:cubicBezTo>
                  <a:cubicBezTo>
                    <a:pt x="7726" y="12418"/>
                    <a:pt x="7897" y="12505"/>
                    <a:pt x="8074" y="12575"/>
                  </a:cubicBezTo>
                  <a:cubicBezTo>
                    <a:pt x="8197" y="12447"/>
                    <a:pt x="8338" y="12278"/>
                    <a:pt x="8501" y="12067"/>
                  </a:cubicBezTo>
                  <a:cubicBezTo>
                    <a:pt x="8646" y="12112"/>
                    <a:pt x="8794" y="12142"/>
                    <a:pt x="8947" y="12161"/>
                  </a:cubicBezTo>
                  <a:cubicBezTo>
                    <a:pt x="9012" y="12418"/>
                    <a:pt x="9074" y="12630"/>
                    <a:pt x="9133" y="12798"/>
                  </a:cubicBezTo>
                  <a:cubicBezTo>
                    <a:pt x="9305" y="12804"/>
                    <a:pt x="9481" y="12796"/>
                    <a:pt x="9658" y="12773"/>
                  </a:cubicBezTo>
                  <a:cubicBezTo>
                    <a:pt x="9673" y="12771"/>
                    <a:pt x="9689" y="12769"/>
                    <a:pt x="9705" y="12767"/>
                  </a:cubicBezTo>
                  <a:cubicBezTo>
                    <a:pt x="9745" y="12593"/>
                    <a:pt x="9784" y="12376"/>
                    <a:pt x="9819" y="12112"/>
                  </a:cubicBezTo>
                  <a:cubicBezTo>
                    <a:pt x="9969" y="12078"/>
                    <a:pt x="10113" y="12030"/>
                    <a:pt x="10251" y="11971"/>
                  </a:cubicBezTo>
                  <a:cubicBezTo>
                    <a:pt x="10436" y="12162"/>
                    <a:pt x="10596" y="12315"/>
                    <a:pt x="10732" y="12430"/>
                  </a:cubicBezTo>
                  <a:cubicBezTo>
                    <a:pt x="10902" y="12340"/>
                    <a:pt x="11061" y="12235"/>
                    <a:pt x="11209" y="12118"/>
                  </a:cubicBezTo>
                  <a:cubicBezTo>
                    <a:pt x="11160" y="11947"/>
                    <a:pt x="11084" y="11738"/>
                    <a:pt x="10982" y="11492"/>
                  </a:cubicBezTo>
                  <a:cubicBezTo>
                    <a:pt x="11093" y="11389"/>
                    <a:pt x="11194" y="11274"/>
                    <a:pt x="11285" y="11154"/>
                  </a:cubicBezTo>
                  <a:cubicBezTo>
                    <a:pt x="11540" y="11227"/>
                    <a:pt x="11756" y="11279"/>
                    <a:pt x="11932" y="11312"/>
                  </a:cubicBezTo>
                  <a:cubicBezTo>
                    <a:pt x="12032" y="11151"/>
                    <a:pt x="12120" y="10981"/>
                    <a:pt x="12190" y="10802"/>
                  </a:cubicBezTo>
                  <a:cubicBezTo>
                    <a:pt x="12060" y="10680"/>
                    <a:pt x="11891" y="10538"/>
                    <a:pt x="11680" y="10374"/>
                  </a:cubicBezTo>
                  <a:cubicBezTo>
                    <a:pt x="11726" y="10230"/>
                    <a:pt x="11757" y="10082"/>
                    <a:pt x="11774" y="9929"/>
                  </a:cubicBezTo>
                  <a:close/>
                  <a:moveTo>
                    <a:pt x="9484" y="11445"/>
                  </a:moveTo>
                  <a:cubicBezTo>
                    <a:pt x="8905" y="11521"/>
                    <a:pt x="8358" y="11312"/>
                    <a:pt x="7970" y="10933"/>
                  </a:cubicBezTo>
                  <a:cubicBezTo>
                    <a:pt x="7820" y="10786"/>
                    <a:pt x="7697" y="10615"/>
                    <a:pt x="7604" y="10422"/>
                  </a:cubicBezTo>
                  <a:cubicBezTo>
                    <a:pt x="7521" y="10251"/>
                    <a:pt x="7457" y="10068"/>
                    <a:pt x="7430" y="9868"/>
                  </a:cubicBezTo>
                  <a:cubicBezTo>
                    <a:pt x="7372" y="9428"/>
                    <a:pt x="7484" y="9007"/>
                    <a:pt x="7704" y="8658"/>
                  </a:cubicBezTo>
                  <a:cubicBezTo>
                    <a:pt x="7885" y="8371"/>
                    <a:pt x="8142" y="8139"/>
                    <a:pt x="8454" y="7988"/>
                  </a:cubicBezTo>
                  <a:cubicBezTo>
                    <a:pt x="8626" y="7906"/>
                    <a:pt x="8809" y="7841"/>
                    <a:pt x="9008" y="7815"/>
                  </a:cubicBezTo>
                  <a:cubicBezTo>
                    <a:pt x="9301" y="7776"/>
                    <a:pt x="9585" y="7817"/>
                    <a:pt x="9846" y="7908"/>
                  </a:cubicBezTo>
                  <a:cubicBezTo>
                    <a:pt x="10029" y="7973"/>
                    <a:pt x="10203" y="8059"/>
                    <a:pt x="10356" y="8175"/>
                  </a:cubicBezTo>
                  <a:cubicBezTo>
                    <a:pt x="10730" y="8460"/>
                    <a:pt x="10996" y="8889"/>
                    <a:pt x="11062" y="9392"/>
                  </a:cubicBezTo>
                  <a:cubicBezTo>
                    <a:pt x="11193" y="10394"/>
                    <a:pt x="10485" y="11314"/>
                    <a:pt x="9484" y="11445"/>
                  </a:cubicBezTo>
                  <a:close/>
                  <a:moveTo>
                    <a:pt x="4705" y="9599"/>
                  </a:moveTo>
                  <a:lnTo>
                    <a:pt x="1920" y="9599"/>
                  </a:lnTo>
                  <a:cubicBezTo>
                    <a:pt x="1302" y="9599"/>
                    <a:pt x="800" y="9098"/>
                    <a:pt x="800" y="8479"/>
                  </a:cubicBezTo>
                  <a:lnTo>
                    <a:pt x="800" y="1920"/>
                  </a:lnTo>
                  <a:cubicBezTo>
                    <a:pt x="800" y="1302"/>
                    <a:pt x="1302" y="800"/>
                    <a:pt x="1920" y="800"/>
                  </a:cubicBezTo>
                  <a:lnTo>
                    <a:pt x="8480" y="800"/>
                  </a:lnTo>
                  <a:cubicBezTo>
                    <a:pt x="9098" y="800"/>
                    <a:pt x="9600" y="1302"/>
                    <a:pt x="9600" y="1920"/>
                  </a:cubicBezTo>
                  <a:lnTo>
                    <a:pt x="9600" y="4872"/>
                  </a:lnTo>
                  <a:cubicBezTo>
                    <a:pt x="9600" y="4902"/>
                    <a:pt x="10182" y="4948"/>
                    <a:pt x="10400" y="5012"/>
                  </a:cubicBezTo>
                  <a:lnTo>
                    <a:pt x="10400" y="1600"/>
                  </a:lnTo>
                  <a:cubicBezTo>
                    <a:pt x="10400" y="716"/>
                    <a:pt x="9684" y="0"/>
                    <a:pt x="8800" y="0"/>
                  </a:cubicBezTo>
                  <a:lnTo>
                    <a:pt x="1600" y="0"/>
                  </a:lnTo>
                  <a:cubicBezTo>
                    <a:pt x="716" y="0"/>
                    <a:pt x="0" y="716"/>
                    <a:pt x="0" y="1600"/>
                  </a:cubicBezTo>
                  <a:lnTo>
                    <a:pt x="0" y="8799"/>
                  </a:lnTo>
                  <a:cubicBezTo>
                    <a:pt x="0" y="9683"/>
                    <a:pt x="716" y="10399"/>
                    <a:pt x="1600" y="10399"/>
                  </a:cubicBezTo>
                  <a:lnTo>
                    <a:pt x="4827" y="10399"/>
                  </a:lnTo>
                  <a:cubicBezTo>
                    <a:pt x="4771" y="10181"/>
                    <a:pt x="4727" y="9599"/>
                    <a:pt x="4705" y="9599"/>
                  </a:cubicBezTo>
                  <a:close/>
                  <a:moveTo>
                    <a:pt x="4119" y="4940"/>
                  </a:moveTo>
                  <a:cubicBezTo>
                    <a:pt x="4119" y="4940"/>
                    <a:pt x="1349" y="4791"/>
                    <a:pt x="1351" y="7983"/>
                  </a:cubicBezTo>
                  <a:lnTo>
                    <a:pt x="1901" y="7983"/>
                  </a:lnTo>
                  <a:cubicBezTo>
                    <a:pt x="1901" y="7983"/>
                    <a:pt x="1726" y="5700"/>
                    <a:pt x="4120" y="5492"/>
                  </a:cubicBezTo>
                  <a:lnTo>
                    <a:pt x="4119" y="4940"/>
                  </a:lnTo>
                  <a:close/>
                  <a:moveTo>
                    <a:pt x="4120" y="2395"/>
                  </a:moveTo>
                  <a:cubicBezTo>
                    <a:pt x="4120" y="2395"/>
                    <a:pt x="2651" y="2395"/>
                    <a:pt x="2651" y="3863"/>
                  </a:cubicBezTo>
                  <a:cubicBezTo>
                    <a:pt x="2651" y="3863"/>
                    <a:pt x="2651" y="5232"/>
                    <a:pt x="4120" y="5331"/>
                  </a:cubicBezTo>
                  <a:lnTo>
                    <a:pt x="4120" y="4831"/>
                  </a:lnTo>
                  <a:cubicBezTo>
                    <a:pt x="4120" y="4831"/>
                    <a:pt x="3265" y="4758"/>
                    <a:pt x="3190" y="3863"/>
                  </a:cubicBezTo>
                  <a:cubicBezTo>
                    <a:pt x="3190" y="3863"/>
                    <a:pt x="3151" y="2931"/>
                    <a:pt x="4120" y="2856"/>
                  </a:cubicBezTo>
                  <a:lnTo>
                    <a:pt x="4120" y="239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16" name="iconfont-11894-5689857"/>
            <p:cNvSpPr>
              <a:spLocks noChangeAspect="1"/>
            </p:cNvSpPr>
            <p:nvPr userDrawn="1"/>
          </p:nvSpPr>
          <p:spPr bwMode="auto">
            <a:xfrm>
              <a:off x="28188999" y="-2757510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18" name="iconfont-11894-5689857"/>
            <p:cNvSpPr>
              <a:spLocks noChangeAspect="1"/>
            </p:cNvSpPr>
            <p:nvPr userDrawn="1"/>
          </p:nvSpPr>
          <p:spPr bwMode="auto">
            <a:xfrm>
              <a:off x="13556559" y="-1287093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19" name="iconfont-11894-5689857"/>
            <p:cNvSpPr>
              <a:spLocks noChangeAspect="1"/>
            </p:cNvSpPr>
            <p:nvPr userDrawn="1"/>
          </p:nvSpPr>
          <p:spPr bwMode="auto">
            <a:xfrm>
              <a:off x="14775929" y="-1251424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3" name="iconfont-11894-5689857"/>
            <p:cNvSpPr>
              <a:spLocks noChangeAspect="1"/>
            </p:cNvSpPr>
            <p:nvPr userDrawn="1"/>
          </p:nvSpPr>
          <p:spPr bwMode="auto">
            <a:xfrm>
              <a:off x="15995895" y="-1287093"/>
              <a:ext cx="608494" cy="609685"/>
            </a:xfrm>
            <a:custGeom>
              <a:avLst/>
              <a:gdLst>
                <a:gd name="T0" fmla="*/ 3993 w 12776"/>
                <a:gd name="T1" fmla="*/ 3219 h 12800"/>
                <a:gd name="T2" fmla="*/ 1078 w 12776"/>
                <a:gd name="T3" fmla="*/ 3243 h 12800"/>
                <a:gd name="T4" fmla="*/ 0 w 12776"/>
                <a:gd name="T5" fmla="*/ 4361 h 12800"/>
                <a:gd name="T6" fmla="*/ 0 w 12776"/>
                <a:gd name="T7" fmla="*/ 11682 h 12800"/>
                <a:gd name="T8" fmla="*/ 1118 w 12776"/>
                <a:gd name="T9" fmla="*/ 12800 h 12800"/>
                <a:gd name="T10" fmla="*/ 7670 w 12776"/>
                <a:gd name="T11" fmla="*/ 12800 h 12800"/>
                <a:gd name="T12" fmla="*/ 8783 w 12776"/>
                <a:gd name="T13" fmla="*/ 12002 h 12800"/>
                <a:gd name="T14" fmla="*/ 8783 w 12776"/>
                <a:gd name="T15" fmla="*/ 9606 h 12800"/>
                <a:gd name="T16" fmla="*/ 12776 w 12776"/>
                <a:gd name="T17" fmla="*/ 9606 h 12800"/>
                <a:gd name="T18" fmla="*/ 12776 w 12776"/>
                <a:gd name="T19" fmla="*/ 25 h 12800"/>
                <a:gd name="T20" fmla="*/ 3993 w 12776"/>
                <a:gd name="T21" fmla="*/ 0 h 12800"/>
                <a:gd name="T22" fmla="*/ 3993 w 12776"/>
                <a:gd name="T23" fmla="*/ 3219 h 12800"/>
                <a:gd name="T24" fmla="*/ 7985 w 12776"/>
                <a:gd name="T25" fmla="*/ 11602 h 12800"/>
                <a:gd name="T26" fmla="*/ 7586 w 12776"/>
                <a:gd name="T27" fmla="*/ 12002 h 12800"/>
                <a:gd name="T28" fmla="*/ 1198 w 12776"/>
                <a:gd name="T29" fmla="*/ 12002 h 12800"/>
                <a:gd name="T30" fmla="*/ 799 w 12776"/>
                <a:gd name="T31" fmla="*/ 11602 h 12800"/>
                <a:gd name="T32" fmla="*/ 799 w 12776"/>
                <a:gd name="T33" fmla="*/ 4416 h 12800"/>
                <a:gd name="T34" fmla="*/ 1198 w 12776"/>
                <a:gd name="T35" fmla="*/ 4017 h 12800"/>
                <a:gd name="T36" fmla="*/ 7586 w 12776"/>
                <a:gd name="T37" fmla="*/ 4017 h 12800"/>
                <a:gd name="T38" fmla="*/ 7985 w 12776"/>
                <a:gd name="T39" fmla="*/ 4416 h 12800"/>
                <a:gd name="T40" fmla="*/ 7985 w 12776"/>
                <a:gd name="T41" fmla="*/ 11602 h 12800"/>
                <a:gd name="T42" fmla="*/ 11977 w 12776"/>
                <a:gd name="T43" fmla="*/ 743 h 12800"/>
                <a:gd name="T44" fmla="*/ 11977 w 12776"/>
                <a:gd name="T45" fmla="*/ 8808 h 12800"/>
                <a:gd name="T46" fmla="*/ 8783 w 12776"/>
                <a:gd name="T47" fmla="*/ 8808 h 12800"/>
                <a:gd name="T48" fmla="*/ 8783 w 12776"/>
                <a:gd name="T49" fmla="*/ 4017 h 12800"/>
                <a:gd name="T50" fmla="*/ 7590 w 12776"/>
                <a:gd name="T51" fmla="*/ 3243 h 12800"/>
                <a:gd name="T52" fmla="*/ 4791 w 12776"/>
                <a:gd name="T53" fmla="*/ 3219 h 12800"/>
                <a:gd name="T54" fmla="*/ 4791 w 12776"/>
                <a:gd name="T55" fmla="*/ 719 h 12800"/>
                <a:gd name="T56" fmla="*/ 11977 w 12776"/>
                <a:gd name="T57" fmla="*/ 7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776" h="12800">
                  <a:moveTo>
                    <a:pt x="3993" y="3219"/>
                  </a:moveTo>
                  <a:lnTo>
                    <a:pt x="1078" y="3243"/>
                  </a:lnTo>
                  <a:cubicBezTo>
                    <a:pt x="440" y="3243"/>
                    <a:pt x="0" y="3722"/>
                    <a:pt x="0" y="4361"/>
                  </a:cubicBezTo>
                  <a:lnTo>
                    <a:pt x="0" y="11682"/>
                  </a:lnTo>
                  <a:cubicBezTo>
                    <a:pt x="0" y="12321"/>
                    <a:pt x="479" y="12800"/>
                    <a:pt x="1118" y="12800"/>
                  </a:cubicBezTo>
                  <a:lnTo>
                    <a:pt x="7670" y="12800"/>
                  </a:lnTo>
                  <a:cubicBezTo>
                    <a:pt x="8309" y="12800"/>
                    <a:pt x="8783" y="12640"/>
                    <a:pt x="8783" y="12002"/>
                  </a:cubicBezTo>
                  <a:lnTo>
                    <a:pt x="8783" y="9606"/>
                  </a:lnTo>
                  <a:lnTo>
                    <a:pt x="12776" y="9606"/>
                  </a:lnTo>
                  <a:lnTo>
                    <a:pt x="12776" y="25"/>
                  </a:lnTo>
                  <a:lnTo>
                    <a:pt x="3993" y="0"/>
                  </a:lnTo>
                  <a:lnTo>
                    <a:pt x="3993" y="3219"/>
                  </a:lnTo>
                  <a:close/>
                  <a:moveTo>
                    <a:pt x="7985" y="11602"/>
                  </a:moveTo>
                  <a:cubicBezTo>
                    <a:pt x="7985" y="11823"/>
                    <a:pt x="7806" y="12002"/>
                    <a:pt x="7586" y="12002"/>
                  </a:cubicBezTo>
                  <a:lnTo>
                    <a:pt x="1198" y="12002"/>
                  </a:lnTo>
                  <a:cubicBezTo>
                    <a:pt x="978" y="12002"/>
                    <a:pt x="799" y="11823"/>
                    <a:pt x="799" y="11602"/>
                  </a:cubicBezTo>
                  <a:lnTo>
                    <a:pt x="799" y="4416"/>
                  </a:lnTo>
                  <a:cubicBezTo>
                    <a:pt x="799" y="4196"/>
                    <a:pt x="978" y="4017"/>
                    <a:pt x="1198" y="4017"/>
                  </a:cubicBezTo>
                  <a:lnTo>
                    <a:pt x="7586" y="4017"/>
                  </a:lnTo>
                  <a:cubicBezTo>
                    <a:pt x="7806" y="4017"/>
                    <a:pt x="7985" y="4196"/>
                    <a:pt x="7985" y="4416"/>
                  </a:cubicBezTo>
                  <a:lnTo>
                    <a:pt x="7985" y="11602"/>
                  </a:lnTo>
                  <a:close/>
                  <a:moveTo>
                    <a:pt x="11977" y="743"/>
                  </a:moveTo>
                  <a:lnTo>
                    <a:pt x="11977" y="8808"/>
                  </a:lnTo>
                  <a:lnTo>
                    <a:pt x="8783" y="8808"/>
                  </a:lnTo>
                  <a:lnTo>
                    <a:pt x="8783" y="4017"/>
                  </a:lnTo>
                  <a:cubicBezTo>
                    <a:pt x="8783" y="3378"/>
                    <a:pt x="8229" y="3243"/>
                    <a:pt x="7590" y="3243"/>
                  </a:cubicBezTo>
                  <a:lnTo>
                    <a:pt x="4791" y="3219"/>
                  </a:lnTo>
                  <a:lnTo>
                    <a:pt x="4791" y="719"/>
                  </a:lnTo>
                  <a:lnTo>
                    <a:pt x="11977" y="7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21" name="iconfont-11894-5689857"/>
            <p:cNvSpPr>
              <a:spLocks noChangeAspect="1"/>
            </p:cNvSpPr>
            <p:nvPr userDrawn="1"/>
          </p:nvSpPr>
          <p:spPr bwMode="auto">
            <a:xfrm>
              <a:off x="17214969" y="-1287093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5" name="iconfont-11894-5689857"/>
            <p:cNvSpPr>
              <a:spLocks noChangeAspect="1"/>
            </p:cNvSpPr>
            <p:nvPr userDrawn="1"/>
          </p:nvSpPr>
          <p:spPr bwMode="auto">
            <a:xfrm>
              <a:off x="18434041" y="-1287093"/>
              <a:ext cx="609685" cy="609685"/>
            </a:xfrm>
            <a:custGeom>
              <a:avLst/>
              <a:gdLst>
                <a:gd name="T0" fmla="*/ 12800 w 12800"/>
                <a:gd name="T1" fmla="*/ 11360 h 12800"/>
                <a:gd name="T2" fmla="*/ 11360 w 12800"/>
                <a:gd name="T3" fmla="*/ 12800 h 12800"/>
                <a:gd name="T4" fmla="*/ 1440 w 12800"/>
                <a:gd name="T5" fmla="*/ 12800 h 12800"/>
                <a:gd name="T6" fmla="*/ 0 w 12800"/>
                <a:gd name="T7" fmla="*/ 11360 h 12800"/>
                <a:gd name="T8" fmla="*/ 0 w 12800"/>
                <a:gd name="T9" fmla="*/ 1440 h 12800"/>
                <a:gd name="T10" fmla="*/ 1440 w 12800"/>
                <a:gd name="T11" fmla="*/ 0 h 12800"/>
                <a:gd name="T12" fmla="*/ 11360 w 12800"/>
                <a:gd name="T13" fmla="*/ 0 h 12800"/>
                <a:gd name="T14" fmla="*/ 12800 w 12800"/>
                <a:gd name="T15" fmla="*/ 1440 h 12800"/>
                <a:gd name="T16" fmla="*/ 12800 w 12800"/>
                <a:gd name="T17" fmla="*/ 11360 h 12800"/>
                <a:gd name="T18" fmla="*/ 1600 w 12800"/>
                <a:gd name="T19" fmla="*/ 800 h 12800"/>
                <a:gd name="T20" fmla="*/ 800 w 12800"/>
                <a:gd name="T21" fmla="*/ 1600 h 12800"/>
                <a:gd name="T22" fmla="*/ 800 w 12800"/>
                <a:gd name="T23" fmla="*/ 11200 h 12800"/>
                <a:gd name="T24" fmla="*/ 1680 w 12800"/>
                <a:gd name="T25" fmla="*/ 12000 h 12800"/>
                <a:gd name="T26" fmla="*/ 11200 w 12800"/>
                <a:gd name="T27" fmla="*/ 12000 h 12800"/>
                <a:gd name="T28" fmla="*/ 12000 w 12800"/>
                <a:gd name="T29" fmla="*/ 11280 h 12800"/>
                <a:gd name="T30" fmla="*/ 12000 w 12800"/>
                <a:gd name="T31" fmla="*/ 1600 h 12800"/>
                <a:gd name="T32" fmla="*/ 11200 w 12800"/>
                <a:gd name="T33" fmla="*/ 800 h 12800"/>
                <a:gd name="T34" fmla="*/ 1600 w 12800"/>
                <a:gd name="T35" fmla="*/ 800 h 12800"/>
                <a:gd name="T36" fmla="*/ 6400 w 12800"/>
                <a:gd name="T37" fmla="*/ 10560 h 12800"/>
                <a:gd name="T38" fmla="*/ 2240 w 12800"/>
                <a:gd name="T39" fmla="*/ 6400 h 12800"/>
                <a:gd name="T40" fmla="*/ 6400 w 12800"/>
                <a:gd name="T41" fmla="*/ 2240 h 12800"/>
                <a:gd name="T42" fmla="*/ 10560 w 12800"/>
                <a:gd name="T43" fmla="*/ 6400 h 12800"/>
                <a:gd name="T44" fmla="*/ 6400 w 12800"/>
                <a:gd name="T45" fmla="*/ 10560 h 12800"/>
                <a:gd name="T46" fmla="*/ 6400 w 12800"/>
                <a:gd name="T47" fmla="*/ 3040 h 12800"/>
                <a:gd name="T48" fmla="*/ 3040 w 12800"/>
                <a:gd name="T49" fmla="*/ 6400 h 12800"/>
                <a:gd name="T50" fmla="*/ 6400 w 12800"/>
                <a:gd name="T51" fmla="*/ 9760 h 12800"/>
                <a:gd name="T52" fmla="*/ 9760 w 12800"/>
                <a:gd name="T53" fmla="*/ 6400 h 12800"/>
                <a:gd name="T54" fmla="*/ 6400 w 12800"/>
                <a:gd name="T55" fmla="*/ 3040 h 12800"/>
                <a:gd name="T56" fmla="*/ 8289 w 12800"/>
                <a:gd name="T57" fmla="*/ 8798 h 12800"/>
                <a:gd name="T58" fmla="*/ 4499 w 12800"/>
                <a:gd name="T59" fmla="*/ 4250 h 12800"/>
                <a:gd name="T60" fmla="*/ 5052 w 12800"/>
                <a:gd name="T61" fmla="*/ 3789 h 12800"/>
                <a:gd name="T62" fmla="*/ 8842 w 12800"/>
                <a:gd name="T63" fmla="*/ 8337 h 12800"/>
                <a:gd name="T64" fmla="*/ 8289 w 12800"/>
                <a:gd name="T65" fmla="*/ 879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800">
                  <a:moveTo>
                    <a:pt x="12800" y="11360"/>
                  </a:moveTo>
                  <a:cubicBezTo>
                    <a:pt x="12800" y="12155"/>
                    <a:pt x="12155" y="12800"/>
                    <a:pt x="11360" y="12800"/>
                  </a:cubicBezTo>
                  <a:lnTo>
                    <a:pt x="1440" y="12800"/>
                  </a:lnTo>
                  <a:cubicBezTo>
                    <a:pt x="645" y="12800"/>
                    <a:pt x="0" y="12155"/>
                    <a:pt x="0" y="11360"/>
                  </a:cubicBezTo>
                  <a:lnTo>
                    <a:pt x="0" y="1440"/>
                  </a:lnTo>
                  <a:cubicBezTo>
                    <a:pt x="0" y="645"/>
                    <a:pt x="645" y="0"/>
                    <a:pt x="1440" y="0"/>
                  </a:cubicBezTo>
                  <a:lnTo>
                    <a:pt x="11360" y="0"/>
                  </a:lnTo>
                  <a:cubicBezTo>
                    <a:pt x="12155" y="0"/>
                    <a:pt x="12800" y="645"/>
                    <a:pt x="12800" y="1440"/>
                  </a:cubicBezTo>
                  <a:lnTo>
                    <a:pt x="12800" y="11360"/>
                  </a:lnTo>
                  <a:close/>
                  <a:moveTo>
                    <a:pt x="1600" y="800"/>
                  </a:moveTo>
                  <a:cubicBezTo>
                    <a:pt x="1120" y="800"/>
                    <a:pt x="800" y="1120"/>
                    <a:pt x="800" y="1600"/>
                  </a:cubicBezTo>
                  <a:lnTo>
                    <a:pt x="800" y="11200"/>
                  </a:lnTo>
                  <a:cubicBezTo>
                    <a:pt x="800" y="11680"/>
                    <a:pt x="1120" y="12000"/>
                    <a:pt x="1680" y="12000"/>
                  </a:cubicBezTo>
                  <a:lnTo>
                    <a:pt x="11200" y="12000"/>
                  </a:lnTo>
                  <a:cubicBezTo>
                    <a:pt x="11680" y="12000"/>
                    <a:pt x="12000" y="11760"/>
                    <a:pt x="12000" y="11280"/>
                  </a:cubicBezTo>
                  <a:lnTo>
                    <a:pt x="12000" y="1600"/>
                  </a:lnTo>
                  <a:cubicBezTo>
                    <a:pt x="12000" y="1120"/>
                    <a:pt x="11680" y="800"/>
                    <a:pt x="11200" y="800"/>
                  </a:cubicBezTo>
                  <a:lnTo>
                    <a:pt x="1600" y="800"/>
                  </a:lnTo>
                  <a:close/>
                  <a:moveTo>
                    <a:pt x="6400" y="10560"/>
                  </a:moveTo>
                  <a:cubicBezTo>
                    <a:pt x="4080" y="10560"/>
                    <a:pt x="2240" y="8720"/>
                    <a:pt x="2240" y="6400"/>
                  </a:cubicBezTo>
                  <a:cubicBezTo>
                    <a:pt x="2240" y="4080"/>
                    <a:pt x="4080" y="2240"/>
                    <a:pt x="6400" y="2240"/>
                  </a:cubicBezTo>
                  <a:cubicBezTo>
                    <a:pt x="8720" y="2240"/>
                    <a:pt x="10560" y="4080"/>
                    <a:pt x="10560" y="6400"/>
                  </a:cubicBezTo>
                  <a:cubicBezTo>
                    <a:pt x="10480" y="8720"/>
                    <a:pt x="8640" y="10560"/>
                    <a:pt x="6400" y="10560"/>
                  </a:cubicBezTo>
                  <a:close/>
                  <a:moveTo>
                    <a:pt x="6400" y="3040"/>
                  </a:moveTo>
                  <a:cubicBezTo>
                    <a:pt x="4560" y="3040"/>
                    <a:pt x="3040" y="4560"/>
                    <a:pt x="3040" y="6400"/>
                  </a:cubicBezTo>
                  <a:cubicBezTo>
                    <a:pt x="3040" y="8240"/>
                    <a:pt x="4560" y="9760"/>
                    <a:pt x="6400" y="9760"/>
                  </a:cubicBezTo>
                  <a:cubicBezTo>
                    <a:pt x="8240" y="9760"/>
                    <a:pt x="9760" y="8240"/>
                    <a:pt x="9760" y="6400"/>
                  </a:cubicBezTo>
                  <a:cubicBezTo>
                    <a:pt x="9760" y="4560"/>
                    <a:pt x="8240" y="3040"/>
                    <a:pt x="6400" y="3040"/>
                  </a:cubicBezTo>
                  <a:close/>
                  <a:moveTo>
                    <a:pt x="8289" y="8798"/>
                  </a:moveTo>
                  <a:lnTo>
                    <a:pt x="4499" y="4250"/>
                  </a:lnTo>
                  <a:lnTo>
                    <a:pt x="5052" y="3789"/>
                  </a:lnTo>
                  <a:lnTo>
                    <a:pt x="8842" y="8337"/>
                  </a:lnTo>
                  <a:lnTo>
                    <a:pt x="8289" y="87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7" name="iconfont-11894-5689857"/>
            <p:cNvSpPr>
              <a:spLocks noChangeAspect="1"/>
            </p:cNvSpPr>
            <p:nvPr userDrawn="1"/>
          </p:nvSpPr>
          <p:spPr bwMode="auto">
            <a:xfrm>
              <a:off x="26969631" y="-1285208"/>
              <a:ext cx="609685" cy="605914"/>
            </a:xfrm>
            <a:custGeom>
              <a:avLst/>
              <a:gdLst>
                <a:gd name="T0" fmla="*/ 8000 w 12800"/>
                <a:gd name="T1" fmla="*/ 9520 h 12720"/>
                <a:gd name="T2" fmla="*/ 4800 w 12800"/>
                <a:gd name="T3" fmla="*/ 9520 h 12720"/>
                <a:gd name="T4" fmla="*/ 4800 w 12800"/>
                <a:gd name="T5" fmla="*/ 5520 h 12720"/>
                <a:gd name="T6" fmla="*/ 1873 w 12800"/>
                <a:gd name="T7" fmla="*/ 5520 h 12720"/>
                <a:gd name="T8" fmla="*/ 6433 w 12800"/>
                <a:gd name="T9" fmla="*/ 0 h 12720"/>
                <a:gd name="T10" fmla="*/ 10993 w 12800"/>
                <a:gd name="T11" fmla="*/ 5520 h 12720"/>
                <a:gd name="T12" fmla="*/ 8000 w 12800"/>
                <a:gd name="T13" fmla="*/ 5520 h 12720"/>
                <a:gd name="T14" fmla="*/ 8000 w 12800"/>
                <a:gd name="T15" fmla="*/ 9520 h 12720"/>
                <a:gd name="T16" fmla="*/ 5600 w 12800"/>
                <a:gd name="T17" fmla="*/ 8720 h 12720"/>
                <a:gd name="T18" fmla="*/ 7200 w 12800"/>
                <a:gd name="T19" fmla="*/ 8720 h 12720"/>
                <a:gd name="T20" fmla="*/ 7200 w 12800"/>
                <a:gd name="T21" fmla="*/ 4720 h 12720"/>
                <a:gd name="T22" fmla="*/ 9393 w 12800"/>
                <a:gd name="T23" fmla="*/ 4720 h 12720"/>
                <a:gd name="T24" fmla="*/ 6433 w 12800"/>
                <a:gd name="T25" fmla="*/ 1200 h 12720"/>
                <a:gd name="T26" fmla="*/ 3473 w 12800"/>
                <a:gd name="T27" fmla="*/ 4720 h 12720"/>
                <a:gd name="T28" fmla="*/ 5600 w 12800"/>
                <a:gd name="T29" fmla="*/ 4720 h 12720"/>
                <a:gd name="T30" fmla="*/ 5600 w 12800"/>
                <a:gd name="T31" fmla="*/ 8720 h 12720"/>
                <a:gd name="T32" fmla="*/ 10922 w 12800"/>
                <a:gd name="T33" fmla="*/ 12720 h 12720"/>
                <a:gd name="T34" fmla="*/ 1878 w 12800"/>
                <a:gd name="T35" fmla="*/ 12720 h 12720"/>
                <a:gd name="T36" fmla="*/ 0 w 12800"/>
                <a:gd name="T37" fmla="*/ 10539 h 12720"/>
                <a:gd name="T38" fmla="*/ 0 w 12800"/>
                <a:gd name="T39" fmla="*/ 5210 h 12720"/>
                <a:gd name="T40" fmla="*/ 1600 w 12800"/>
                <a:gd name="T41" fmla="*/ 3271 h 12720"/>
                <a:gd name="T42" fmla="*/ 1600 w 12800"/>
                <a:gd name="T43" fmla="*/ 3998 h 12720"/>
                <a:gd name="T44" fmla="*/ 800 w 12800"/>
                <a:gd name="T45" fmla="*/ 5129 h 12720"/>
                <a:gd name="T46" fmla="*/ 800 w 12800"/>
                <a:gd name="T47" fmla="*/ 10458 h 12720"/>
                <a:gd name="T48" fmla="*/ 1878 w 12800"/>
                <a:gd name="T49" fmla="*/ 11920 h 12720"/>
                <a:gd name="T50" fmla="*/ 10922 w 12800"/>
                <a:gd name="T51" fmla="*/ 11920 h 12720"/>
                <a:gd name="T52" fmla="*/ 12000 w 12800"/>
                <a:gd name="T53" fmla="*/ 10539 h 12720"/>
                <a:gd name="T54" fmla="*/ 12000 w 12800"/>
                <a:gd name="T55" fmla="*/ 5210 h 12720"/>
                <a:gd name="T56" fmla="*/ 11200 w 12800"/>
                <a:gd name="T57" fmla="*/ 4079 h 12720"/>
                <a:gd name="T58" fmla="*/ 11200 w 12800"/>
                <a:gd name="T59" fmla="*/ 3352 h 12720"/>
                <a:gd name="T60" fmla="*/ 12800 w 12800"/>
                <a:gd name="T61" fmla="*/ 5290 h 12720"/>
                <a:gd name="T62" fmla="*/ 12800 w 12800"/>
                <a:gd name="T63" fmla="*/ 10620 h 12720"/>
                <a:gd name="T64" fmla="*/ 10922 w 12800"/>
                <a:gd name="T65" fmla="*/ 1272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720">
                  <a:moveTo>
                    <a:pt x="8000" y="9520"/>
                  </a:moveTo>
                  <a:lnTo>
                    <a:pt x="4800" y="9520"/>
                  </a:lnTo>
                  <a:lnTo>
                    <a:pt x="4800" y="5520"/>
                  </a:lnTo>
                  <a:lnTo>
                    <a:pt x="1873" y="5520"/>
                  </a:lnTo>
                  <a:lnTo>
                    <a:pt x="6433" y="0"/>
                  </a:lnTo>
                  <a:lnTo>
                    <a:pt x="10993" y="5520"/>
                  </a:lnTo>
                  <a:lnTo>
                    <a:pt x="8000" y="5520"/>
                  </a:lnTo>
                  <a:lnTo>
                    <a:pt x="8000" y="9520"/>
                  </a:lnTo>
                  <a:close/>
                  <a:moveTo>
                    <a:pt x="5600" y="8720"/>
                  </a:moveTo>
                  <a:lnTo>
                    <a:pt x="7200" y="8720"/>
                  </a:lnTo>
                  <a:lnTo>
                    <a:pt x="7200" y="4720"/>
                  </a:lnTo>
                  <a:lnTo>
                    <a:pt x="9393" y="4720"/>
                  </a:lnTo>
                  <a:lnTo>
                    <a:pt x="6433" y="1200"/>
                  </a:lnTo>
                  <a:lnTo>
                    <a:pt x="3473" y="4720"/>
                  </a:lnTo>
                  <a:lnTo>
                    <a:pt x="5600" y="4720"/>
                  </a:lnTo>
                  <a:lnTo>
                    <a:pt x="5600" y="8720"/>
                  </a:lnTo>
                  <a:close/>
                  <a:moveTo>
                    <a:pt x="10922" y="12720"/>
                  </a:moveTo>
                  <a:lnTo>
                    <a:pt x="1878" y="12720"/>
                  </a:lnTo>
                  <a:cubicBezTo>
                    <a:pt x="828" y="12720"/>
                    <a:pt x="0" y="11590"/>
                    <a:pt x="0" y="10539"/>
                  </a:cubicBezTo>
                  <a:lnTo>
                    <a:pt x="0" y="5210"/>
                  </a:lnTo>
                  <a:cubicBezTo>
                    <a:pt x="0" y="4160"/>
                    <a:pt x="800" y="3271"/>
                    <a:pt x="1600" y="3271"/>
                  </a:cubicBezTo>
                  <a:lnTo>
                    <a:pt x="1600" y="3998"/>
                  </a:lnTo>
                  <a:cubicBezTo>
                    <a:pt x="1600" y="3998"/>
                    <a:pt x="800" y="4483"/>
                    <a:pt x="800" y="5129"/>
                  </a:cubicBezTo>
                  <a:lnTo>
                    <a:pt x="800" y="10458"/>
                  </a:lnTo>
                  <a:cubicBezTo>
                    <a:pt x="800" y="11105"/>
                    <a:pt x="1231" y="11920"/>
                    <a:pt x="1878" y="11920"/>
                  </a:cubicBezTo>
                  <a:lnTo>
                    <a:pt x="10922" y="11920"/>
                  </a:lnTo>
                  <a:cubicBezTo>
                    <a:pt x="11569" y="11920"/>
                    <a:pt x="12000" y="11186"/>
                    <a:pt x="12000" y="10539"/>
                  </a:cubicBezTo>
                  <a:lnTo>
                    <a:pt x="12000" y="5210"/>
                  </a:lnTo>
                  <a:cubicBezTo>
                    <a:pt x="12000" y="4563"/>
                    <a:pt x="11200" y="4079"/>
                    <a:pt x="11200" y="4079"/>
                  </a:cubicBezTo>
                  <a:lnTo>
                    <a:pt x="11200" y="3352"/>
                  </a:lnTo>
                  <a:cubicBezTo>
                    <a:pt x="12000" y="3352"/>
                    <a:pt x="12800" y="4240"/>
                    <a:pt x="12800" y="5290"/>
                  </a:cubicBezTo>
                  <a:lnTo>
                    <a:pt x="12800" y="10620"/>
                  </a:lnTo>
                  <a:cubicBezTo>
                    <a:pt x="12800" y="11590"/>
                    <a:pt x="11972" y="12720"/>
                    <a:pt x="10922" y="127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6" name="iconfont-11894-5689857"/>
            <p:cNvSpPr>
              <a:spLocks noChangeAspect="1"/>
            </p:cNvSpPr>
            <p:nvPr userDrawn="1"/>
          </p:nvSpPr>
          <p:spPr bwMode="auto">
            <a:xfrm>
              <a:off x="28254992" y="-1287093"/>
              <a:ext cx="477702" cy="609685"/>
            </a:xfrm>
            <a:custGeom>
              <a:avLst/>
              <a:gdLst>
                <a:gd name="T0" fmla="*/ 7249 w 8777"/>
                <a:gd name="T1" fmla="*/ 11201 h 11201"/>
                <a:gd name="T2" fmla="*/ 1528 w 8777"/>
                <a:gd name="T3" fmla="*/ 11201 h 11201"/>
                <a:gd name="T4" fmla="*/ 0 w 8777"/>
                <a:gd name="T5" fmla="*/ 9713 h 11201"/>
                <a:gd name="T6" fmla="*/ 0 w 8777"/>
                <a:gd name="T7" fmla="*/ 2231 h 11201"/>
                <a:gd name="T8" fmla="*/ 1528 w 8777"/>
                <a:gd name="T9" fmla="*/ 744 h 11201"/>
                <a:gd name="T10" fmla="*/ 1528 w 8777"/>
                <a:gd name="T11" fmla="*/ 0 h 11201"/>
                <a:gd name="T12" fmla="*/ 2291 w 8777"/>
                <a:gd name="T13" fmla="*/ 0 h 11201"/>
                <a:gd name="T14" fmla="*/ 2291 w 8777"/>
                <a:gd name="T15" fmla="*/ 744 h 11201"/>
                <a:gd name="T16" fmla="*/ 3832 w 8777"/>
                <a:gd name="T17" fmla="*/ 744 h 11201"/>
                <a:gd name="T18" fmla="*/ 3832 w 8777"/>
                <a:gd name="T19" fmla="*/ 0 h 11201"/>
                <a:gd name="T20" fmla="*/ 4595 w 8777"/>
                <a:gd name="T21" fmla="*/ 0 h 11201"/>
                <a:gd name="T22" fmla="*/ 4595 w 8777"/>
                <a:gd name="T23" fmla="*/ 744 h 11201"/>
                <a:gd name="T24" fmla="*/ 6485 w 8777"/>
                <a:gd name="T25" fmla="*/ 744 h 11201"/>
                <a:gd name="T26" fmla="*/ 6485 w 8777"/>
                <a:gd name="T27" fmla="*/ 0 h 11201"/>
                <a:gd name="T28" fmla="*/ 7249 w 8777"/>
                <a:gd name="T29" fmla="*/ 0 h 11201"/>
                <a:gd name="T30" fmla="*/ 7249 w 8777"/>
                <a:gd name="T31" fmla="*/ 744 h 11201"/>
                <a:gd name="T32" fmla="*/ 8777 w 8777"/>
                <a:gd name="T33" fmla="*/ 2231 h 11201"/>
                <a:gd name="T34" fmla="*/ 8777 w 8777"/>
                <a:gd name="T35" fmla="*/ 9713 h 11201"/>
                <a:gd name="T36" fmla="*/ 7249 w 8777"/>
                <a:gd name="T37" fmla="*/ 11201 h 11201"/>
                <a:gd name="T38" fmla="*/ 8013 w 8777"/>
                <a:gd name="T39" fmla="*/ 2231 h 11201"/>
                <a:gd name="T40" fmla="*/ 7249 w 8777"/>
                <a:gd name="T41" fmla="*/ 1488 h 11201"/>
                <a:gd name="T42" fmla="*/ 1528 w 8777"/>
                <a:gd name="T43" fmla="*/ 1488 h 11201"/>
                <a:gd name="T44" fmla="*/ 764 w 8777"/>
                <a:gd name="T45" fmla="*/ 2231 h 11201"/>
                <a:gd name="T46" fmla="*/ 764 w 8777"/>
                <a:gd name="T47" fmla="*/ 9713 h 11201"/>
                <a:gd name="T48" fmla="*/ 1528 w 8777"/>
                <a:gd name="T49" fmla="*/ 10457 h 11201"/>
                <a:gd name="T50" fmla="*/ 7249 w 8777"/>
                <a:gd name="T51" fmla="*/ 10457 h 11201"/>
                <a:gd name="T52" fmla="*/ 8013 w 8777"/>
                <a:gd name="T53" fmla="*/ 9713 h 11201"/>
                <a:gd name="T54" fmla="*/ 8013 w 8777"/>
                <a:gd name="T55" fmla="*/ 2231 h 11201"/>
                <a:gd name="T56" fmla="*/ 6867 w 8777"/>
                <a:gd name="T57" fmla="*/ 8926 h 11201"/>
                <a:gd name="T58" fmla="*/ 1910 w 8777"/>
                <a:gd name="T59" fmla="*/ 8926 h 11201"/>
                <a:gd name="T60" fmla="*/ 1528 w 8777"/>
                <a:gd name="T61" fmla="*/ 8554 h 11201"/>
                <a:gd name="T62" fmla="*/ 1910 w 8777"/>
                <a:gd name="T63" fmla="*/ 8182 h 11201"/>
                <a:gd name="T64" fmla="*/ 6867 w 8777"/>
                <a:gd name="T65" fmla="*/ 8182 h 11201"/>
                <a:gd name="T66" fmla="*/ 7249 w 8777"/>
                <a:gd name="T67" fmla="*/ 8554 h 11201"/>
                <a:gd name="T68" fmla="*/ 6867 w 8777"/>
                <a:gd name="T69" fmla="*/ 8926 h 11201"/>
                <a:gd name="T70" fmla="*/ 6867 w 8777"/>
                <a:gd name="T71" fmla="*/ 6694 h 11201"/>
                <a:gd name="T72" fmla="*/ 1910 w 8777"/>
                <a:gd name="T73" fmla="*/ 6694 h 11201"/>
                <a:gd name="T74" fmla="*/ 1528 w 8777"/>
                <a:gd name="T75" fmla="*/ 6322 h 11201"/>
                <a:gd name="T76" fmla="*/ 1910 w 8777"/>
                <a:gd name="T77" fmla="*/ 5950 h 11201"/>
                <a:gd name="T78" fmla="*/ 6867 w 8777"/>
                <a:gd name="T79" fmla="*/ 5950 h 11201"/>
                <a:gd name="T80" fmla="*/ 7249 w 8777"/>
                <a:gd name="T81" fmla="*/ 6322 h 11201"/>
                <a:gd name="T82" fmla="*/ 6867 w 8777"/>
                <a:gd name="T83" fmla="*/ 6694 h 11201"/>
                <a:gd name="T84" fmla="*/ 6867 w 8777"/>
                <a:gd name="T85" fmla="*/ 4463 h 11201"/>
                <a:gd name="T86" fmla="*/ 1910 w 8777"/>
                <a:gd name="T87" fmla="*/ 4463 h 11201"/>
                <a:gd name="T88" fmla="*/ 1528 w 8777"/>
                <a:gd name="T89" fmla="*/ 4091 h 11201"/>
                <a:gd name="T90" fmla="*/ 1910 w 8777"/>
                <a:gd name="T91" fmla="*/ 3719 h 11201"/>
                <a:gd name="T92" fmla="*/ 6867 w 8777"/>
                <a:gd name="T93" fmla="*/ 3719 h 11201"/>
                <a:gd name="T94" fmla="*/ 7249 w 8777"/>
                <a:gd name="T95" fmla="*/ 4091 h 11201"/>
                <a:gd name="T96" fmla="*/ 6867 w 8777"/>
                <a:gd name="T97" fmla="*/ 4463 h 11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777" h="11201">
                  <a:moveTo>
                    <a:pt x="7249" y="11201"/>
                  </a:moveTo>
                  <a:lnTo>
                    <a:pt x="1528" y="11201"/>
                  </a:lnTo>
                  <a:cubicBezTo>
                    <a:pt x="684" y="11201"/>
                    <a:pt x="0" y="10535"/>
                    <a:pt x="0" y="9713"/>
                  </a:cubicBezTo>
                  <a:lnTo>
                    <a:pt x="0" y="2231"/>
                  </a:lnTo>
                  <a:cubicBezTo>
                    <a:pt x="0" y="1410"/>
                    <a:pt x="684" y="744"/>
                    <a:pt x="1528" y="744"/>
                  </a:cubicBezTo>
                  <a:lnTo>
                    <a:pt x="1528" y="0"/>
                  </a:lnTo>
                  <a:lnTo>
                    <a:pt x="2291" y="0"/>
                  </a:lnTo>
                  <a:lnTo>
                    <a:pt x="2291" y="744"/>
                  </a:lnTo>
                  <a:lnTo>
                    <a:pt x="3832" y="744"/>
                  </a:lnTo>
                  <a:lnTo>
                    <a:pt x="3832" y="0"/>
                  </a:lnTo>
                  <a:lnTo>
                    <a:pt x="4595" y="0"/>
                  </a:lnTo>
                  <a:lnTo>
                    <a:pt x="4595" y="744"/>
                  </a:lnTo>
                  <a:lnTo>
                    <a:pt x="6485" y="744"/>
                  </a:lnTo>
                  <a:lnTo>
                    <a:pt x="6485" y="0"/>
                  </a:lnTo>
                  <a:lnTo>
                    <a:pt x="7249" y="0"/>
                  </a:lnTo>
                  <a:lnTo>
                    <a:pt x="7249" y="744"/>
                  </a:lnTo>
                  <a:cubicBezTo>
                    <a:pt x="8093" y="744"/>
                    <a:pt x="8777" y="1410"/>
                    <a:pt x="8777" y="2231"/>
                  </a:cubicBezTo>
                  <a:lnTo>
                    <a:pt x="8777" y="9713"/>
                  </a:lnTo>
                  <a:cubicBezTo>
                    <a:pt x="8777" y="10535"/>
                    <a:pt x="8093" y="11201"/>
                    <a:pt x="7249" y="11201"/>
                  </a:cubicBezTo>
                  <a:close/>
                  <a:moveTo>
                    <a:pt x="8013" y="2231"/>
                  </a:moveTo>
                  <a:cubicBezTo>
                    <a:pt x="8013" y="1821"/>
                    <a:pt x="7671" y="1488"/>
                    <a:pt x="7249" y="1488"/>
                  </a:cubicBezTo>
                  <a:lnTo>
                    <a:pt x="1528" y="1488"/>
                  </a:lnTo>
                  <a:cubicBezTo>
                    <a:pt x="1106" y="1488"/>
                    <a:pt x="764" y="1821"/>
                    <a:pt x="764" y="2231"/>
                  </a:cubicBezTo>
                  <a:lnTo>
                    <a:pt x="764" y="9713"/>
                  </a:lnTo>
                  <a:cubicBezTo>
                    <a:pt x="764" y="10124"/>
                    <a:pt x="1106" y="10457"/>
                    <a:pt x="1528" y="10457"/>
                  </a:cubicBezTo>
                  <a:lnTo>
                    <a:pt x="7249" y="10457"/>
                  </a:lnTo>
                  <a:cubicBezTo>
                    <a:pt x="7671" y="10457"/>
                    <a:pt x="8013" y="10124"/>
                    <a:pt x="8013" y="9713"/>
                  </a:cubicBezTo>
                  <a:lnTo>
                    <a:pt x="8013" y="2231"/>
                  </a:lnTo>
                  <a:close/>
                  <a:moveTo>
                    <a:pt x="6867" y="8926"/>
                  </a:moveTo>
                  <a:lnTo>
                    <a:pt x="1910" y="8926"/>
                  </a:lnTo>
                  <a:cubicBezTo>
                    <a:pt x="1699" y="8926"/>
                    <a:pt x="1528" y="8759"/>
                    <a:pt x="1528" y="8554"/>
                  </a:cubicBezTo>
                  <a:cubicBezTo>
                    <a:pt x="1528" y="8348"/>
                    <a:pt x="1699" y="8182"/>
                    <a:pt x="1910" y="8182"/>
                  </a:cubicBezTo>
                  <a:lnTo>
                    <a:pt x="6867" y="8182"/>
                  </a:lnTo>
                  <a:cubicBezTo>
                    <a:pt x="7078" y="8182"/>
                    <a:pt x="7249" y="8348"/>
                    <a:pt x="7249" y="8554"/>
                  </a:cubicBezTo>
                  <a:cubicBezTo>
                    <a:pt x="7249" y="8759"/>
                    <a:pt x="7078" y="8926"/>
                    <a:pt x="6867" y="8926"/>
                  </a:cubicBezTo>
                  <a:close/>
                  <a:moveTo>
                    <a:pt x="6867" y="6694"/>
                  </a:moveTo>
                  <a:lnTo>
                    <a:pt x="1910" y="6694"/>
                  </a:lnTo>
                  <a:cubicBezTo>
                    <a:pt x="1699" y="6694"/>
                    <a:pt x="1528" y="6528"/>
                    <a:pt x="1528" y="6322"/>
                  </a:cubicBezTo>
                  <a:cubicBezTo>
                    <a:pt x="1528" y="6117"/>
                    <a:pt x="1699" y="5950"/>
                    <a:pt x="1910" y="5950"/>
                  </a:cubicBezTo>
                  <a:lnTo>
                    <a:pt x="6867" y="5950"/>
                  </a:lnTo>
                  <a:cubicBezTo>
                    <a:pt x="7078" y="5950"/>
                    <a:pt x="7249" y="6117"/>
                    <a:pt x="7249" y="6322"/>
                  </a:cubicBezTo>
                  <a:cubicBezTo>
                    <a:pt x="7249" y="6528"/>
                    <a:pt x="7078" y="6694"/>
                    <a:pt x="6867" y="6694"/>
                  </a:cubicBezTo>
                  <a:close/>
                  <a:moveTo>
                    <a:pt x="6867" y="4463"/>
                  </a:moveTo>
                  <a:lnTo>
                    <a:pt x="1910" y="4463"/>
                  </a:lnTo>
                  <a:cubicBezTo>
                    <a:pt x="1699" y="4463"/>
                    <a:pt x="1528" y="4296"/>
                    <a:pt x="1528" y="4091"/>
                  </a:cubicBezTo>
                  <a:cubicBezTo>
                    <a:pt x="1528" y="3885"/>
                    <a:pt x="1699" y="3719"/>
                    <a:pt x="1910" y="3719"/>
                  </a:cubicBezTo>
                  <a:lnTo>
                    <a:pt x="6867" y="3719"/>
                  </a:lnTo>
                  <a:cubicBezTo>
                    <a:pt x="7078" y="3719"/>
                    <a:pt x="7249" y="3886"/>
                    <a:pt x="7249" y="4091"/>
                  </a:cubicBezTo>
                  <a:cubicBezTo>
                    <a:pt x="7249" y="4296"/>
                    <a:pt x="7078" y="4463"/>
                    <a:pt x="6867" y="44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32" name="iconfont-11894-5689857"/>
            <p:cNvSpPr>
              <a:spLocks noChangeAspect="1"/>
            </p:cNvSpPr>
            <p:nvPr userDrawn="1"/>
          </p:nvSpPr>
          <p:spPr bwMode="auto">
            <a:xfrm>
              <a:off x="13556559" y="18332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33" name="iconfont-11894-5689857"/>
            <p:cNvSpPr>
              <a:spLocks noChangeAspect="1"/>
            </p:cNvSpPr>
            <p:nvPr userDrawn="1"/>
          </p:nvSpPr>
          <p:spPr bwMode="auto">
            <a:xfrm>
              <a:off x="14775929" y="218993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2" name="iconfont-11894-5689857"/>
            <p:cNvSpPr>
              <a:spLocks noChangeAspect="1"/>
            </p:cNvSpPr>
            <p:nvPr userDrawn="1"/>
          </p:nvSpPr>
          <p:spPr bwMode="auto">
            <a:xfrm>
              <a:off x="16021966" y="183324"/>
              <a:ext cx="556352" cy="609685"/>
            </a:xfrm>
            <a:custGeom>
              <a:avLst/>
              <a:gdLst>
                <a:gd name="T0" fmla="*/ 5364 w 10171"/>
                <a:gd name="T1" fmla="*/ 9821 h 11145"/>
                <a:gd name="T2" fmla="*/ 4876 w 10171"/>
                <a:gd name="T3" fmla="*/ 9821 h 11145"/>
                <a:gd name="T4" fmla="*/ 4528 w 10171"/>
                <a:gd name="T5" fmla="*/ 9890 h 11145"/>
                <a:gd name="T6" fmla="*/ 2020 w 10171"/>
                <a:gd name="T7" fmla="*/ 10100 h 11145"/>
                <a:gd name="T8" fmla="*/ 2090 w 10171"/>
                <a:gd name="T9" fmla="*/ 9124 h 11145"/>
                <a:gd name="T10" fmla="*/ 2299 w 10171"/>
                <a:gd name="T11" fmla="*/ 8497 h 11145"/>
                <a:gd name="T12" fmla="*/ 1602 w 10171"/>
                <a:gd name="T13" fmla="*/ 7801 h 11145"/>
                <a:gd name="T14" fmla="*/ 1254 w 10171"/>
                <a:gd name="T15" fmla="*/ 7941 h 11145"/>
                <a:gd name="T16" fmla="*/ 975 w 10171"/>
                <a:gd name="T17" fmla="*/ 8149 h 11145"/>
                <a:gd name="T18" fmla="*/ 975 w 10171"/>
                <a:gd name="T19" fmla="*/ 6408 h 11145"/>
                <a:gd name="T20" fmla="*/ 1811 w 10171"/>
                <a:gd name="T21" fmla="*/ 4945 h 11145"/>
                <a:gd name="T22" fmla="*/ 2020 w 10171"/>
                <a:gd name="T23" fmla="*/ 4180 h 11145"/>
                <a:gd name="T24" fmla="*/ 2089 w 10171"/>
                <a:gd name="T25" fmla="*/ 3901 h 11145"/>
                <a:gd name="T26" fmla="*/ 5085 w 10171"/>
                <a:gd name="T27" fmla="*/ 836 h 11145"/>
                <a:gd name="T28" fmla="*/ 8151 w 10171"/>
                <a:gd name="T29" fmla="*/ 3900 h 11145"/>
                <a:gd name="T30" fmla="*/ 8220 w 10171"/>
                <a:gd name="T31" fmla="*/ 4179 h 11145"/>
                <a:gd name="T32" fmla="*/ 8429 w 10171"/>
                <a:gd name="T33" fmla="*/ 4945 h 11145"/>
                <a:gd name="T34" fmla="*/ 9265 w 10171"/>
                <a:gd name="T35" fmla="*/ 6407 h 11145"/>
                <a:gd name="T36" fmla="*/ 9195 w 10171"/>
                <a:gd name="T37" fmla="*/ 8148 h 11145"/>
                <a:gd name="T38" fmla="*/ 8568 w 10171"/>
                <a:gd name="T39" fmla="*/ 7800 h 11145"/>
                <a:gd name="T40" fmla="*/ 8151 w 10171"/>
                <a:gd name="T41" fmla="*/ 8009 h 11145"/>
                <a:gd name="T42" fmla="*/ 7733 w 10171"/>
                <a:gd name="T43" fmla="*/ 8845 h 11145"/>
                <a:gd name="T44" fmla="*/ 8429 w 10171"/>
                <a:gd name="T45" fmla="*/ 9613 h 11145"/>
                <a:gd name="T46" fmla="*/ 6896 w 10171"/>
                <a:gd name="T47" fmla="*/ 10309 h 11145"/>
                <a:gd name="T48" fmla="*/ 5364 w 10171"/>
                <a:gd name="T49" fmla="*/ 9821 h 11145"/>
                <a:gd name="T50" fmla="*/ 6966 w 10171"/>
                <a:gd name="T51" fmla="*/ 11145 h 11145"/>
                <a:gd name="T52" fmla="*/ 9334 w 10171"/>
                <a:gd name="T53" fmla="*/ 9613 h 11145"/>
                <a:gd name="T54" fmla="*/ 9404 w 10171"/>
                <a:gd name="T55" fmla="*/ 8846 h 11145"/>
                <a:gd name="T56" fmla="*/ 9893 w 10171"/>
                <a:gd name="T57" fmla="*/ 6130 h 11145"/>
                <a:gd name="T58" fmla="*/ 9126 w 10171"/>
                <a:gd name="T59" fmla="*/ 4807 h 11145"/>
                <a:gd name="T60" fmla="*/ 7803 w 10171"/>
                <a:gd name="T61" fmla="*/ 1114 h 11145"/>
                <a:gd name="T62" fmla="*/ 2369 w 10171"/>
                <a:gd name="T63" fmla="*/ 1114 h 11145"/>
                <a:gd name="T64" fmla="*/ 1045 w 10171"/>
                <a:gd name="T65" fmla="*/ 4806 h 11145"/>
                <a:gd name="T66" fmla="*/ 279 w 10171"/>
                <a:gd name="T67" fmla="*/ 6130 h 11145"/>
                <a:gd name="T68" fmla="*/ 766 w 10171"/>
                <a:gd name="T69" fmla="*/ 8846 h 11145"/>
                <a:gd name="T70" fmla="*/ 836 w 10171"/>
                <a:gd name="T71" fmla="*/ 9613 h 11145"/>
                <a:gd name="T72" fmla="*/ 3135 w 10171"/>
                <a:gd name="T73" fmla="*/ 11145 h 11145"/>
                <a:gd name="T74" fmla="*/ 5225 w 10171"/>
                <a:gd name="T75" fmla="*/ 10657 h 11145"/>
                <a:gd name="T76" fmla="*/ 6966 w 10171"/>
                <a:gd name="T77" fmla="*/ 11145 h 1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171" h="11145">
                  <a:moveTo>
                    <a:pt x="5364" y="9821"/>
                  </a:moveTo>
                  <a:lnTo>
                    <a:pt x="5364" y="9821"/>
                  </a:lnTo>
                  <a:lnTo>
                    <a:pt x="5085" y="9821"/>
                  </a:lnTo>
                  <a:lnTo>
                    <a:pt x="4876" y="9821"/>
                  </a:lnTo>
                  <a:lnTo>
                    <a:pt x="4807" y="9821"/>
                  </a:lnTo>
                  <a:cubicBezTo>
                    <a:pt x="4737" y="9821"/>
                    <a:pt x="4598" y="9821"/>
                    <a:pt x="4528" y="9890"/>
                  </a:cubicBezTo>
                  <a:cubicBezTo>
                    <a:pt x="4249" y="10169"/>
                    <a:pt x="3762" y="10309"/>
                    <a:pt x="3135" y="10309"/>
                  </a:cubicBezTo>
                  <a:cubicBezTo>
                    <a:pt x="2717" y="10309"/>
                    <a:pt x="2369" y="10239"/>
                    <a:pt x="2020" y="10100"/>
                  </a:cubicBezTo>
                  <a:cubicBezTo>
                    <a:pt x="1742" y="9960"/>
                    <a:pt x="1602" y="9821"/>
                    <a:pt x="1602" y="9612"/>
                  </a:cubicBezTo>
                  <a:cubicBezTo>
                    <a:pt x="1602" y="9403"/>
                    <a:pt x="1742" y="9264"/>
                    <a:pt x="2090" y="9124"/>
                  </a:cubicBezTo>
                  <a:cubicBezTo>
                    <a:pt x="2299" y="9055"/>
                    <a:pt x="2369" y="8985"/>
                    <a:pt x="2369" y="8845"/>
                  </a:cubicBezTo>
                  <a:cubicBezTo>
                    <a:pt x="2369" y="8706"/>
                    <a:pt x="2369" y="8567"/>
                    <a:pt x="2299" y="8497"/>
                  </a:cubicBezTo>
                  <a:cubicBezTo>
                    <a:pt x="2160" y="8359"/>
                    <a:pt x="2090" y="8149"/>
                    <a:pt x="1951" y="8010"/>
                  </a:cubicBezTo>
                  <a:cubicBezTo>
                    <a:pt x="1881" y="7871"/>
                    <a:pt x="1742" y="7801"/>
                    <a:pt x="1602" y="7801"/>
                  </a:cubicBezTo>
                  <a:lnTo>
                    <a:pt x="1602" y="7801"/>
                  </a:lnTo>
                  <a:cubicBezTo>
                    <a:pt x="1463" y="7801"/>
                    <a:pt x="1393" y="7871"/>
                    <a:pt x="1254" y="7941"/>
                  </a:cubicBezTo>
                  <a:cubicBezTo>
                    <a:pt x="1115" y="8080"/>
                    <a:pt x="1045" y="8149"/>
                    <a:pt x="975" y="8149"/>
                  </a:cubicBezTo>
                  <a:lnTo>
                    <a:pt x="975" y="8149"/>
                  </a:lnTo>
                  <a:cubicBezTo>
                    <a:pt x="906" y="8149"/>
                    <a:pt x="837" y="7941"/>
                    <a:pt x="837" y="7593"/>
                  </a:cubicBezTo>
                  <a:cubicBezTo>
                    <a:pt x="837" y="7245"/>
                    <a:pt x="906" y="6826"/>
                    <a:pt x="975" y="6408"/>
                  </a:cubicBezTo>
                  <a:cubicBezTo>
                    <a:pt x="1114" y="5990"/>
                    <a:pt x="1323" y="5642"/>
                    <a:pt x="1671" y="5294"/>
                  </a:cubicBezTo>
                  <a:cubicBezTo>
                    <a:pt x="1741" y="5225"/>
                    <a:pt x="1811" y="5085"/>
                    <a:pt x="1811" y="4945"/>
                  </a:cubicBezTo>
                  <a:lnTo>
                    <a:pt x="1811" y="4807"/>
                  </a:lnTo>
                  <a:cubicBezTo>
                    <a:pt x="1811" y="4597"/>
                    <a:pt x="1880" y="4389"/>
                    <a:pt x="2020" y="4180"/>
                  </a:cubicBezTo>
                  <a:cubicBezTo>
                    <a:pt x="2089" y="4110"/>
                    <a:pt x="2089" y="4040"/>
                    <a:pt x="2089" y="3971"/>
                  </a:cubicBezTo>
                  <a:lnTo>
                    <a:pt x="2089" y="3901"/>
                  </a:lnTo>
                  <a:cubicBezTo>
                    <a:pt x="2090" y="3065"/>
                    <a:pt x="2368" y="2368"/>
                    <a:pt x="2995" y="1741"/>
                  </a:cubicBezTo>
                  <a:cubicBezTo>
                    <a:pt x="3553" y="1114"/>
                    <a:pt x="4249" y="836"/>
                    <a:pt x="5085" y="836"/>
                  </a:cubicBezTo>
                  <a:cubicBezTo>
                    <a:pt x="5921" y="836"/>
                    <a:pt x="6618" y="1114"/>
                    <a:pt x="7245" y="1741"/>
                  </a:cubicBezTo>
                  <a:cubicBezTo>
                    <a:pt x="7802" y="2368"/>
                    <a:pt x="8151" y="3065"/>
                    <a:pt x="8151" y="3900"/>
                  </a:cubicBezTo>
                  <a:lnTo>
                    <a:pt x="8151" y="3970"/>
                  </a:lnTo>
                  <a:cubicBezTo>
                    <a:pt x="8151" y="4039"/>
                    <a:pt x="8151" y="4109"/>
                    <a:pt x="8220" y="4179"/>
                  </a:cubicBezTo>
                  <a:cubicBezTo>
                    <a:pt x="8359" y="4388"/>
                    <a:pt x="8429" y="4596"/>
                    <a:pt x="8429" y="4806"/>
                  </a:cubicBezTo>
                  <a:lnTo>
                    <a:pt x="8429" y="4945"/>
                  </a:lnTo>
                  <a:cubicBezTo>
                    <a:pt x="8429" y="5084"/>
                    <a:pt x="8429" y="5224"/>
                    <a:pt x="8568" y="5293"/>
                  </a:cubicBezTo>
                  <a:cubicBezTo>
                    <a:pt x="8916" y="5641"/>
                    <a:pt x="9125" y="5989"/>
                    <a:pt x="9265" y="6407"/>
                  </a:cubicBezTo>
                  <a:cubicBezTo>
                    <a:pt x="9404" y="6825"/>
                    <a:pt x="9474" y="7244"/>
                    <a:pt x="9404" y="7592"/>
                  </a:cubicBezTo>
                  <a:cubicBezTo>
                    <a:pt x="9404" y="7940"/>
                    <a:pt x="9334" y="8079"/>
                    <a:pt x="9195" y="8148"/>
                  </a:cubicBezTo>
                  <a:cubicBezTo>
                    <a:pt x="9126" y="8148"/>
                    <a:pt x="9056" y="8079"/>
                    <a:pt x="8916" y="7940"/>
                  </a:cubicBezTo>
                  <a:cubicBezTo>
                    <a:pt x="8847" y="7871"/>
                    <a:pt x="8707" y="7800"/>
                    <a:pt x="8568" y="7800"/>
                  </a:cubicBezTo>
                  <a:lnTo>
                    <a:pt x="8499" y="7800"/>
                  </a:lnTo>
                  <a:cubicBezTo>
                    <a:pt x="8359" y="7800"/>
                    <a:pt x="8220" y="7870"/>
                    <a:pt x="8151" y="8009"/>
                  </a:cubicBezTo>
                  <a:cubicBezTo>
                    <a:pt x="8081" y="8218"/>
                    <a:pt x="7941" y="8358"/>
                    <a:pt x="7802" y="8497"/>
                  </a:cubicBezTo>
                  <a:cubicBezTo>
                    <a:pt x="7733" y="8567"/>
                    <a:pt x="7663" y="8706"/>
                    <a:pt x="7733" y="8845"/>
                  </a:cubicBezTo>
                  <a:cubicBezTo>
                    <a:pt x="7733" y="8985"/>
                    <a:pt x="7872" y="9054"/>
                    <a:pt x="7941" y="9124"/>
                  </a:cubicBezTo>
                  <a:cubicBezTo>
                    <a:pt x="8289" y="9264"/>
                    <a:pt x="8429" y="9404"/>
                    <a:pt x="8429" y="9613"/>
                  </a:cubicBezTo>
                  <a:cubicBezTo>
                    <a:pt x="8429" y="9821"/>
                    <a:pt x="8289" y="9961"/>
                    <a:pt x="8011" y="10100"/>
                  </a:cubicBezTo>
                  <a:cubicBezTo>
                    <a:pt x="7732" y="10239"/>
                    <a:pt x="7314" y="10309"/>
                    <a:pt x="6896" y="10309"/>
                  </a:cubicBezTo>
                  <a:cubicBezTo>
                    <a:pt x="6269" y="10309"/>
                    <a:pt x="5851" y="10169"/>
                    <a:pt x="5503" y="9891"/>
                  </a:cubicBezTo>
                  <a:cubicBezTo>
                    <a:pt x="5573" y="9891"/>
                    <a:pt x="5433" y="9821"/>
                    <a:pt x="5364" y="9821"/>
                  </a:cubicBezTo>
                  <a:lnTo>
                    <a:pt x="5364" y="9821"/>
                  </a:lnTo>
                  <a:close/>
                  <a:moveTo>
                    <a:pt x="6966" y="11145"/>
                  </a:moveTo>
                  <a:cubicBezTo>
                    <a:pt x="7663" y="11145"/>
                    <a:pt x="8220" y="11006"/>
                    <a:pt x="8638" y="10728"/>
                  </a:cubicBezTo>
                  <a:cubicBezTo>
                    <a:pt x="9056" y="10448"/>
                    <a:pt x="9334" y="10100"/>
                    <a:pt x="9334" y="9613"/>
                  </a:cubicBezTo>
                  <a:cubicBezTo>
                    <a:pt x="9334" y="9334"/>
                    <a:pt x="9265" y="9125"/>
                    <a:pt x="9126" y="8916"/>
                  </a:cubicBezTo>
                  <a:cubicBezTo>
                    <a:pt x="9196" y="8916"/>
                    <a:pt x="9334" y="8916"/>
                    <a:pt x="9404" y="8846"/>
                  </a:cubicBezTo>
                  <a:cubicBezTo>
                    <a:pt x="9822" y="8708"/>
                    <a:pt x="10031" y="8359"/>
                    <a:pt x="10101" y="7801"/>
                  </a:cubicBezTo>
                  <a:cubicBezTo>
                    <a:pt x="10171" y="7314"/>
                    <a:pt x="10101" y="6757"/>
                    <a:pt x="9893" y="6130"/>
                  </a:cubicBezTo>
                  <a:cubicBezTo>
                    <a:pt x="9753" y="5642"/>
                    <a:pt x="9475" y="5225"/>
                    <a:pt x="9126" y="4807"/>
                  </a:cubicBezTo>
                  <a:lnTo>
                    <a:pt x="9126" y="4807"/>
                  </a:lnTo>
                  <a:cubicBezTo>
                    <a:pt x="9126" y="4458"/>
                    <a:pt x="9057" y="4180"/>
                    <a:pt x="8917" y="3831"/>
                  </a:cubicBezTo>
                  <a:cubicBezTo>
                    <a:pt x="8917" y="2787"/>
                    <a:pt x="8569" y="1881"/>
                    <a:pt x="7803" y="1114"/>
                  </a:cubicBezTo>
                  <a:cubicBezTo>
                    <a:pt x="7036" y="348"/>
                    <a:pt x="6130" y="0"/>
                    <a:pt x="5085" y="0"/>
                  </a:cubicBezTo>
                  <a:cubicBezTo>
                    <a:pt x="4040" y="0"/>
                    <a:pt x="3135" y="348"/>
                    <a:pt x="2369" y="1114"/>
                  </a:cubicBezTo>
                  <a:cubicBezTo>
                    <a:pt x="1671" y="1880"/>
                    <a:pt x="1254" y="2786"/>
                    <a:pt x="1254" y="3831"/>
                  </a:cubicBezTo>
                  <a:cubicBezTo>
                    <a:pt x="1115" y="4110"/>
                    <a:pt x="1045" y="4458"/>
                    <a:pt x="1045" y="4806"/>
                  </a:cubicBezTo>
                  <a:lnTo>
                    <a:pt x="1045" y="4876"/>
                  </a:lnTo>
                  <a:cubicBezTo>
                    <a:pt x="627" y="5224"/>
                    <a:pt x="418" y="5712"/>
                    <a:pt x="279" y="6130"/>
                  </a:cubicBezTo>
                  <a:cubicBezTo>
                    <a:pt x="70" y="6756"/>
                    <a:pt x="0" y="7314"/>
                    <a:pt x="70" y="7801"/>
                  </a:cubicBezTo>
                  <a:cubicBezTo>
                    <a:pt x="139" y="8359"/>
                    <a:pt x="418" y="8707"/>
                    <a:pt x="766" y="8846"/>
                  </a:cubicBezTo>
                  <a:cubicBezTo>
                    <a:pt x="836" y="8846"/>
                    <a:pt x="975" y="8916"/>
                    <a:pt x="1045" y="8916"/>
                  </a:cubicBezTo>
                  <a:cubicBezTo>
                    <a:pt x="906" y="9124"/>
                    <a:pt x="836" y="9334"/>
                    <a:pt x="836" y="9613"/>
                  </a:cubicBezTo>
                  <a:cubicBezTo>
                    <a:pt x="836" y="10030"/>
                    <a:pt x="1045" y="10448"/>
                    <a:pt x="1533" y="10727"/>
                  </a:cubicBezTo>
                  <a:cubicBezTo>
                    <a:pt x="1951" y="11006"/>
                    <a:pt x="2508" y="11145"/>
                    <a:pt x="3135" y="11145"/>
                  </a:cubicBezTo>
                  <a:cubicBezTo>
                    <a:pt x="3831" y="11145"/>
                    <a:pt x="4458" y="11006"/>
                    <a:pt x="4876" y="10657"/>
                  </a:cubicBezTo>
                  <a:lnTo>
                    <a:pt x="5225" y="10657"/>
                  </a:lnTo>
                  <a:cubicBezTo>
                    <a:pt x="5713" y="11006"/>
                    <a:pt x="6269" y="11145"/>
                    <a:pt x="6966" y="11145"/>
                  </a:cubicBezTo>
                  <a:lnTo>
                    <a:pt x="6966" y="1114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35" name="iconfont-11894-5689857"/>
            <p:cNvSpPr>
              <a:spLocks noChangeAspect="1"/>
            </p:cNvSpPr>
            <p:nvPr userDrawn="1"/>
          </p:nvSpPr>
          <p:spPr bwMode="auto">
            <a:xfrm>
              <a:off x="17214969" y="18332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31" name="iconfont-11894-5689857"/>
            <p:cNvSpPr>
              <a:spLocks noChangeAspect="1"/>
            </p:cNvSpPr>
            <p:nvPr userDrawn="1"/>
          </p:nvSpPr>
          <p:spPr bwMode="auto">
            <a:xfrm>
              <a:off x="18434380" y="183324"/>
              <a:ext cx="609005" cy="609685"/>
            </a:xfrm>
            <a:custGeom>
              <a:avLst/>
              <a:gdLst>
                <a:gd name="T0" fmla="*/ 9151 w 11196"/>
                <a:gd name="T1" fmla="*/ 0 h 11207"/>
                <a:gd name="T2" fmla="*/ 2033 w 11196"/>
                <a:gd name="T3" fmla="*/ 0 h 11207"/>
                <a:gd name="T4" fmla="*/ 0 w 11196"/>
                <a:gd name="T5" fmla="*/ 3498 h 11207"/>
                <a:gd name="T6" fmla="*/ 0 w 11196"/>
                <a:gd name="T7" fmla="*/ 4897 h 11207"/>
                <a:gd name="T8" fmla="*/ 407 w 11196"/>
                <a:gd name="T9" fmla="*/ 5868 h 11207"/>
                <a:gd name="T10" fmla="*/ 407 w 11196"/>
                <a:gd name="T11" fmla="*/ 9881 h 11207"/>
                <a:gd name="T12" fmla="*/ 1804 w 11196"/>
                <a:gd name="T13" fmla="*/ 11207 h 11207"/>
                <a:gd name="T14" fmla="*/ 9380 w 11196"/>
                <a:gd name="T15" fmla="*/ 11207 h 11207"/>
                <a:gd name="T16" fmla="*/ 10657 w 11196"/>
                <a:gd name="T17" fmla="*/ 9881 h 11207"/>
                <a:gd name="T18" fmla="*/ 10657 w 11196"/>
                <a:gd name="T19" fmla="*/ 5868 h 11207"/>
                <a:gd name="T20" fmla="*/ 11196 w 11196"/>
                <a:gd name="T21" fmla="*/ 4897 h 11207"/>
                <a:gd name="T22" fmla="*/ 11196 w 11196"/>
                <a:gd name="T23" fmla="*/ 3498 h 11207"/>
                <a:gd name="T24" fmla="*/ 9151 w 11196"/>
                <a:gd name="T25" fmla="*/ 0 h 11207"/>
                <a:gd name="T26" fmla="*/ 2295 w 11196"/>
                <a:gd name="T27" fmla="*/ 533 h 11207"/>
                <a:gd name="T28" fmla="*/ 8768 w 11196"/>
                <a:gd name="T29" fmla="*/ 533 h 11207"/>
                <a:gd name="T30" fmla="*/ 10387 w 11196"/>
                <a:gd name="T31" fmla="*/ 3467 h 11207"/>
                <a:gd name="T32" fmla="*/ 676 w 11196"/>
                <a:gd name="T33" fmla="*/ 3467 h 11207"/>
                <a:gd name="T34" fmla="*/ 2295 w 11196"/>
                <a:gd name="T35" fmla="*/ 533 h 11207"/>
                <a:gd name="T36" fmla="*/ 9308 w 11196"/>
                <a:gd name="T37" fmla="*/ 10681 h 11207"/>
                <a:gd name="T38" fmla="*/ 1755 w 11196"/>
                <a:gd name="T39" fmla="*/ 10681 h 11207"/>
                <a:gd name="T40" fmla="*/ 946 w 11196"/>
                <a:gd name="T41" fmla="*/ 9881 h 11207"/>
                <a:gd name="T42" fmla="*/ 946 w 11196"/>
                <a:gd name="T43" fmla="*/ 9881 h 11207"/>
                <a:gd name="T44" fmla="*/ 946 w 11196"/>
                <a:gd name="T45" fmla="*/ 9068 h 11207"/>
                <a:gd name="T46" fmla="*/ 10143 w 11196"/>
                <a:gd name="T47" fmla="*/ 9068 h 11207"/>
                <a:gd name="T48" fmla="*/ 10146 w 11196"/>
                <a:gd name="T49" fmla="*/ 9807 h 11207"/>
                <a:gd name="T50" fmla="*/ 9308 w 11196"/>
                <a:gd name="T51" fmla="*/ 10681 h 11207"/>
                <a:gd name="T52" fmla="*/ 10143 w 11196"/>
                <a:gd name="T53" fmla="*/ 8535 h 11207"/>
                <a:gd name="T54" fmla="*/ 946 w 11196"/>
                <a:gd name="T55" fmla="*/ 8535 h 11207"/>
                <a:gd name="T56" fmla="*/ 946 w 11196"/>
                <a:gd name="T57" fmla="*/ 8535 h 11207"/>
                <a:gd name="T58" fmla="*/ 946 w 11196"/>
                <a:gd name="T59" fmla="*/ 8535 h 11207"/>
                <a:gd name="T60" fmla="*/ 946 w 11196"/>
                <a:gd name="T61" fmla="*/ 6134 h 11207"/>
                <a:gd name="T62" fmla="*/ 1755 w 11196"/>
                <a:gd name="T63" fmla="*/ 6401 h 11207"/>
                <a:gd name="T64" fmla="*/ 2961 w 11196"/>
                <a:gd name="T65" fmla="*/ 5449 h 11207"/>
                <a:gd name="T66" fmla="*/ 4183 w 11196"/>
                <a:gd name="T67" fmla="*/ 6401 h 11207"/>
                <a:gd name="T68" fmla="*/ 5592 w 11196"/>
                <a:gd name="T69" fmla="*/ 5521 h 11207"/>
                <a:gd name="T70" fmla="*/ 6880 w 11196"/>
                <a:gd name="T71" fmla="*/ 6401 h 11207"/>
                <a:gd name="T72" fmla="*/ 8210 w 11196"/>
                <a:gd name="T73" fmla="*/ 5396 h 11207"/>
                <a:gd name="T74" fmla="*/ 9578 w 11196"/>
                <a:gd name="T75" fmla="*/ 6401 h 11207"/>
                <a:gd name="T76" fmla="*/ 10146 w 11196"/>
                <a:gd name="T77" fmla="*/ 6296 h 11207"/>
                <a:gd name="T78" fmla="*/ 10143 w 11196"/>
                <a:gd name="T79" fmla="*/ 8535 h 11207"/>
                <a:gd name="T80" fmla="*/ 9378 w 11196"/>
                <a:gd name="T81" fmla="*/ 5555 h 11207"/>
                <a:gd name="T82" fmla="*/ 8160 w 11196"/>
                <a:gd name="T83" fmla="*/ 4759 h 11207"/>
                <a:gd name="T84" fmla="*/ 7890 w 11196"/>
                <a:gd name="T85" fmla="*/ 4759 h 11207"/>
                <a:gd name="T86" fmla="*/ 6812 w 11196"/>
                <a:gd name="T87" fmla="*/ 5555 h 11207"/>
                <a:gd name="T88" fmla="*/ 5733 w 11196"/>
                <a:gd name="T89" fmla="*/ 4759 h 11207"/>
                <a:gd name="T90" fmla="*/ 5463 w 11196"/>
                <a:gd name="T91" fmla="*/ 4759 h 11207"/>
                <a:gd name="T92" fmla="*/ 4225 w 11196"/>
                <a:gd name="T93" fmla="*/ 5555 h 11207"/>
                <a:gd name="T94" fmla="*/ 3035 w 11196"/>
                <a:gd name="T95" fmla="*/ 4759 h 11207"/>
                <a:gd name="T96" fmla="*/ 2766 w 11196"/>
                <a:gd name="T97" fmla="*/ 4759 h 11207"/>
                <a:gd name="T98" fmla="*/ 1679 w 11196"/>
                <a:gd name="T99" fmla="*/ 5566 h 11207"/>
                <a:gd name="T100" fmla="*/ 608 w 11196"/>
                <a:gd name="T101" fmla="*/ 4759 h 11207"/>
                <a:gd name="T102" fmla="*/ 608 w 11196"/>
                <a:gd name="T103" fmla="*/ 3984 h 11207"/>
                <a:gd name="T104" fmla="*/ 10588 w 11196"/>
                <a:gd name="T105" fmla="*/ 3984 h 11207"/>
                <a:gd name="T106" fmla="*/ 10588 w 11196"/>
                <a:gd name="T107" fmla="*/ 4759 h 11207"/>
                <a:gd name="T108" fmla="*/ 10588 w 11196"/>
                <a:gd name="T109" fmla="*/ 4759 h 11207"/>
                <a:gd name="T110" fmla="*/ 9378 w 11196"/>
                <a:gd name="T111" fmla="*/ 5555 h 1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96" h="11207">
                  <a:moveTo>
                    <a:pt x="9151" y="0"/>
                  </a:moveTo>
                  <a:lnTo>
                    <a:pt x="2033" y="0"/>
                  </a:lnTo>
                  <a:lnTo>
                    <a:pt x="0" y="3498"/>
                  </a:lnTo>
                  <a:lnTo>
                    <a:pt x="0" y="4897"/>
                  </a:lnTo>
                  <a:cubicBezTo>
                    <a:pt x="41" y="5249"/>
                    <a:pt x="190" y="5598"/>
                    <a:pt x="407" y="5868"/>
                  </a:cubicBezTo>
                  <a:lnTo>
                    <a:pt x="407" y="9881"/>
                  </a:lnTo>
                  <a:cubicBezTo>
                    <a:pt x="407" y="10654"/>
                    <a:pt x="1007" y="11207"/>
                    <a:pt x="1804" y="11207"/>
                  </a:cubicBezTo>
                  <a:lnTo>
                    <a:pt x="9380" y="11207"/>
                  </a:lnTo>
                  <a:cubicBezTo>
                    <a:pt x="10178" y="11207"/>
                    <a:pt x="10657" y="10654"/>
                    <a:pt x="10657" y="9881"/>
                  </a:cubicBezTo>
                  <a:lnTo>
                    <a:pt x="10657" y="5868"/>
                  </a:lnTo>
                  <a:cubicBezTo>
                    <a:pt x="10902" y="5579"/>
                    <a:pt x="11051" y="5362"/>
                    <a:pt x="11196" y="4897"/>
                  </a:cubicBezTo>
                  <a:lnTo>
                    <a:pt x="11196" y="3498"/>
                  </a:lnTo>
                  <a:lnTo>
                    <a:pt x="9151" y="0"/>
                  </a:lnTo>
                  <a:close/>
                  <a:moveTo>
                    <a:pt x="2295" y="533"/>
                  </a:moveTo>
                  <a:lnTo>
                    <a:pt x="8768" y="533"/>
                  </a:lnTo>
                  <a:lnTo>
                    <a:pt x="10387" y="3467"/>
                  </a:lnTo>
                  <a:lnTo>
                    <a:pt x="676" y="3467"/>
                  </a:lnTo>
                  <a:lnTo>
                    <a:pt x="2295" y="533"/>
                  </a:lnTo>
                  <a:close/>
                  <a:moveTo>
                    <a:pt x="9308" y="10681"/>
                  </a:moveTo>
                  <a:lnTo>
                    <a:pt x="1755" y="10681"/>
                  </a:lnTo>
                  <a:cubicBezTo>
                    <a:pt x="1357" y="10681"/>
                    <a:pt x="946" y="10268"/>
                    <a:pt x="946" y="9881"/>
                  </a:cubicBezTo>
                  <a:lnTo>
                    <a:pt x="946" y="9881"/>
                  </a:lnTo>
                  <a:lnTo>
                    <a:pt x="946" y="9068"/>
                  </a:lnTo>
                  <a:lnTo>
                    <a:pt x="10143" y="9068"/>
                  </a:lnTo>
                  <a:lnTo>
                    <a:pt x="10146" y="9807"/>
                  </a:lnTo>
                  <a:cubicBezTo>
                    <a:pt x="10146" y="10194"/>
                    <a:pt x="9706" y="10681"/>
                    <a:pt x="9308" y="10681"/>
                  </a:cubicBezTo>
                  <a:close/>
                  <a:moveTo>
                    <a:pt x="10143" y="8535"/>
                  </a:moveTo>
                  <a:lnTo>
                    <a:pt x="946" y="8535"/>
                  </a:lnTo>
                  <a:lnTo>
                    <a:pt x="946" y="8535"/>
                  </a:lnTo>
                  <a:lnTo>
                    <a:pt x="946" y="8535"/>
                  </a:lnTo>
                  <a:lnTo>
                    <a:pt x="946" y="6134"/>
                  </a:lnTo>
                  <a:cubicBezTo>
                    <a:pt x="1169" y="6319"/>
                    <a:pt x="1571" y="6401"/>
                    <a:pt x="1755" y="6401"/>
                  </a:cubicBezTo>
                  <a:cubicBezTo>
                    <a:pt x="2131" y="6401"/>
                    <a:pt x="2708" y="5961"/>
                    <a:pt x="2961" y="5449"/>
                  </a:cubicBezTo>
                  <a:cubicBezTo>
                    <a:pt x="3243" y="5947"/>
                    <a:pt x="3679" y="6401"/>
                    <a:pt x="4183" y="6401"/>
                  </a:cubicBezTo>
                  <a:cubicBezTo>
                    <a:pt x="4716" y="6401"/>
                    <a:pt x="5396" y="5979"/>
                    <a:pt x="5592" y="5521"/>
                  </a:cubicBezTo>
                  <a:cubicBezTo>
                    <a:pt x="5788" y="5968"/>
                    <a:pt x="6358" y="6401"/>
                    <a:pt x="6880" y="6401"/>
                  </a:cubicBezTo>
                  <a:cubicBezTo>
                    <a:pt x="7398" y="6401"/>
                    <a:pt x="7939" y="5916"/>
                    <a:pt x="8210" y="5396"/>
                  </a:cubicBezTo>
                  <a:cubicBezTo>
                    <a:pt x="8528" y="5921"/>
                    <a:pt x="8915" y="6401"/>
                    <a:pt x="9578" y="6401"/>
                  </a:cubicBezTo>
                  <a:cubicBezTo>
                    <a:pt x="9680" y="6401"/>
                    <a:pt x="10057" y="6313"/>
                    <a:pt x="10146" y="6296"/>
                  </a:cubicBezTo>
                  <a:lnTo>
                    <a:pt x="10143" y="8535"/>
                  </a:lnTo>
                  <a:close/>
                  <a:moveTo>
                    <a:pt x="9378" y="5555"/>
                  </a:moveTo>
                  <a:cubicBezTo>
                    <a:pt x="8816" y="5555"/>
                    <a:pt x="8160" y="5118"/>
                    <a:pt x="8160" y="4759"/>
                  </a:cubicBezTo>
                  <a:lnTo>
                    <a:pt x="7890" y="4759"/>
                  </a:lnTo>
                  <a:cubicBezTo>
                    <a:pt x="7890" y="5112"/>
                    <a:pt x="7352" y="5555"/>
                    <a:pt x="6812" y="5555"/>
                  </a:cubicBezTo>
                  <a:cubicBezTo>
                    <a:pt x="6295" y="5555"/>
                    <a:pt x="5733" y="5101"/>
                    <a:pt x="5733" y="4759"/>
                  </a:cubicBezTo>
                  <a:lnTo>
                    <a:pt x="5463" y="4759"/>
                  </a:lnTo>
                  <a:cubicBezTo>
                    <a:pt x="5463" y="5112"/>
                    <a:pt x="4742" y="5555"/>
                    <a:pt x="4225" y="5555"/>
                  </a:cubicBezTo>
                  <a:cubicBezTo>
                    <a:pt x="3685" y="5555"/>
                    <a:pt x="3035" y="5210"/>
                    <a:pt x="3035" y="4759"/>
                  </a:cubicBezTo>
                  <a:lnTo>
                    <a:pt x="2766" y="4759"/>
                  </a:lnTo>
                  <a:cubicBezTo>
                    <a:pt x="2766" y="5111"/>
                    <a:pt x="2198" y="5566"/>
                    <a:pt x="1679" y="5566"/>
                  </a:cubicBezTo>
                  <a:cubicBezTo>
                    <a:pt x="1153" y="5566"/>
                    <a:pt x="608" y="5242"/>
                    <a:pt x="608" y="4759"/>
                  </a:cubicBezTo>
                  <a:lnTo>
                    <a:pt x="608" y="3984"/>
                  </a:lnTo>
                  <a:lnTo>
                    <a:pt x="10588" y="3984"/>
                  </a:lnTo>
                  <a:lnTo>
                    <a:pt x="10588" y="4759"/>
                  </a:lnTo>
                  <a:lnTo>
                    <a:pt x="10588" y="4759"/>
                  </a:lnTo>
                  <a:cubicBezTo>
                    <a:pt x="10583" y="5242"/>
                    <a:pt x="9866" y="5555"/>
                    <a:pt x="9378" y="55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43" name="iconfont-11894-5689857"/>
            <p:cNvSpPr>
              <a:spLocks noChangeAspect="1"/>
            </p:cNvSpPr>
            <p:nvPr userDrawn="1"/>
          </p:nvSpPr>
          <p:spPr bwMode="auto">
            <a:xfrm>
              <a:off x="26969630" y="189426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4" name="iconfont-11894-5689857"/>
            <p:cNvSpPr>
              <a:spLocks noChangeAspect="1"/>
            </p:cNvSpPr>
            <p:nvPr userDrawn="1"/>
          </p:nvSpPr>
          <p:spPr bwMode="auto">
            <a:xfrm>
              <a:off x="28188999" y="18332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46" name="iconfont-11894-5689857"/>
            <p:cNvSpPr>
              <a:spLocks noChangeAspect="1"/>
            </p:cNvSpPr>
            <p:nvPr userDrawn="1"/>
          </p:nvSpPr>
          <p:spPr bwMode="auto">
            <a:xfrm>
              <a:off x="13556559" y="1653740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47" name="iconfont-11894-5689857"/>
            <p:cNvSpPr>
              <a:spLocks noChangeAspect="1"/>
            </p:cNvSpPr>
            <p:nvPr userDrawn="1"/>
          </p:nvSpPr>
          <p:spPr bwMode="auto">
            <a:xfrm>
              <a:off x="14775929" y="1689409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48" name="iconfont-11894-5689857"/>
            <p:cNvSpPr>
              <a:spLocks noChangeAspect="1"/>
            </p:cNvSpPr>
            <p:nvPr userDrawn="1"/>
          </p:nvSpPr>
          <p:spPr bwMode="auto">
            <a:xfrm>
              <a:off x="15995299" y="1676411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49" name="iconfont-11894-5689857"/>
            <p:cNvSpPr>
              <a:spLocks noChangeAspect="1"/>
            </p:cNvSpPr>
            <p:nvPr userDrawn="1"/>
          </p:nvSpPr>
          <p:spPr bwMode="auto">
            <a:xfrm>
              <a:off x="17214969" y="1653740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4" name="iconfont-11894-5689857"/>
            <p:cNvSpPr>
              <a:spLocks noChangeAspect="1"/>
            </p:cNvSpPr>
            <p:nvPr userDrawn="1"/>
          </p:nvSpPr>
          <p:spPr bwMode="auto">
            <a:xfrm>
              <a:off x="18434041" y="1653740"/>
              <a:ext cx="609685" cy="609685"/>
            </a:xfrm>
            <a:custGeom>
              <a:avLst/>
              <a:gdLst>
                <a:gd name="T0" fmla="*/ 8800 w 12800"/>
                <a:gd name="T1" fmla="*/ 12800 h 12800"/>
                <a:gd name="T2" fmla="*/ 1920 w 12800"/>
                <a:gd name="T3" fmla="*/ 12800 h 12800"/>
                <a:gd name="T4" fmla="*/ 0 w 12800"/>
                <a:gd name="T5" fmla="*/ 10880 h 12800"/>
                <a:gd name="T6" fmla="*/ 0 w 12800"/>
                <a:gd name="T7" fmla="*/ 1920 h 12800"/>
                <a:gd name="T8" fmla="*/ 1920 w 12800"/>
                <a:gd name="T9" fmla="*/ 0 h 12800"/>
                <a:gd name="T10" fmla="*/ 10880 w 12800"/>
                <a:gd name="T11" fmla="*/ 0 h 12800"/>
                <a:gd name="T12" fmla="*/ 12800 w 12800"/>
                <a:gd name="T13" fmla="*/ 1920 h 12800"/>
                <a:gd name="T14" fmla="*/ 12800 w 12800"/>
                <a:gd name="T15" fmla="*/ 8800 h 12800"/>
                <a:gd name="T16" fmla="*/ 12000 w 12800"/>
                <a:gd name="T17" fmla="*/ 8800 h 12800"/>
                <a:gd name="T18" fmla="*/ 12000 w 12800"/>
                <a:gd name="T19" fmla="*/ 1920 h 12800"/>
                <a:gd name="T20" fmla="*/ 10880 w 12800"/>
                <a:gd name="T21" fmla="*/ 800 h 12800"/>
                <a:gd name="T22" fmla="*/ 1920 w 12800"/>
                <a:gd name="T23" fmla="*/ 800 h 12800"/>
                <a:gd name="T24" fmla="*/ 800 w 12800"/>
                <a:gd name="T25" fmla="*/ 1920 h 12800"/>
                <a:gd name="T26" fmla="*/ 800 w 12800"/>
                <a:gd name="T27" fmla="*/ 10960 h 12800"/>
                <a:gd name="T28" fmla="*/ 1920 w 12800"/>
                <a:gd name="T29" fmla="*/ 12000 h 12800"/>
                <a:gd name="T30" fmla="*/ 8800 w 12800"/>
                <a:gd name="T31" fmla="*/ 12000 h 12800"/>
                <a:gd name="T32" fmla="*/ 8800 w 12800"/>
                <a:gd name="T33" fmla="*/ 12800 h 12800"/>
                <a:gd name="T34" fmla="*/ 12162 w 12800"/>
                <a:gd name="T35" fmla="*/ 12675 h 12800"/>
                <a:gd name="T36" fmla="*/ 9164 w 12800"/>
                <a:gd name="T37" fmla="*/ 9677 h 12800"/>
                <a:gd name="T38" fmla="*/ 9673 w 12800"/>
                <a:gd name="T39" fmla="*/ 9167 h 12800"/>
                <a:gd name="T40" fmla="*/ 12671 w 12800"/>
                <a:gd name="T41" fmla="*/ 12166 h 12800"/>
                <a:gd name="T42" fmla="*/ 12162 w 12800"/>
                <a:gd name="T43" fmla="*/ 12675 h 12800"/>
                <a:gd name="T44" fmla="*/ 8560 w 12800"/>
                <a:gd name="T45" fmla="*/ 10560 h 12800"/>
                <a:gd name="T46" fmla="*/ 6560 w 12800"/>
                <a:gd name="T47" fmla="*/ 8560 h 12800"/>
                <a:gd name="T48" fmla="*/ 8560 w 12800"/>
                <a:gd name="T49" fmla="*/ 6560 h 12800"/>
                <a:gd name="T50" fmla="*/ 10560 w 12800"/>
                <a:gd name="T51" fmla="*/ 8560 h 12800"/>
                <a:gd name="T52" fmla="*/ 8560 w 12800"/>
                <a:gd name="T53" fmla="*/ 10560 h 12800"/>
                <a:gd name="T54" fmla="*/ 8560 w 12800"/>
                <a:gd name="T55" fmla="*/ 7360 h 12800"/>
                <a:gd name="T56" fmla="*/ 7360 w 12800"/>
                <a:gd name="T57" fmla="*/ 8560 h 12800"/>
                <a:gd name="T58" fmla="*/ 8560 w 12800"/>
                <a:gd name="T59" fmla="*/ 9760 h 12800"/>
                <a:gd name="T60" fmla="*/ 9760 w 12800"/>
                <a:gd name="T61" fmla="*/ 8560 h 12800"/>
                <a:gd name="T62" fmla="*/ 8560 w 12800"/>
                <a:gd name="T63" fmla="*/ 7360 h 12800"/>
                <a:gd name="T64" fmla="*/ 2400 w 12800"/>
                <a:gd name="T65" fmla="*/ 2400 h 12800"/>
                <a:gd name="T66" fmla="*/ 5600 w 12800"/>
                <a:gd name="T67" fmla="*/ 2400 h 12800"/>
                <a:gd name="T68" fmla="*/ 5600 w 12800"/>
                <a:gd name="T69" fmla="*/ 5600 h 12800"/>
                <a:gd name="T70" fmla="*/ 2400 w 12800"/>
                <a:gd name="T71" fmla="*/ 5600 h 12800"/>
                <a:gd name="T72" fmla="*/ 2400 w 12800"/>
                <a:gd name="T73" fmla="*/ 2400 h 12800"/>
                <a:gd name="T74" fmla="*/ 7200 w 12800"/>
                <a:gd name="T75" fmla="*/ 2400 h 12800"/>
                <a:gd name="T76" fmla="*/ 10400 w 12800"/>
                <a:gd name="T77" fmla="*/ 2400 h 12800"/>
                <a:gd name="T78" fmla="*/ 10400 w 12800"/>
                <a:gd name="T79" fmla="*/ 5600 h 12800"/>
                <a:gd name="T80" fmla="*/ 7200 w 12800"/>
                <a:gd name="T81" fmla="*/ 5600 h 12800"/>
                <a:gd name="T82" fmla="*/ 7200 w 12800"/>
                <a:gd name="T83" fmla="*/ 2400 h 12800"/>
                <a:gd name="T84" fmla="*/ 2400 w 12800"/>
                <a:gd name="T85" fmla="*/ 6400 h 12800"/>
                <a:gd name="T86" fmla="*/ 5600 w 12800"/>
                <a:gd name="T87" fmla="*/ 6400 h 12800"/>
                <a:gd name="T88" fmla="*/ 5600 w 12800"/>
                <a:gd name="T89" fmla="*/ 9600 h 12800"/>
                <a:gd name="T90" fmla="*/ 2400 w 12800"/>
                <a:gd name="T91" fmla="*/ 9600 h 12800"/>
                <a:gd name="T92" fmla="*/ 2400 w 12800"/>
                <a:gd name="T93" fmla="*/ 64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800" h="12800">
                  <a:moveTo>
                    <a:pt x="8800" y="12800"/>
                  </a:moveTo>
                  <a:lnTo>
                    <a:pt x="1920" y="12800"/>
                  </a:lnTo>
                  <a:cubicBezTo>
                    <a:pt x="880" y="12800"/>
                    <a:pt x="0" y="11920"/>
                    <a:pt x="0" y="10880"/>
                  </a:cubicBezTo>
                  <a:lnTo>
                    <a:pt x="0" y="1920"/>
                  </a:lnTo>
                  <a:cubicBezTo>
                    <a:pt x="0" y="880"/>
                    <a:pt x="880" y="0"/>
                    <a:pt x="1920" y="0"/>
                  </a:cubicBezTo>
                  <a:lnTo>
                    <a:pt x="10880" y="0"/>
                  </a:lnTo>
                  <a:cubicBezTo>
                    <a:pt x="11920" y="0"/>
                    <a:pt x="12800" y="880"/>
                    <a:pt x="12800" y="1920"/>
                  </a:cubicBezTo>
                  <a:lnTo>
                    <a:pt x="12800" y="8800"/>
                  </a:lnTo>
                  <a:lnTo>
                    <a:pt x="12000" y="8800"/>
                  </a:lnTo>
                  <a:lnTo>
                    <a:pt x="12000" y="1920"/>
                  </a:lnTo>
                  <a:cubicBezTo>
                    <a:pt x="12000" y="1280"/>
                    <a:pt x="11520" y="800"/>
                    <a:pt x="10880" y="800"/>
                  </a:cubicBezTo>
                  <a:lnTo>
                    <a:pt x="1920" y="800"/>
                  </a:lnTo>
                  <a:cubicBezTo>
                    <a:pt x="1280" y="800"/>
                    <a:pt x="800" y="1280"/>
                    <a:pt x="800" y="1920"/>
                  </a:cubicBezTo>
                  <a:lnTo>
                    <a:pt x="800" y="10960"/>
                  </a:lnTo>
                  <a:cubicBezTo>
                    <a:pt x="800" y="11600"/>
                    <a:pt x="1280" y="12000"/>
                    <a:pt x="1920" y="12000"/>
                  </a:cubicBezTo>
                  <a:lnTo>
                    <a:pt x="8800" y="12000"/>
                  </a:lnTo>
                  <a:lnTo>
                    <a:pt x="8800" y="12800"/>
                  </a:lnTo>
                  <a:close/>
                  <a:moveTo>
                    <a:pt x="12162" y="12675"/>
                  </a:moveTo>
                  <a:lnTo>
                    <a:pt x="9164" y="9677"/>
                  </a:lnTo>
                  <a:lnTo>
                    <a:pt x="9673" y="9167"/>
                  </a:lnTo>
                  <a:lnTo>
                    <a:pt x="12671" y="12166"/>
                  </a:lnTo>
                  <a:lnTo>
                    <a:pt x="12162" y="12675"/>
                  </a:lnTo>
                  <a:close/>
                  <a:moveTo>
                    <a:pt x="8560" y="10560"/>
                  </a:moveTo>
                  <a:cubicBezTo>
                    <a:pt x="7440" y="10560"/>
                    <a:pt x="6560" y="9680"/>
                    <a:pt x="6560" y="8560"/>
                  </a:cubicBezTo>
                  <a:cubicBezTo>
                    <a:pt x="6560" y="7440"/>
                    <a:pt x="7440" y="6560"/>
                    <a:pt x="8560" y="6560"/>
                  </a:cubicBezTo>
                  <a:cubicBezTo>
                    <a:pt x="9680" y="6560"/>
                    <a:pt x="10560" y="7440"/>
                    <a:pt x="10560" y="8560"/>
                  </a:cubicBezTo>
                  <a:cubicBezTo>
                    <a:pt x="10560" y="9680"/>
                    <a:pt x="9680" y="10560"/>
                    <a:pt x="8560" y="10560"/>
                  </a:cubicBezTo>
                  <a:close/>
                  <a:moveTo>
                    <a:pt x="8560" y="7360"/>
                  </a:moveTo>
                  <a:cubicBezTo>
                    <a:pt x="7920" y="7360"/>
                    <a:pt x="7360" y="7920"/>
                    <a:pt x="7360" y="8560"/>
                  </a:cubicBezTo>
                  <a:cubicBezTo>
                    <a:pt x="7360" y="9200"/>
                    <a:pt x="7920" y="9760"/>
                    <a:pt x="8560" y="9760"/>
                  </a:cubicBezTo>
                  <a:cubicBezTo>
                    <a:pt x="9200" y="9760"/>
                    <a:pt x="9760" y="9200"/>
                    <a:pt x="9760" y="8560"/>
                  </a:cubicBezTo>
                  <a:cubicBezTo>
                    <a:pt x="9760" y="7920"/>
                    <a:pt x="9280" y="7360"/>
                    <a:pt x="8560" y="7360"/>
                  </a:cubicBezTo>
                  <a:close/>
                  <a:moveTo>
                    <a:pt x="2400" y="2400"/>
                  </a:moveTo>
                  <a:lnTo>
                    <a:pt x="5600" y="2400"/>
                  </a:lnTo>
                  <a:lnTo>
                    <a:pt x="5600" y="5600"/>
                  </a:lnTo>
                  <a:lnTo>
                    <a:pt x="2400" y="5600"/>
                  </a:lnTo>
                  <a:lnTo>
                    <a:pt x="2400" y="2400"/>
                  </a:lnTo>
                  <a:close/>
                  <a:moveTo>
                    <a:pt x="7200" y="2400"/>
                  </a:moveTo>
                  <a:lnTo>
                    <a:pt x="10400" y="2400"/>
                  </a:lnTo>
                  <a:lnTo>
                    <a:pt x="10400" y="5600"/>
                  </a:lnTo>
                  <a:lnTo>
                    <a:pt x="7200" y="5600"/>
                  </a:lnTo>
                  <a:lnTo>
                    <a:pt x="7200" y="2400"/>
                  </a:lnTo>
                  <a:close/>
                  <a:moveTo>
                    <a:pt x="2400" y="6400"/>
                  </a:moveTo>
                  <a:lnTo>
                    <a:pt x="5600" y="6400"/>
                  </a:lnTo>
                  <a:lnTo>
                    <a:pt x="5600" y="9600"/>
                  </a:lnTo>
                  <a:lnTo>
                    <a:pt x="2400" y="9600"/>
                  </a:lnTo>
                  <a:lnTo>
                    <a:pt x="2400" y="64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6" name="iconfont-11894-5689857"/>
            <p:cNvSpPr>
              <a:spLocks noChangeAspect="1"/>
            </p:cNvSpPr>
            <p:nvPr userDrawn="1"/>
          </p:nvSpPr>
          <p:spPr bwMode="auto">
            <a:xfrm>
              <a:off x="26969631" y="1653740"/>
              <a:ext cx="609685" cy="609685"/>
            </a:xfrm>
            <a:custGeom>
              <a:avLst/>
              <a:gdLst>
                <a:gd name="T0" fmla="*/ 12160 w 12960"/>
                <a:gd name="T1" fmla="*/ 0 h 12960"/>
                <a:gd name="T2" fmla="*/ 6800 w 12960"/>
                <a:gd name="T3" fmla="*/ 0 h 12960"/>
                <a:gd name="T4" fmla="*/ 5920 w 12960"/>
                <a:gd name="T5" fmla="*/ 640 h 12960"/>
                <a:gd name="T6" fmla="*/ 640 w 12960"/>
                <a:gd name="T7" fmla="*/ 5920 h 12960"/>
                <a:gd name="T8" fmla="*/ 640 w 12960"/>
                <a:gd name="T9" fmla="*/ 8240 h 12960"/>
                <a:gd name="T10" fmla="*/ 4720 w 12960"/>
                <a:gd name="T11" fmla="*/ 12320 h 12960"/>
                <a:gd name="T12" fmla="*/ 7040 w 12960"/>
                <a:gd name="T13" fmla="*/ 12320 h 12960"/>
                <a:gd name="T14" fmla="*/ 12320 w 12960"/>
                <a:gd name="T15" fmla="*/ 7040 h 12960"/>
                <a:gd name="T16" fmla="*/ 12960 w 12960"/>
                <a:gd name="T17" fmla="*/ 6080 h 12960"/>
                <a:gd name="T18" fmla="*/ 12960 w 12960"/>
                <a:gd name="T19" fmla="*/ 800 h 12960"/>
                <a:gd name="T20" fmla="*/ 12160 w 12960"/>
                <a:gd name="T21" fmla="*/ 0 h 12960"/>
                <a:gd name="T22" fmla="*/ 7120 w 12960"/>
                <a:gd name="T23" fmla="*/ 11120 h 12960"/>
                <a:gd name="T24" fmla="*/ 6560 w 12960"/>
                <a:gd name="T25" fmla="*/ 11680 h 12960"/>
                <a:gd name="T26" fmla="*/ 6560 w 12960"/>
                <a:gd name="T27" fmla="*/ 11680 h 12960"/>
                <a:gd name="T28" fmla="*/ 5360 w 12960"/>
                <a:gd name="T29" fmla="*/ 11680 h 12960"/>
                <a:gd name="T30" fmla="*/ 1280 w 12960"/>
                <a:gd name="T31" fmla="*/ 7600 h 12960"/>
                <a:gd name="T32" fmla="*/ 1280 w 12960"/>
                <a:gd name="T33" fmla="*/ 6400 h 12960"/>
                <a:gd name="T34" fmla="*/ 1840 w 12960"/>
                <a:gd name="T35" fmla="*/ 5840 h 12960"/>
                <a:gd name="T36" fmla="*/ 2400 w 12960"/>
                <a:gd name="T37" fmla="*/ 5280 h 12960"/>
                <a:gd name="T38" fmla="*/ 6480 w 12960"/>
                <a:gd name="T39" fmla="*/ 1200 h 12960"/>
                <a:gd name="T40" fmla="*/ 7200 w 12960"/>
                <a:gd name="T41" fmla="*/ 800 h 12960"/>
                <a:gd name="T42" fmla="*/ 11760 w 12960"/>
                <a:gd name="T43" fmla="*/ 800 h 12960"/>
                <a:gd name="T44" fmla="*/ 12160 w 12960"/>
                <a:gd name="T45" fmla="*/ 1120 h 12960"/>
                <a:gd name="T46" fmla="*/ 12160 w 12960"/>
                <a:gd name="T47" fmla="*/ 5680 h 12960"/>
                <a:gd name="T48" fmla="*/ 12160 w 12960"/>
                <a:gd name="T49" fmla="*/ 5680 h 12960"/>
                <a:gd name="T50" fmla="*/ 11760 w 12960"/>
                <a:gd name="T51" fmla="*/ 6400 h 12960"/>
                <a:gd name="T52" fmla="*/ 7680 w 12960"/>
                <a:gd name="T53" fmla="*/ 10480 h 12960"/>
                <a:gd name="T54" fmla="*/ 7120 w 12960"/>
                <a:gd name="T55" fmla="*/ 11120 h 12960"/>
                <a:gd name="T56" fmla="*/ 8000 w 12960"/>
                <a:gd name="T57" fmla="*/ 2640 h 12960"/>
                <a:gd name="T58" fmla="*/ 8000 w 12960"/>
                <a:gd name="T59" fmla="*/ 4960 h 12960"/>
                <a:gd name="T60" fmla="*/ 10320 w 12960"/>
                <a:gd name="T61" fmla="*/ 4960 h 12960"/>
                <a:gd name="T62" fmla="*/ 10320 w 12960"/>
                <a:gd name="T63" fmla="*/ 2640 h 12960"/>
                <a:gd name="T64" fmla="*/ 8000 w 12960"/>
                <a:gd name="T65" fmla="*/ 2640 h 12960"/>
                <a:gd name="T66" fmla="*/ 9760 w 12960"/>
                <a:gd name="T67" fmla="*/ 4400 h 12960"/>
                <a:gd name="T68" fmla="*/ 8560 w 12960"/>
                <a:gd name="T69" fmla="*/ 4400 h 12960"/>
                <a:gd name="T70" fmla="*/ 8560 w 12960"/>
                <a:gd name="T71" fmla="*/ 3200 h 12960"/>
                <a:gd name="T72" fmla="*/ 9760 w 12960"/>
                <a:gd name="T73" fmla="*/ 3200 h 12960"/>
                <a:gd name="T74" fmla="*/ 9760 w 12960"/>
                <a:gd name="T75" fmla="*/ 4400 h 12960"/>
                <a:gd name="T76" fmla="*/ 8357 w 12960"/>
                <a:gd name="T77" fmla="*/ 8327 h 12960"/>
                <a:gd name="T78" fmla="*/ 4680 w 12960"/>
                <a:gd name="T79" fmla="*/ 4651 h 12960"/>
                <a:gd name="T80" fmla="*/ 5472 w 12960"/>
                <a:gd name="T81" fmla="*/ 3859 h 12960"/>
                <a:gd name="T82" fmla="*/ 9149 w 12960"/>
                <a:gd name="T83" fmla="*/ 7536 h 12960"/>
                <a:gd name="T84" fmla="*/ 8357 w 12960"/>
                <a:gd name="T85" fmla="*/ 8327 h 12960"/>
                <a:gd name="T86" fmla="*/ 6739 w 12960"/>
                <a:gd name="T87" fmla="*/ 9999 h 12960"/>
                <a:gd name="T88" fmla="*/ 3062 w 12960"/>
                <a:gd name="T89" fmla="*/ 6322 h 12960"/>
                <a:gd name="T90" fmla="*/ 3854 w 12960"/>
                <a:gd name="T91" fmla="*/ 5530 h 12960"/>
                <a:gd name="T92" fmla="*/ 7531 w 12960"/>
                <a:gd name="T93" fmla="*/ 9207 h 12960"/>
                <a:gd name="T94" fmla="*/ 6739 w 12960"/>
                <a:gd name="T95" fmla="*/ 9999 h 12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960" h="12960">
                  <a:moveTo>
                    <a:pt x="12160" y="0"/>
                  </a:moveTo>
                  <a:lnTo>
                    <a:pt x="6800" y="0"/>
                  </a:lnTo>
                  <a:cubicBezTo>
                    <a:pt x="6400" y="0"/>
                    <a:pt x="6320" y="160"/>
                    <a:pt x="5920" y="640"/>
                  </a:cubicBezTo>
                  <a:lnTo>
                    <a:pt x="640" y="5920"/>
                  </a:lnTo>
                  <a:cubicBezTo>
                    <a:pt x="0" y="6560"/>
                    <a:pt x="0" y="7600"/>
                    <a:pt x="640" y="8240"/>
                  </a:cubicBezTo>
                  <a:lnTo>
                    <a:pt x="4720" y="12320"/>
                  </a:lnTo>
                  <a:cubicBezTo>
                    <a:pt x="5360" y="12960"/>
                    <a:pt x="6400" y="12960"/>
                    <a:pt x="7040" y="12320"/>
                  </a:cubicBezTo>
                  <a:lnTo>
                    <a:pt x="12320" y="7040"/>
                  </a:lnTo>
                  <a:cubicBezTo>
                    <a:pt x="12720" y="6720"/>
                    <a:pt x="12960" y="6560"/>
                    <a:pt x="12960" y="6080"/>
                  </a:cubicBezTo>
                  <a:lnTo>
                    <a:pt x="12960" y="800"/>
                  </a:lnTo>
                  <a:cubicBezTo>
                    <a:pt x="12960" y="320"/>
                    <a:pt x="12640" y="0"/>
                    <a:pt x="12160" y="0"/>
                  </a:cubicBezTo>
                  <a:close/>
                  <a:moveTo>
                    <a:pt x="7120" y="11120"/>
                  </a:moveTo>
                  <a:lnTo>
                    <a:pt x="6560" y="11680"/>
                  </a:lnTo>
                  <a:lnTo>
                    <a:pt x="6560" y="11680"/>
                  </a:lnTo>
                  <a:cubicBezTo>
                    <a:pt x="6240" y="12000"/>
                    <a:pt x="5680" y="12000"/>
                    <a:pt x="5360" y="11680"/>
                  </a:cubicBezTo>
                  <a:lnTo>
                    <a:pt x="1280" y="7600"/>
                  </a:lnTo>
                  <a:cubicBezTo>
                    <a:pt x="960" y="7280"/>
                    <a:pt x="960" y="6720"/>
                    <a:pt x="1280" y="6400"/>
                  </a:cubicBezTo>
                  <a:lnTo>
                    <a:pt x="1840" y="5840"/>
                  </a:lnTo>
                  <a:lnTo>
                    <a:pt x="2400" y="5280"/>
                  </a:lnTo>
                  <a:lnTo>
                    <a:pt x="6480" y="1200"/>
                  </a:lnTo>
                  <a:cubicBezTo>
                    <a:pt x="6720" y="1040"/>
                    <a:pt x="7040" y="800"/>
                    <a:pt x="7200" y="800"/>
                  </a:cubicBezTo>
                  <a:lnTo>
                    <a:pt x="11760" y="800"/>
                  </a:lnTo>
                  <a:cubicBezTo>
                    <a:pt x="12000" y="800"/>
                    <a:pt x="12160" y="960"/>
                    <a:pt x="12160" y="1120"/>
                  </a:cubicBezTo>
                  <a:lnTo>
                    <a:pt x="12160" y="5680"/>
                  </a:lnTo>
                  <a:lnTo>
                    <a:pt x="12160" y="5680"/>
                  </a:lnTo>
                  <a:cubicBezTo>
                    <a:pt x="12160" y="5920"/>
                    <a:pt x="12000" y="6240"/>
                    <a:pt x="11760" y="6400"/>
                  </a:cubicBezTo>
                  <a:lnTo>
                    <a:pt x="7680" y="10480"/>
                  </a:lnTo>
                  <a:lnTo>
                    <a:pt x="7120" y="11120"/>
                  </a:lnTo>
                  <a:close/>
                  <a:moveTo>
                    <a:pt x="8000" y="2640"/>
                  </a:moveTo>
                  <a:cubicBezTo>
                    <a:pt x="7360" y="3280"/>
                    <a:pt x="7360" y="4320"/>
                    <a:pt x="8000" y="4960"/>
                  </a:cubicBezTo>
                  <a:cubicBezTo>
                    <a:pt x="8640" y="5600"/>
                    <a:pt x="9680" y="5600"/>
                    <a:pt x="10320" y="4960"/>
                  </a:cubicBezTo>
                  <a:cubicBezTo>
                    <a:pt x="10960" y="4320"/>
                    <a:pt x="10960" y="3280"/>
                    <a:pt x="10320" y="2640"/>
                  </a:cubicBezTo>
                  <a:cubicBezTo>
                    <a:pt x="9680" y="2000"/>
                    <a:pt x="8640" y="2000"/>
                    <a:pt x="8000" y="2640"/>
                  </a:cubicBezTo>
                  <a:close/>
                  <a:moveTo>
                    <a:pt x="9760" y="4400"/>
                  </a:moveTo>
                  <a:cubicBezTo>
                    <a:pt x="9440" y="4720"/>
                    <a:pt x="8880" y="4720"/>
                    <a:pt x="8560" y="4400"/>
                  </a:cubicBezTo>
                  <a:cubicBezTo>
                    <a:pt x="8240" y="4080"/>
                    <a:pt x="8240" y="3520"/>
                    <a:pt x="8560" y="3200"/>
                  </a:cubicBezTo>
                  <a:cubicBezTo>
                    <a:pt x="8880" y="2880"/>
                    <a:pt x="9440" y="2880"/>
                    <a:pt x="9760" y="3200"/>
                  </a:cubicBezTo>
                  <a:cubicBezTo>
                    <a:pt x="10080" y="3600"/>
                    <a:pt x="10080" y="4080"/>
                    <a:pt x="9760" y="4400"/>
                  </a:cubicBezTo>
                  <a:close/>
                  <a:moveTo>
                    <a:pt x="8357" y="8327"/>
                  </a:moveTo>
                  <a:lnTo>
                    <a:pt x="4680" y="4651"/>
                  </a:lnTo>
                  <a:lnTo>
                    <a:pt x="5472" y="3859"/>
                  </a:lnTo>
                  <a:lnTo>
                    <a:pt x="9149" y="7536"/>
                  </a:lnTo>
                  <a:lnTo>
                    <a:pt x="8357" y="8327"/>
                  </a:lnTo>
                  <a:close/>
                  <a:moveTo>
                    <a:pt x="6739" y="9999"/>
                  </a:moveTo>
                  <a:lnTo>
                    <a:pt x="3062" y="6322"/>
                  </a:lnTo>
                  <a:lnTo>
                    <a:pt x="3854" y="5530"/>
                  </a:lnTo>
                  <a:lnTo>
                    <a:pt x="7531" y="9207"/>
                  </a:lnTo>
                  <a:lnTo>
                    <a:pt x="6739" y="999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5" name="iconfont-11894-5689857"/>
            <p:cNvSpPr>
              <a:spLocks noChangeAspect="1"/>
            </p:cNvSpPr>
            <p:nvPr userDrawn="1"/>
          </p:nvSpPr>
          <p:spPr bwMode="auto">
            <a:xfrm>
              <a:off x="28188999" y="1653740"/>
              <a:ext cx="609685" cy="609685"/>
            </a:xfrm>
            <a:custGeom>
              <a:avLst/>
              <a:gdLst>
                <a:gd name="T0" fmla="*/ 10880 w 12800"/>
                <a:gd name="T1" fmla="*/ 720 h 12800"/>
                <a:gd name="T2" fmla="*/ 6400 w 12800"/>
                <a:gd name="T3" fmla="*/ 0 h 12800"/>
                <a:gd name="T4" fmla="*/ 1920 w 12800"/>
                <a:gd name="T5" fmla="*/ 720 h 12800"/>
                <a:gd name="T6" fmla="*/ 0 w 12800"/>
                <a:gd name="T7" fmla="*/ 2720 h 12800"/>
                <a:gd name="T8" fmla="*/ 0 w 12800"/>
                <a:gd name="T9" fmla="*/ 10160 h 12800"/>
                <a:gd name="T10" fmla="*/ 1920 w 12800"/>
                <a:gd name="T11" fmla="*/ 12080 h 12800"/>
                <a:gd name="T12" fmla="*/ 6400 w 12800"/>
                <a:gd name="T13" fmla="*/ 12800 h 12800"/>
                <a:gd name="T14" fmla="*/ 10880 w 12800"/>
                <a:gd name="T15" fmla="*/ 12080 h 12800"/>
                <a:gd name="T16" fmla="*/ 12800 w 12800"/>
                <a:gd name="T17" fmla="*/ 10160 h 12800"/>
                <a:gd name="T18" fmla="*/ 12800 w 12800"/>
                <a:gd name="T19" fmla="*/ 2720 h 12800"/>
                <a:gd name="T20" fmla="*/ 10880 w 12800"/>
                <a:gd name="T21" fmla="*/ 720 h 12800"/>
                <a:gd name="T22" fmla="*/ 10160 w 12800"/>
                <a:gd name="T23" fmla="*/ 4000 h 12800"/>
                <a:gd name="T24" fmla="*/ 6400 w 12800"/>
                <a:gd name="T25" fmla="*/ 4560 h 12800"/>
                <a:gd name="T26" fmla="*/ 2640 w 12800"/>
                <a:gd name="T27" fmla="*/ 4000 h 12800"/>
                <a:gd name="T28" fmla="*/ 880 w 12800"/>
                <a:gd name="T29" fmla="*/ 2720 h 12800"/>
                <a:gd name="T30" fmla="*/ 2640 w 12800"/>
                <a:gd name="T31" fmla="*/ 1360 h 12800"/>
                <a:gd name="T32" fmla="*/ 6400 w 12800"/>
                <a:gd name="T33" fmla="*/ 800 h 12800"/>
                <a:gd name="T34" fmla="*/ 10160 w 12800"/>
                <a:gd name="T35" fmla="*/ 1360 h 12800"/>
                <a:gd name="T36" fmla="*/ 11920 w 12800"/>
                <a:gd name="T37" fmla="*/ 2720 h 12800"/>
                <a:gd name="T38" fmla="*/ 10160 w 12800"/>
                <a:gd name="T39" fmla="*/ 4000 h 12800"/>
                <a:gd name="T40" fmla="*/ 10240 w 12800"/>
                <a:gd name="T41" fmla="*/ 6320 h 12800"/>
                <a:gd name="T42" fmla="*/ 6400 w 12800"/>
                <a:gd name="T43" fmla="*/ 6880 h 12800"/>
                <a:gd name="T44" fmla="*/ 2560 w 12800"/>
                <a:gd name="T45" fmla="*/ 6320 h 12800"/>
                <a:gd name="T46" fmla="*/ 800 w 12800"/>
                <a:gd name="T47" fmla="*/ 4960 h 12800"/>
                <a:gd name="T48" fmla="*/ 800 w 12800"/>
                <a:gd name="T49" fmla="*/ 4080 h 12800"/>
                <a:gd name="T50" fmla="*/ 3040 w 12800"/>
                <a:gd name="T51" fmla="*/ 4960 h 12800"/>
                <a:gd name="T52" fmla="*/ 6400 w 12800"/>
                <a:gd name="T53" fmla="*/ 5360 h 12800"/>
                <a:gd name="T54" fmla="*/ 9760 w 12800"/>
                <a:gd name="T55" fmla="*/ 4960 h 12800"/>
                <a:gd name="T56" fmla="*/ 12000 w 12800"/>
                <a:gd name="T57" fmla="*/ 4080 h 12800"/>
                <a:gd name="T58" fmla="*/ 12000 w 12800"/>
                <a:gd name="T59" fmla="*/ 5040 h 12800"/>
                <a:gd name="T60" fmla="*/ 10240 w 12800"/>
                <a:gd name="T61" fmla="*/ 6320 h 12800"/>
                <a:gd name="T62" fmla="*/ 10240 w 12800"/>
                <a:gd name="T63" fmla="*/ 8880 h 12800"/>
                <a:gd name="T64" fmla="*/ 6400 w 12800"/>
                <a:gd name="T65" fmla="*/ 9440 h 12800"/>
                <a:gd name="T66" fmla="*/ 2560 w 12800"/>
                <a:gd name="T67" fmla="*/ 8880 h 12800"/>
                <a:gd name="T68" fmla="*/ 800 w 12800"/>
                <a:gd name="T69" fmla="*/ 7520 h 12800"/>
                <a:gd name="T70" fmla="*/ 800 w 12800"/>
                <a:gd name="T71" fmla="*/ 6320 h 12800"/>
                <a:gd name="T72" fmla="*/ 3040 w 12800"/>
                <a:gd name="T73" fmla="*/ 7280 h 12800"/>
                <a:gd name="T74" fmla="*/ 6400 w 12800"/>
                <a:gd name="T75" fmla="*/ 7680 h 12800"/>
                <a:gd name="T76" fmla="*/ 9760 w 12800"/>
                <a:gd name="T77" fmla="*/ 7280 h 12800"/>
                <a:gd name="T78" fmla="*/ 12000 w 12800"/>
                <a:gd name="T79" fmla="*/ 6320 h 12800"/>
                <a:gd name="T80" fmla="*/ 12000 w 12800"/>
                <a:gd name="T81" fmla="*/ 7520 h 12800"/>
                <a:gd name="T82" fmla="*/ 10240 w 12800"/>
                <a:gd name="T83" fmla="*/ 8880 h 12800"/>
                <a:gd name="T84" fmla="*/ 6400 w 12800"/>
                <a:gd name="T85" fmla="*/ 12000 h 12800"/>
                <a:gd name="T86" fmla="*/ 2560 w 12800"/>
                <a:gd name="T87" fmla="*/ 11440 h 12800"/>
                <a:gd name="T88" fmla="*/ 800 w 12800"/>
                <a:gd name="T89" fmla="*/ 10080 h 12800"/>
                <a:gd name="T90" fmla="*/ 800 w 12800"/>
                <a:gd name="T91" fmla="*/ 8880 h 12800"/>
                <a:gd name="T92" fmla="*/ 3040 w 12800"/>
                <a:gd name="T93" fmla="*/ 9840 h 12800"/>
                <a:gd name="T94" fmla="*/ 6320 w 12800"/>
                <a:gd name="T95" fmla="*/ 10240 h 12800"/>
                <a:gd name="T96" fmla="*/ 9680 w 12800"/>
                <a:gd name="T97" fmla="*/ 9840 h 12800"/>
                <a:gd name="T98" fmla="*/ 12000 w 12800"/>
                <a:gd name="T99" fmla="*/ 8880 h 12800"/>
                <a:gd name="T100" fmla="*/ 12000 w 12800"/>
                <a:gd name="T101" fmla="*/ 10080 h 12800"/>
                <a:gd name="T102" fmla="*/ 10240 w 12800"/>
                <a:gd name="T103" fmla="*/ 11440 h 12800"/>
                <a:gd name="T104" fmla="*/ 6400 w 12800"/>
                <a:gd name="T105" fmla="*/ 12000 h 12800"/>
                <a:gd name="T106" fmla="*/ 6400 w 12800"/>
                <a:gd name="T107" fmla="*/ 1200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800" h="12800">
                  <a:moveTo>
                    <a:pt x="10880" y="720"/>
                  </a:moveTo>
                  <a:cubicBezTo>
                    <a:pt x="9760" y="240"/>
                    <a:pt x="8160" y="0"/>
                    <a:pt x="6400" y="0"/>
                  </a:cubicBezTo>
                  <a:cubicBezTo>
                    <a:pt x="4640" y="0"/>
                    <a:pt x="3040" y="240"/>
                    <a:pt x="1920" y="720"/>
                  </a:cubicBezTo>
                  <a:cubicBezTo>
                    <a:pt x="640" y="1280"/>
                    <a:pt x="0" y="1920"/>
                    <a:pt x="0" y="2720"/>
                  </a:cubicBezTo>
                  <a:lnTo>
                    <a:pt x="0" y="10160"/>
                  </a:lnTo>
                  <a:cubicBezTo>
                    <a:pt x="0" y="10880"/>
                    <a:pt x="640" y="11600"/>
                    <a:pt x="1920" y="12080"/>
                  </a:cubicBezTo>
                  <a:cubicBezTo>
                    <a:pt x="3040" y="12560"/>
                    <a:pt x="4640" y="12800"/>
                    <a:pt x="6400" y="12800"/>
                  </a:cubicBezTo>
                  <a:cubicBezTo>
                    <a:pt x="8160" y="12800"/>
                    <a:pt x="9760" y="12560"/>
                    <a:pt x="10880" y="12080"/>
                  </a:cubicBezTo>
                  <a:cubicBezTo>
                    <a:pt x="12080" y="11600"/>
                    <a:pt x="12800" y="10880"/>
                    <a:pt x="12800" y="10160"/>
                  </a:cubicBezTo>
                  <a:lnTo>
                    <a:pt x="12800" y="2720"/>
                  </a:lnTo>
                  <a:cubicBezTo>
                    <a:pt x="12800" y="1920"/>
                    <a:pt x="12160" y="1280"/>
                    <a:pt x="10880" y="720"/>
                  </a:cubicBezTo>
                  <a:close/>
                  <a:moveTo>
                    <a:pt x="10160" y="4000"/>
                  </a:moveTo>
                  <a:cubicBezTo>
                    <a:pt x="9120" y="4400"/>
                    <a:pt x="7680" y="4560"/>
                    <a:pt x="6400" y="4560"/>
                  </a:cubicBezTo>
                  <a:cubicBezTo>
                    <a:pt x="5040" y="4560"/>
                    <a:pt x="3680" y="4400"/>
                    <a:pt x="2640" y="4000"/>
                  </a:cubicBezTo>
                  <a:cubicBezTo>
                    <a:pt x="1440" y="3680"/>
                    <a:pt x="880" y="3200"/>
                    <a:pt x="880" y="2720"/>
                  </a:cubicBezTo>
                  <a:cubicBezTo>
                    <a:pt x="880" y="2240"/>
                    <a:pt x="1520" y="1760"/>
                    <a:pt x="2640" y="1360"/>
                  </a:cubicBezTo>
                  <a:cubicBezTo>
                    <a:pt x="3680" y="960"/>
                    <a:pt x="5040" y="800"/>
                    <a:pt x="6400" y="800"/>
                  </a:cubicBezTo>
                  <a:cubicBezTo>
                    <a:pt x="7680" y="800"/>
                    <a:pt x="9120" y="1040"/>
                    <a:pt x="10160" y="1360"/>
                  </a:cubicBezTo>
                  <a:cubicBezTo>
                    <a:pt x="11280" y="1760"/>
                    <a:pt x="11920" y="2240"/>
                    <a:pt x="11920" y="2720"/>
                  </a:cubicBezTo>
                  <a:cubicBezTo>
                    <a:pt x="11920" y="3200"/>
                    <a:pt x="11360" y="3680"/>
                    <a:pt x="10160" y="4000"/>
                  </a:cubicBezTo>
                  <a:close/>
                  <a:moveTo>
                    <a:pt x="10240" y="6320"/>
                  </a:moveTo>
                  <a:cubicBezTo>
                    <a:pt x="9200" y="6640"/>
                    <a:pt x="7760" y="6880"/>
                    <a:pt x="6400" y="6880"/>
                  </a:cubicBezTo>
                  <a:cubicBezTo>
                    <a:pt x="5040" y="6880"/>
                    <a:pt x="3680" y="6640"/>
                    <a:pt x="2560" y="6320"/>
                  </a:cubicBezTo>
                  <a:cubicBezTo>
                    <a:pt x="1440" y="5920"/>
                    <a:pt x="800" y="5440"/>
                    <a:pt x="800" y="4960"/>
                  </a:cubicBezTo>
                  <a:lnTo>
                    <a:pt x="800" y="4080"/>
                  </a:lnTo>
                  <a:cubicBezTo>
                    <a:pt x="1600" y="4400"/>
                    <a:pt x="2160" y="4800"/>
                    <a:pt x="3040" y="4960"/>
                  </a:cubicBezTo>
                  <a:cubicBezTo>
                    <a:pt x="4080" y="5200"/>
                    <a:pt x="5200" y="5360"/>
                    <a:pt x="6400" y="5360"/>
                  </a:cubicBezTo>
                  <a:cubicBezTo>
                    <a:pt x="7600" y="5360"/>
                    <a:pt x="8720" y="5200"/>
                    <a:pt x="9760" y="4960"/>
                  </a:cubicBezTo>
                  <a:cubicBezTo>
                    <a:pt x="10640" y="4800"/>
                    <a:pt x="11200" y="4400"/>
                    <a:pt x="12000" y="4080"/>
                  </a:cubicBezTo>
                  <a:lnTo>
                    <a:pt x="12000" y="5040"/>
                  </a:lnTo>
                  <a:cubicBezTo>
                    <a:pt x="12000" y="5440"/>
                    <a:pt x="11360" y="5920"/>
                    <a:pt x="10240" y="6320"/>
                  </a:cubicBezTo>
                  <a:close/>
                  <a:moveTo>
                    <a:pt x="10240" y="8880"/>
                  </a:moveTo>
                  <a:cubicBezTo>
                    <a:pt x="9200" y="9200"/>
                    <a:pt x="7760" y="9440"/>
                    <a:pt x="6400" y="9440"/>
                  </a:cubicBezTo>
                  <a:cubicBezTo>
                    <a:pt x="5040" y="9440"/>
                    <a:pt x="3680" y="9200"/>
                    <a:pt x="2560" y="8880"/>
                  </a:cubicBezTo>
                  <a:cubicBezTo>
                    <a:pt x="1440" y="8560"/>
                    <a:pt x="800" y="8080"/>
                    <a:pt x="800" y="7520"/>
                  </a:cubicBezTo>
                  <a:lnTo>
                    <a:pt x="800" y="6320"/>
                  </a:lnTo>
                  <a:cubicBezTo>
                    <a:pt x="1600" y="6720"/>
                    <a:pt x="2160" y="7040"/>
                    <a:pt x="3040" y="7280"/>
                  </a:cubicBezTo>
                  <a:cubicBezTo>
                    <a:pt x="4080" y="7520"/>
                    <a:pt x="5200" y="7680"/>
                    <a:pt x="6400" y="7680"/>
                  </a:cubicBezTo>
                  <a:cubicBezTo>
                    <a:pt x="7600" y="7680"/>
                    <a:pt x="8720" y="7520"/>
                    <a:pt x="9760" y="7280"/>
                  </a:cubicBezTo>
                  <a:cubicBezTo>
                    <a:pt x="10640" y="7040"/>
                    <a:pt x="11200" y="6720"/>
                    <a:pt x="12000" y="6320"/>
                  </a:cubicBezTo>
                  <a:lnTo>
                    <a:pt x="12000" y="7520"/>
                  </a:lnTo>
                  <a:cubicBezTo>
                    <a:pt x="12000" y="8080"/>
                    <a:pt x="11360" y="8560"/>
                    <a:pt x="10240" y="8880"/>
                  </a:cubicBezTo>
                  <a:close/>
                  <a:moveTo>
                    <a:pt x="6400" y="12000"/>
                  </a:moveTo>
                  <a:cubicBezTo>
                    <a:pt x="5040" y="12000"/>
                    <a:pt x="3680" y="11760"/>
                    <a:pt x="2560" y="11440"/>
                  </a:cubicBezTo>
                  <a:cubicBezTo>
                    <a:pt x="1440" y="11120"/>
                    <a:pt x="800" y="10640"/>
                    <a:pt x="800" y="10080"/>
                  </a:cubicBezTo>
                  <a:lnTo>
                    <a:pt x="800" y="8880"/>
                  </a:lnTo>
                  <a:cubicBezTo>
                    <a:pt x="1600" y="9280"/>
                    <a:pt x="2160" y="9600"/>
                    <a:pt x="3040" y="9840"/>
                  </a:cubicBezTo>
                  <a:cubicBezTo>
                    <a:pt x="4000" y="10080"/>
                    <a:pt x="5200" y="10240"/>
                    <a:pt x="6320" y="10240"/>
                  </a:cubicBezTo>
                  <a:cubicBezTo>
                    <a:pt x="7520" y="10240"/>
                    <a:pt x="8640" y="10080"/>
                    <a:pt x="9680" y="9840"/>
                  </a:cubicBezTo>
                  <a:cubicBezTo>
                    <a:pt x="10640" y="9600"/>
                    <a:pt x="11200" y="9280"/>
                    <a:pt x="12000" y="8880"/>
                  </a:cubicBezTo>
                  <a:lnTo>
                    <a:pt x="12000" y="10080"/>
                  </a:lnTo>
                  <a:cubicBezTo>
                    <a:pt x="12000" y="10560"/>
                    <a:pt x="11360" y="11040"/>
                    <a:pt x="10240" y="11440"/>
                  </a:cubicBezTo>
                  <a:cubicBezTo>
                    <a:pt x="9200" y="11840"/>
                    <a:pt x="7680" y="12000"/>
                    <a:pt x="6400" y="12000"/>
                  </a:cubicBezTo>
                  <a:close/>
                  <a:moveTo>
                    <a:pt x="6400" y="12000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0" name="iconfont-11894-5689857"/>
            <p:cNvSpPr>
              <a:spLocks noChangeAspect="1"/>
            </p:cNvSpPr>
            <p:nvPr userDrawn="1"/>
          </p:nvSpPr>
          <p:spPr bwMode="auto">
            <a:xfrm>
              <a:off x="13556559" y="312415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61" name="iconfont-11894-5689857"/>
            <p:cNvSpPr>
              <a:spLocks noChangeAspect="1"/>
            </p:cNvSpPr>
            <p:nvPr userDrawn="1"/>
          </p:nvSpPr>
          <p:spPr bwMode="auto">
            <a:xfrm>
              <a:off x="14775929" y="3159826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34" name="iconfont-11894-5689857"/>
            <p:cNvSpPr>
              <a:spLocks noChangeAspect="1"/>
            </p:cNvSpPr>
            <p:nvPr userDrawn="1"/>
          </p:nvSpPr>
          <p:spPr bwMode="auto">
            <a:xfrm>
              <a:off x="15995300" y="3159287"/>
              <a:ext cx="609685" cy="539426"/>
            </a:xfrm>
            <a:custGeom>
              <a:avLst/>
              <a:gdLst>
                <a:gd name="connsiteX0" fmla="*/ 381028 w 474177"/>
                <a:gd name="connsiteY0" fmla="*/ 267126 h 419534"/>
                <a:gd name="connsiteX1" fmla="*/ 321786 w 474177"/>
                <a:gd name="connsiteY1" fmla="*/ 326422 h 419534"/>
                <a:gd name="connsiteX2" fmla="*/ 381028 w 474177"/>
                <a:gd name="connsiteY2" fmla="*/ 385671 h 419534"/>
                <a:gd name="connsiteX3" fmla="*/ 440318 w 474177"/>
                <a:gd name="connsiteY3" fmla="*/ 326422 h 419534"/>
                <a:gd name="connsiteX4" fmla="*/ 381028 w 474177"/>
                <a:gd name="connsiteY4" fmla="*/ 267126 h 419534"/>
                <a:gd name="connsiteX5" fmla="*/ 93173 w 474177"/>
                <a:gd name="connsiteY5" fmla="*/ 267104 h 419534"/>
                <a:gd name="connsiteX6" fmla="*/ 33868 w 474177"/>
                <a:gd name="connsiteY6" fmla="*/ 326409 h 419534"/>
                <a:gd name="connsiteX7" fmla="*/ 93173 w 474177"/>
                <a:gd name="connsiteY7" fmla="*/ 385666 h 419534"/>
                <a:gd name="connsiteX8" fmla="*/ 152430 w 474177"/>
                <a:gd name="connsiteY8" fmla="*/ 326409 h 419534"/>
                <a:gd name="connsiteX9" fmla="*/ 93173 w 474177"/>
                <a:gd name="connsiteY9" fmla="*/ 267104 h 419534"/>
                <a:gd name="connsiteX10" fmla="*/ 381028 w 474177"/>
                <a:gd name="connsiteY10" fmla="*/ 233263 h 419534"/>
                <a:gd name="connsiteX11" fmla="*/ 474177 w 474177"/>
                <a:gd name="connsiteY11" fmla="*/ 326422 h 419534"/>
                <a:gd name="connsiteX12" fmla="*/ 381028 w 474177"/>
                <a:gd name="connsiteY12" fmla="*/ 419534 h 419534"/>
                <a:gd name="connsiteX13" fmla="*/ 287927 w 474177"/>
                <a:gd name="connsiteY13" fmla="*/ 326422 h 419534"/>
                <a:gd name="connsiteX14" fmla="*/ 295214 w 474177"/>
                <a:gd name="connsiteY14" fmla="*/ 290065 h 419534"/>
                <a:gd name="connsiteX15" fmla="*/ 298380 w 474177"/>
                <a:gd name="connsiteY15" fmla="*/ 285357 h 419534"/>
                <a:gd name="connsiteX16" fmla="*/ 309676 w 474177"/>
                <a:gd name="connsiteY16" fmla="*/ 288436 h 419534"/>
                <a:gd name="connsiteX17" fmla="*/ 324272 w 474177"/>
                <a:gd name="connsiteY17" fmla="*/ 280725 h 419534"/>
                <a:gd name="connsiteX18" fmla="*/ 329349 w 474177"/>
                <a:gd name="connsiteY18" fmla="*/ 265690 h 419534"/>
                <a:gd name="connsiteX19" fmla="*/ 323395 w 474177"/>
                <a:gd name="connsiteY19" fmla="*/ 254893 h 419534"/>
                <a:gd name="connsiteX20" fmla="*/ 344703 w 474177"/>
                <a:gd name="connsiteY20" fmla="*/ 240552 h 419534"/>
                <a:gd name="connsiteX21" fmla="*/ 381028 w 474177"/>
                <a:gd name="connsiteY21" fmla="*/ 233263 h 419534"/>
                <a:gd name="connsiteX22" fmla="*/ 93173 w 474177"/>
                <a:gd name="connsiteY22" fmla="*/ 233236 h 419534"/>
                <a:gd name="connsiteX23" fmla="*/ 129507 w 474177"/>
                <a:gd name="connsiteY23" fmla="*/ 240526 h 419534"/>
                <a:gd name="connsiteX24" fmla="*/ 144508 w 474177"/>
                <a:gd name="connsiteY24" fmla="*/ 250622 h 419534"/>
                <a:gd name="connsiteX25" fmla="*/ 143965 w 474177"/>
                <a:gd name="connsiteY25" fmla="*/ 251075 h 419534"/>
                <a:gd name="connsiteX26" fmla="*/ 141441 w 474177"/>
                <a:gd name="connsiteY26" fmla="*/ 280700 h 419534"/>
                <a:gd name="connsiteX27" fmla="*/ 171919 w 474177"/>
                <a:gd name="connsiteY27" fmla="*/ 284081 h 419534"/>
                <a:gd name="connsiteX28" fmla="*/ 173885 w 474177"/>
                <a:gd name="connsiteY28" fmla="*/ 282428 h 419534"/>
                <a:gd name="connsiteX29" fmla="*/ 179008 w 474177"/>
                <a:gd name="connsiteY29" fmla="*/ 290047 h 419534"/>
                <a:gd name="connsiteX30" fmla="*/ 186298 w 474177"/>
                <a:gd name="connsiteY30" fmla="*/ 326409 h 419534"/>
                <a:gd name="connsiteX31" fmla="*/ 93173 w 474177"/>
                <a:gd name="connsiteY31" fmla="*/ 419534 h 419534"/>
                <a:gd name="connsiteX32" fmla="*/ 0 w 474177"/>
                <a:gd name="connsiteY32" fmla="*/ 326409 h 419534"/>
                <a:gd name="connsiteX33" fmla="*/ 93173 w 474177"/>
                <a:gd name="connsiteY33" fmla="*/ 233236 h 419534"/>
                <a:gd name="connsiteX34" fmla="*/ 265967 w 474177"/>
                <a:gd name="connsiteY34" fmla="*/ 205002 h 419534"/>
                <a:gd name="connsiteX35" fmla="*/ 321748 w 474177"/>
                <a:gd name="connsiteY35" fmla="*/ 251906 h 419534"/>
                <a:gd name="connsiteX36" fmla="*/ 323395 w 474177"/>
                <a:gd name="connsiteY36" fmla="*/ 254893 h 419534"/>
                <a:gd name="connsiteX37" fmla="*/ 315119 w 474177"/>
                <a:gd name="connsiteY37" fmla="*/ 260464 h 419534"/>
                <a:gd name="connsiteX38" fmla="*/ 298380 w 474177"/>
                <a:gd name="connsiteY38" fmla="*/ 285357 h 419534"/>
                <a:gd name="connsiteX39" fmla="*/ 293795 w 474177"/>
                <a:gd name="connsiteY39" fmla="*/ 284107 h 419534"/>
                <a:gd name="connsiteX40" fmla="*/ 232947 w 474177"/>
                <a:gd name="connsiteY40" fmla="*/ 232767 h 419534"/>
                <a:gd name="connsiteX41" fmla="*/ 199590 w 474177"/>
                <a:gd name="connsiteY41" fmla="*/ 204623 h 419534"/>
                <a:gd name="connsiteX42" fmla="*/ 232947 w 474177"/>
                <a:gd name="connsiteY42" fmla="*/ 232767 h 419534"/>
                <a:gd name="connsiteX43" fmla="*/ 173885 w 474177"/>
                <a:gd name="connsiteY43" fmla="*/ 282428 h 419534"/>
                <a:gd name="connsiteX44" fmla="*/ 159099 w 474177"/>
                <a:gd name="connsiteY44" fmla="*/ 260441 h 419534"/>
                <a:gd name="connsiteX45" fmla="*/ 144508 w 474177"/>
                <a:gd name="connsiteY45" fmla="*/ 250622 h 419534"/>
                <a:gd name="connsiteX46" fmla="*/ 265117 w 474177"/>
                <a:gd name="connsiteY46" fmla="*/ 71012 h 419534"/>
                <a:gd name="connsiteX47" fmla="*/ 274319 w 474177"/>
                <a:gd name="connsiteY47" fmla="*/ 74084 h 419534"/>
                <a:gd name="connsiteX48" fmla="*/ 311440 w 474177"/>
                <a:gd name="connsiteY48" fmla="*/ 111217 h 419534"/>
                <a:gd name="connsiteX49" fmla="*/ 291612 w 474177"/>
                <a:gd name="connsiteY49" fmla="*/ 127776 h 419534"/>
                <a:gd name="connsiteX50" fmla="*/ 256557 w 474177"/>
                <a:gd name="connsiteY50" fmla="*/ 92710 h 419534"/>
                <a:gd name="connsiteX51" fmla="*/ 256557 w 474177"/>
                <a:gd name="connsiteY51" fmla="*/ 74942 h 419534"/>
                <a:gd name="connsiteX52" fmla="*/ 265117 w 474177"/>
                <a:gd name="connsiteY52" fmla="*/ 71012 h 419534"/>
                <a:gd name="connsiteX53" fmla="*/ 294653 w 474177"/>
                <a:gd name="connsiteY53" fmla="*/ 35976 h 419534"/>
                <a:gd name="connsiteX54" fmla="*/ 312415 w 474177"/>
                <a:gd name="connsiteY54" fmla="*/ 35976 h 419534"/>
                <a:gd name="connsiteX55" fmla="*/ 352965 w 474177"/>
                <a:gd name="connsiteY55" fmla="*/ 76540 h 419534"/>
                <a:gd name="connsiteX56" fmla="*/ 333604 w 474177"/>
                <a:gd name="connsiteY56" fmla="*/ 92708 h 419534"/>
                <a:gd name="connsiteX57" fmla="*/ 294653 w 474177"/>
                <a:gd name="connsiteY57" fmla="*/ 53744 h 419534"/>
                <a:gd name="connsiteX58" fmla="*/ 294653 w 474177"/>
                <a:gd name="connsiteY58" fmla="*/ 35976 h 419534"/>
                <a:gd name="connsiteX59" fmla="*/ 425805 w 474177"/>
                <a:gd name="connsiteY59" fmla="*/ 23290 h 419534"/>
                <a:gd name="connsiteX60" fmla="*/ 440318 w 474177"/>
                <a:gd name="connsiteY60" fmla="*/ 30893 h 419534"/>
                <a:gd name="connsiteX61" fmla="*/ 437746 w 474177"/>
                <a:gd name="connsiteY61" fmla="*/ 60565 h 419534"/>
                <a:gd name="connsiteX62" fmla="*/ 265967 w 474177"/>
                <a:gd name="connsiteY62" fmla="*/ 205002 h 419534"/>
                <a:gd name="connsiteX63" fmla="*/ 232667 w 474177"/>
                <a:gd name="connsiteY63" fmla="*/ 177000 h 419534"/>
                <a:gd name="connsiteX64" fmla="*/ 291612 w 474177"/>
                <a:gd name="connsiteY64" fmla="*/ 127776 h 419534"/>
                <a:gd name="connsiteX65" fmla="*/ 303129 w 474177"/>
                <a:gd name="connsiteY65" fmla="*/ 139297 h 419534"/>
                <a:gd name="connsiteX66" fmla="*/ 309034 w 474177"/>
                <a:gd name="connsiteY66" fmla="*/ 139297 h 419534"/>
                <a:gd name="connsiteX67" fmla="*/ 320891 w 474177"/>
                <a:gd name="connsiteY67" fmla="*/ 126578 h 419534"/>
                <a:gd name="connsiteX68" fmla="*/ 320891 w 474177"/>
                <a:gd name="connsiteY68" fmla="*/ 120671 h 419534"/>
                <a:gd name="connsiteX69" fmla="*/ 311440 w 474177"/>
                <a:gd name="connsiteY69" fmla="*/ 111217 h 419534"/>
                <a:gd name="connsiteX70" fmla="*/ 333604 w 474177"/>
                <a:gd name="connsiteY70" fmla="*/ 92708 h 419534"/>
                <a:gd name="connsiteX71" fmla="*/ 341224 w 474177"/>
                <a:gd name="connsiteY71" fmla="*/ 100331 h 419534"/>
                <a:gd name="connsiteX72" fmla="*/ 347129 w 474177"/>
                <a:gd name="connsiteY72" fmla="*/ 100331 h 419534"/>
                <a:gd name="connsiteX73" fmla="*/ 358986 w 474177"/>
                <a:gd name="connsiteY73" fmla="*/ 88470 h 419534"/>
                <a:gd name="connsiteX74" fmla="*/ 358986 w 474177"/>
                <a:gd name="connsiteY74" fmla="*/ 82563 h 419534"/>
                <a:gd name="connsiteX75" fmla="*/ 352965 w 474177"/>
                <a:gd name="connsiteY75" fmla="*/ 76540 h 419534"/>
                <a:gd name="connsiteX76" fmla="*/ 374636 w 474177"/>
                <a:gd name="connsiteY76" fmla="*/ 58443 h 419534"/>
                <a:gd name="connsiteX77" fmla="*/ 384368 w 474177"/>
                <a:gd name="connsiteY77" fmla="*/ 68178 h 419534"/>
                <a:gd name="connsiteX78" fmla="*/ 390320 w 474177"/>
                <a:gd name="connsiteY78" fmla="*/ 68178 h 419534"/>
                <a:gd name="connsiteX79" fmla="*/ 402177 w 474177"/>
                <a:gd name="connsiteY79" fmla="*/ 56316 h 419534"/>
                <a:gd name="connsiteX80" fmla="*/ 402177 w 474177"/>
                <a:gd name="connsiteY80" fmla="*/ 50362 h 419534"/>
                <a:gd name="connsiteX81" fmla="*/ 394044 w 474177"/>
                <a:gd name="connsiteY81" fmla="*/ 42235 h 419534"/>
                <a:gd name="connsiteX82" fmla="*/ 410649 w 474177"/>
                <a:gd name="connsiteY82" fmla="*/ 28368 h 419534"/>
                <a:gd name="connsiteX83" fmla="*/ 425805 w 474177"/>
                <a:gd name="connsiteY83" fmla="*/ 23290 h 419534"/>
                <a:gd name="connsiteX84" fmla="*/ 40775 w 474177"/>
                <a:gd name="connsiteY84" fmla="*/ 23276 h 419534"/>
                <a:gd name="connsiteX85" fmla="*/ 55888 w 474177"/>
                <a:gd name="connsiteY85" fmla="*/ 28355 h 419534"/>
                <a:gd name="connsiteX86" fmla="*/ 232667 w 474177"/>
                <a:gd name="connsiteY86" fmla="*/ 177000 h 419534"/>
                <a:gd name="connsiteX87" fmla="*/ 199590 w 474177"/>
                <a:gd name="connsiteY87" fmla="*/ 204623 h 419534"/>
                <a:gd name="connsiteX88" fmla="*/ 28841 w 474177"/>
                <a:gd name="connsiteY88" fmla="*/ 60556 h 419534"/>
                <a:gd name="connsiteX89" fmla="*/ 26269 w 474177"/>
                <a:gd name="connsiteY89" fmla="*/ 30879 h 419534"/>
                <a:gd name="connsiteX90" fmla="*/ 40775 w 474177"/>
                <a:gd name="connsiteY90" fmla="*/ 23276 h 419534"/>
                <a:gd name="connsiteX91" fmla="*/ 346701 w 474177"/>
                <a:gd name="connsiteY91" fmla="*/ 0 h 419534"/>
                <a:gd name="connsiteX92" fmla="*/ 355605 w 474177"/>
                <a:gd name="connsiteY92" fmla="*/ 3823 h 419534"/>
                <a:gd name="connsiteX93" fmla="*/ 394044 w 474177"/>
                <a:gd name="connsiteY93" fmla="*/ 42235 h 419534"/>
                <a:gd name="connsiteX94" fmla="*/ 374636 w 474177"/>
                <a:gd name="connsiteY94" fmla="*/ 58443 h 419534"/>
                <a:gd name="connsiteX95" fmla="*/ 337796 w 474177"/>
                <a:gd name="connsiteY95" fmla="*/ 21591 h 419534"/>
                <a:gd name="connsiteX96" fmla="*/ 337796 w 474177"/>
                <a:gd name="connsiteY96" fmla="*/ 3823 h 419534"/>
                <a:gd name="connsiteX97" fmla="*/ 346701 w 474177"/>
                <a:gd name="connsiteY97" fmla="*/ 0 h 419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474177" h="419534">
                  <a:moveTo>
                    <a:pt x="381028" y="267126"/>
                  </a:moveTo>
                  <a:cubicBezTo>
                    <a:pt x="348026" y="267126"/>
                    <a:pt x="321786" y="293416"/>
                    <a:pt x="321786" y="326422"/>
                  </a:cubicBezTo>
                  <a:cubicBezTo>
                    <a:pt x="321786" y="359428"/>
                    <a:pt x="348026" y="385671"/>
                    <a:pt x="381028" y="385671"/>
                  </a:cubicBezTo>
                  <a:cubicBezTo>
                    <a:pt x="414030" y="385671"/>
                    <a:pt x="440318" y="359428"/>
                    <a:pt x="440318" y="326422"/>
                  </a:cubicBezTo>
                  <a:cubicBezTo>
                    <a:pt x="440318" y="293416"/>
                    <a:pt x="414030" y="267126"/>
                    <a:pt x="381028" y="267126"/>
                  </a:cubicBezTo>
                  <a:close/>
                  <a:moveTo>
                    <a:pt x="93173" y="267104"/>
                  </a:moveTo>
                  <a:cubicBezTo>
                    <a:pt x="60115" y="267104"/>
                    <a:pt x="33868" y="293398"/>
                    <a:pt x="33868" y="326409"/>
                  </a:cubicBezTo>
                  <a:cubicBezTo>
                    <a:pt x="33868" y="359420"/>
                    <a:pt x="60115" y="385666"/>
                    <a:pt x="93173" y="385666"/>
                  </a:cubicBezTo>
                  <a:cubicBezTo>
                    <a:pt x="126183" y="385666"/>
                    <a:pt x="152430" y="359420"/>
                    <a:pt x="152430" y="326409"/>
                  </a:cubicBezTo>
                  <a:cubicBezTo>
                    <a:pt x="152430" y="293398"/>
                    <a:pt x="126183" y="267104"/>
                    <a:pt x="93173" y="267104"/>
                  </a:cubicBezTo>
                  <a:close/>
                  <a:moveTo>
                    <a:pt x="381028" y="233263"/>
                  </a:moveTo>
                  <a:cubicBezTo>
                    <a:pt x="432698" y="233263"/>
                    <a:pt x="474177" y="274746"/>
                    <a:pt x="474177" y="326422"/>
                  </a:cubicBezTo>
                  <a:cubicBezTo>
                    <a:pt x="474177" y="378050"/>
                    <a:pt x="432698" y="419534"/>
                    <a:pt x="381028" y="419534"/>
                  </a:cubicBezTo>
                  <a:cubicBezTo>
                    <a:pt x="329405" y="419534"/>
                    <a:pt x="287927" y="378050"/>
                    <a:pt x="287927" y="326422"/>
                  </a:cubicBezTo>
                  <a:cubicBezTo>
                    <a:pt x="287927" y="313503"/>
                    <a:pt x="290519" y="301221"/>
                    <a:pt x="295214" y="290065"/>
                  </a:cubicBezTo>
                  <a:lnTo>
                    <a:pt x="298380" y="285357"/>
                  </a:lnTo>
                  <a:lnTo>
                    <a:pt x="309676" y="288436"/>
                  </a:lnTo>
                  <a:cubicBezTo>
                    <a:pt x="315177" y="287906"/>
                    <a:pt x="320462" y="285369"/>
                    <a:pt x="324272" y="280725"/>
                  </a:cubicBezTo>
                  <a:cubicBezTo>
                    <a:pt x="328081" y="276485"/>
                    <a:pt x="329772" y="270984"/>
                    <a:pt x="329349" y="265690"/>
                  </a:cubicBezTo>
                  <a:lnTo>
                    <a:pt x="323395" y="254893"/>
                  </a:lnTo>
                  <a:lnTo>
                    <a:pt x="344703" y="240552"/>
                  </a:lnTo>
                  <a:cubicBezTo>
                    <a:pt x="355851" y="235855"/>
                    <a:pt x="368122" y="233263"/>
                    <a:pt x="381028" y="233263"/>
                  </a:cubicBezTo>
                  <a:close/>
                  <a:moveTo>
                    <a:pt x="93173" y="233236"/>
                  </a:moveTo>
                  <a:cubicBezTo>
                    <a:pt x="106082" y="233236"/>
                    <a:pt x="118357" y="235829"/>
                    <a:pt x="129507" y="240526"/>
                  </a:cubicBezTo>
                  <a:lnTo>
                    <a:pt x="144508" y="250622"/>
                  </a:lnTo>
                  <a:lnTo>
                    <a:pt x="143965" y="251075"/>
                  </a:lnTo>
                  <a:cubicBezTo>
                    <a:pt x="134678" y="258696"/>
                    <a:pt x="133821" y="272222"/>
                    <a:pt x="141441" y="280700"/>
                  </a:cubicBezTo>
                  <a:cubicBezTo>
                    <a:pt x="149060" y="289987"/>
                    <a:pt x="162585" y="290844"/>
                    <a:pt x="171919" y="284081"/>
                  </a:cubicBezTo>
                  <a:lnTo>
                    <a:pt x="173885" y="282428"/>
                  </a:lnTo>
                  <a:lnTo>
                    <a:pt x="179008" y="290047"/>
                  </a:lnTo>
                  <a:cubicBezTo>
                    <a:pt x="183705" y="301204"/>
                    <a:pt x="186298" y="313488"/>
                    <a:pt x="186298" y="326409"/>
                  </a:cubicBezTo>
                  <a:cubicBezTo>
                    <a:pt x="186298" y="378045"/>
                    <a:pt x="144808" y="419534"/>
                    <a:pt x="93173" y="419534"/>
                  </a:cubicBezTo>
                  <a:cubicBezTo>
                    <a:pt x="41490" y="419534"/>
                    <a:pt x="0" y="378045"/>
                    <a:pt x="0" y="326409"/>
                  </a:cubicBezTo>
                  <a:cubicBezTo>
                    <a:pt x="0" y="274726"/>
                    <a:pt x="41490" y="233236"/>
                    <a:pt x="93173" y="233236"/>
                  </a:cubicBezTo>
                  <a:close/>
                  <a:moveTo>
                    <a:pt x="265967" y="205002"/>
                  </a:moveTo>
                  <a:lnTo>
                    <a:pt x="321748" y="251906"/>
                  </a:lnTo>
                  <a:lnTo>
                    <a:pt x="323395" y="254893"/>
                  </a:lnTo>
                  <a:lnTo>
                    <a:pt x="315119" y="260464"/>
                  </a:lnTo>
                  <a:lnTo>
                    <a:pt x="298380" y="285357"/>
                  </a:lnTo>
                  <a:lnTo>
                    <a:pt x="293795" y="284107"/>
                  </a:lnTo>
                  <a:lnTo>
                    <a:pt x="232947" y="232767"/>
                  </a:lnTo>
                  <a:close/>
                  <a:moveTo>
                    <a:pt x="199590" y="204623"/>
                  </a:moveTo>
                  <a:lnTo>
                    <a:pt x="232947" y="232767"/>
                  </a:lnTo>
                  <a:lnTo>
                    <a:pt x="173885" y="282428"/>
                  </a:lnTo>
                  <a:lnTo>
                    <a:pt x="159099" y="260441"/>
                  </a:lnTo>
                  <a:lnTo>
                    <a:pt x="144508" y="250622"/>
                  </a:lnTo>
                  <a:close/>
                  <a:moveTo>
                    <a:pt x="265117" y="71012"/>
                  </a:moveTo>
                  <a:cubicBezTo>
                    <a:pt x="268390" y="70905"/>
                    <a:pt x="271771" y="71965"/>
                    <a:pt x="274319" y="74084"/>
                  </a:cubicBezTo>
                  <a:lnTo>
                    <a:pt x="311440" y="111217"/>
                  </a:lnTo>
                  <a:lnTo>
                    <a:pt x="291612" y="127776"/>
                  </a:lnTo>
                  <a:lnTo>
                    <a:pt x="256557" y="92710"/>
                  </a:lnTo>
                  <a:cubicBezTo>
                    <a:pt x="251462" y="87660"/>
                    <a:pt x="251462" y="80039"/>
                    <a:pt x="256557" y="74942"/>
                  </a:cubicBezTo>
                  <a:cubicBezTo>
                    <a:pt x="258676" y="72393"/>
                    <a:pt x="261843" y="71119"/>
                    <a:pt x="265117" y="71012"/>
                  </a:cubicBezTo>
                  <a:close/>
                  <a:moveTo>
                    <a:pt x="294653" y="35976"/>
                  </a:moveTo>
                  <a:cubicBezTo>
                    <a:pt x="298891" y="31737"/>
                    <a:pt x="307319" y="31737"/>
                    <a:pt x="312415" y="35976"/>
                  </a:cubicBezTo>
                  <a:lnTo>
                    <a:pt x="352965" y="76540"/>
                  </a:lnTo>
                  <a:lnTo>
                    <a:pt x="333604" y="92708"/>
                  </a:lnTo>
                  <a:lnTo>
                    <a:pt x="294653" y="53744"/>
                  </a:lnTo>
                  <a:cubicBezTo>
                    <a:pt x="289557" y="48695"/>
                    <a:pt x="289557" y="41073"/>
                    <a:pt x="294653" y="35976"/>
                  </a:cubicBezTo>
                  <a:close/>
                  <a:moveTo>
                    <a:pt x="425805" y="23290"/>
                  </a:moveTo>
                  <a:cubicBezTo>
                    <a:pt x="431210" y="23713"/>
                    <a:pt x="436508" y="26249"/>
                    <a:pt x="440318" y="30893"/>
                  </a:cubicBezTo>
                  <a:cubicBezTo>
                    <a:pt x="447937" y="39370"/>
                    <a:pt x="447080" y="52944"/>
                    <a:pt x="437746" y="60565"/>
                  </a:cubicBezTo>
                  <a:lnTo>
                    <a:pt x="265967" y="205002"/>
                  </a:lnTo>
                  <a:lnTo>
                    <a:pt x="232667" y="177000"/>
                  </a:lnTo>
                  <a:lnTo>
                    <a:pt x="291612" y="127776"/>
                  </a:lnTo>
                  <a:lnTo>
                    <a:pt x="303129" y="139297"/>
                  </a:lnTo>
                  <a:cubicBezTo>
                    <a:pt x="304795" y="141011"/>
                    <a:pt x="307319" y="141011"/>
                    <a:pt x="309034" y="139297"/>
                  </a:cubicBezTo>
                  <a:lnTo>
                    <a:pt x="320891" y="126578"/>
                  </a:lnTo>
                  <a:cubicBezTo>
                    <a:pt x="322558" y="124911"/>
                    <a:pt x="322558" y="122339"/>
                    <a:pt x="320891" y="120671"/>
                  </a:cubicBezTo>
                  <a:lnTo>
                    <a:pt x="311440" y="111217"/>
                  </a:lnTo>
                  <a:lnTo>
                    <a:pt x="333604" y="92708"/>
                  </a:lnTo>
                  <a:lnTo>
                    <a:pt x="341224" y="100331"/>
                  </a:lnTo>
                  <a:cubicBezTo>
                    <a:pt x="342891" y="102046"/>
                    <a:pt x="345415" y="102046"/>
                    <a:pt x="347129" y="100331"/>
                  </a:cubicBezTo>
                  <a:lnTo>
                    <a:pt x="358986" y="88470"/>
                  </a:lnTo>
                  <a:cubicBezTo>
                    <a:pt x="360653" y="86803"/>
                    <a:pt x="360653" y="84231"/>
                    <a:pt x="358986" y="82563"/>
                  </a:cubicBezTo>
                  <a:lnTo>
                    <a:pt x="352965" y="76540"/>
                  </a:lnTo>
                  <a:lnTo>
                    <a:pt x="374636" y="58443"/>
                  </a:lnTo>
                  <a:lnTo>
                    <a:pt x="384368" y="68178"/>
                  </a:lnTo>
                  <a:cubicBezTo>
                    <a:pt x="386082" y="69845"/>
                    <a:pt x="388606" y="69845"/>
                    <a:pt x="390320" y="68178"/>
                  </a:cubicBezTo>
                  <a:lnTo>
                    <a:pt x="402177" y="56316"/>
                  </a:lnTo>
                  <a:cubicBezTo>
                    <a:pt x="403844" y="54602"/>
                    <a:pt x="403844" y="52077"/>
                    <a:pt x="402177" y="50362"/>
                  </a:cubicBezTo>
                  <a:lnTo>
                    <a:pt x="394044" y="42235"/>
                  </a:lnTo>
                  <a:lnTo>
                    <a:pt x="410649" y="28368"/>
                  </a:lnTo>
                  <a:cubicBezTo>
                    <a:pt x="414887" y="24558"/>
                    <a:pt x="420400" y="22867"/>
                    <a:pt x="425805" y="23290"/>
                  </a:cubicBezTo>
                  <a:close/>
                  <a:moveTo>
                    <a:pt x="40775" y="23276"/>
                  </a:moveTo>
                  <a:cubicBezTo>
                    <a:pt x="46174" y="22853"/>
                    <a:pt x="51674" y="24544"/>
                    <a:pt x="55888" y="28355"/>
                  </a:cubicBezTo>
                  <a:lnTo>
                    <a:pt x="232667" y="177000"/>
                  </a:lnTo>
                  <a:lnTo>
                    <a:pt x="199590" y="204623"/>
                  </a:lnTo>
                  <a:lnTo>
                    <a:pt x="28841" y="60556"/>
                  </a:lnTo>
                  <a:cubicBezTo>
                    <a:pt x="19507" y="52934"/>
                    <a:pt x="18650" y="39358"/>
                    <a:pt x="26269" y="30879"/>
                  </a:cubicBezTo>
                  <a:cubicBezTo>
                    <a:pt x="30079" y="26235"/>
                    <a:pt x="35376" y="23698"/>
                    <a:pt x="40775" y="23276"/>
                  </a:cubicBezTo>
                  <a:close/>
                  <a:moveTo>
                    <a:pt x="346701" y="0"/>
                  </a:moveTo>
                  <a:cubicBezTo>
                    <a:pt x="349879" y="0"/>
                    <a:pt x="353058" y="1274"/>
                    <a:pt x="355605" y="3823"/>
                  </a:cubicBezTo>
                  <a:lnTo>
                    <a:pt x="394044" y="42235"/>
                  </a:lnTo>
                  <a:lnTo>
                    <a:pt x="374636" y="58443"/>
                  </a:lnTo>
                  <a:lnTo>
                    <a:pt x="337796" y="21591"/>
                  </a:lnTo>
                  <a:cubicBezTo>
                    <a:pt x="332748" y="16494"/>
                    <a:pt x="332748" y="8872"/>
                    <a:pt x="337796" y="3823"/>
                  </a:cubicBezTo>
                  <a:cubicBezTo>
                    <a:pt x="340343" y="1274"/>
                    <a:pt x="343522" y="0"/>
                    <a:pt x="34670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3" name="iconfont-11894-5689857"/>
            <p:cNvSpPr>
              <a:spLocks noChangeAspect="1"/>
            </p:cNvSpPr>
            <p:nvPr userDrawn="1"/>
          </p:nvSpPr>
          <p:spPr bwMode="auto">
            <a:xfrm>
              <a:off x="17214969" y="3124157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3" name="iconfont-11894-5689857"/>
            <p:cNvSpPr>
              <a:spLocks noChangeAspect="1"/>
            </p:cNvSpPr>
            <p:nvPr userDrawn="1"/>
          </p:nvSpPr>
          <p:spPr bwMode="auto">
            <a:xfrm>
              <a:off x="18434041" y="3124157"/>
              <a:ext cx="609685" cy="609685"/>
            </a:xfrm>
            <a:custGeom>
              <a:avLst/>
              <a:gdLst>
                <a:gd name="T0" fmla="*/ 12800 w 12800"/>
                <a:gd name="T1" fmla="*/ 11360 h 12800"/>
                <a:gd name="T2" fmla="*/ 11360 w 12800"/>
                <a:gd name="T3" fmla="*/ 12800 h 12800"/>
                <a:gd name="T4" fmla="*/ 1440 w 12800"/>
                <a:gd name="T5" fmla="*/ 12800 h 12800"/>
                <a:gd name="T6" fmla="*/ 0 w 12800"/>
                <a:gd name="T7" fmla="*/ 11360 h 12800"/>
                <a:gd name="T8" fmla="*/ 0 w 12800"/>
                <a:gd name="T9" fmla="*/ 1440 h 12800"/>
                <a:gd name="T10" fmla="*/ 1440 w 12800"/>
                <a:gd name="T11" fmla="*/ 0 h 12800"/>
                <a:gd name="T12" fmla="*/ 11360 w 12800"/>
                <a:gd name="T13" fmla="*/ 0 h 12800"/>
                <a:gd name="T14" fmla="*/ 12800 w 12800"/>
                <a:gd name="T15" fmla="*/ 1440 h 12800"/>
                <a:gd name="T16" fmla="*/ 12800 w 12800"/>
                <a:gd name="T17" fmla="*/ 11360 h 12800"/>
                <a:gd name="T18" fmla="*/ 1600 w 12800"/>
                <a:gd name="T19" fmla="*/ 800 h 12800"/>
                <a:gd name="T20" fmla="*/ 800 w 12800"/>
                <a:gd name="T21" fmla="*/ 1600 h 12800"/>
                <a:gd name="T22" fmla="*/ 800 w 12800"/>
                <a:gd name="T23" fmla="*/ 11200 h 12800"/>
                <a:gd name="T24" fmla="*/ 1680 w 12800"/>
                <a:gd name="T25" fmla="*/ 12000 h 12800"/>
                <a:gd name="T26" fmla="*/ 11200 w 12800"/>
                <a:gd name="T27" fmla="*/ 12000 h 12800"/>
                <a:gd name="T28" fmla="*/ 12000 w 12800"/>
                <a:gd name="T29" fmla="*/ 11280 h 12800"/>
                <a:gd name="T30" fmla="*/ 12000 w 12800"/>
                <a:gd name="T31" fmla="*/ 1600 h 12800"/>
                <a:gd name="T32" fmla="*/ 11200 w 12800"/>
                <a:gd name="T33" fmla="*/ 800 h 12800"/>
                <a:gd name="T34" fmla="*/ 1600 w 12800"/>
                <a:gd name="T35" fmla="*/ 800 h 12800"/>
                <a:gd name="T36" fmla="*/ 4800 w 12800"/>
                <a:gd name="T37" fmla="*/ 4160 h 12800"/>
                <a:gd name="T38" fmla="*/ 9280 w 12800"/>
                <a:gd name="T39" fmla="*/ 6400 h 12800"/>
                <a:gd name="T40" fmla="*/ 4800 w 12800"/>
                <a:gd name="T41" fmla="*/ 8640 h 12800"/>
                <a:gd name="T42" fmla="*/ 4800 w 12800"/>
                <a:gd name="T43" fmla="*/ 416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800" h="12800">
                  <a:moveTo>
                    <a:pt x="12800" y="11360"/>
                  </a:moveTo>
                  <a:cubicBezTo>
                    <a:pt x="12800" y="12155"/>
                    <a:pt x="12155" y="12800"/>
                    <a:pt x="11360" y="12800"/>
                  </a:cubicBezTo>
                  <a:lnTo>
                    <a:pt x="1440" y="12800"/>
                  </a:lnTo>
                  <a:cubicBezTo>
                    <a:pt x="645" y="12800"/>
                    <a:pt x="0" y="12155"/>
                    <a:pt x="0" y="11360"/>
                  </a:cubicBezTo>
                  <a:lnTo>
                    <a:pt x="0" y="1440"/>
                  </a:lnTo>
                  <a:cubicBezTo>
                    <a:pt x="0" y="645"/>
                    <a:pt x="645" y="0"/>
                    <a:pt x="1440" y="0"/>
                  </a:cubicBezTo>
                  <a:lnTo>
                    <a:pt x="11360" y="0"/>
                  </a:lnTo>
                  <a:cubicBezTo>
                    <a:pt x="12155" y="0"/>
                    <a:pt x="12800" y="645"/>
                    <a:pt x="12800" y="1440"/>
                  </a:cubicBezTo>
                  <a:lnTo>
                    <a:pt x="12800" y="11360"/>
                  </a:lnTo>
                  <a:close/>
                  <a:moveTo>
                    <a:pt x="1600" y="800"/>
                  </a:moveTo>
                  <a:cubicBezTo>
                    <a:pt x="1120" y="800"/>
                    <a:pt x="800" y="1120"/>
                    <a:pt x="800" y="1600"/>
                  </a:cubicBezTo>
                  <a:lnTo>
                    <a:pt x="800" y="11200"/>
                  </a:lnTo>
                  <a:cubicBezTo>
                    <a:pt x="800" y="11680"/>
                    <a:pt x="1120" y="12000"/>
                    <a:pt x="1680" y="12000"/>
                  </a:cubicBezTo>
                  <a:lnTo>
                    <a:pt x="11200" y="12000"/>
                  </a:lnTo>
                  <a:cubicBezTo>
                    <a:pt x="11680" y="12000"/>
                    <a:pt x="12000" y="11760"/>
                    <a:pt x="12000" y="11280"/>
                  </a:cubicBezTo>
                  <a:lnTo>
                    <a:pt x="12000" y="1600"/>
                  </a:lnTo>
                  <a:cubicBezTo>
                    <a:pt x="12000" y="1120"/>
                    <a:pt x="11680" y="800"/>
                    <a:pt x="11200" y="800"/>
                  </a:cubicBezTo>
                  <a:lnTo>
                    <a:pt x="1600" y="800"/>
                  </a:lnTo>
                  <a:close/>
                  <a:moveTo>
                    <a:pt x="4800" y="4160"/>
                  </a:moveTo>
                  <a:lnTo>
                    <a:pt x="9280" y="6400"/>
                  </a:lnTo>
                  <a:lnTo>
                    <a:pt x="4800" y="8640"/>
                  </a:lnTo>
                  <a:lnTo>
                    <a:pt x="4800" y="41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5" name="iconfont-11894-5689857"/>
            <p:cNvSpPr>
              <a:spLocks noChangeAspect="1"/>
            </p:cNvSpPr>
            <p:nvPr userDrawn="1"/>
          </p:nvSpPr>
          <p:spPr bwMode="auto">
            <a:xfrm>
              <a:off x="19746077" y="3124157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11" name="iconfont-11894-5689857"/>
            <p:cNvSpPr>
              <a:spLocks noChangeAspect="1"/>
            </p:cNvSpPr>
            <p:nvPr userDrawn="1"/>
          </p:nvSpPr>
          <p:spPr bwMode="auto">
            <a:xfrm>
              <a:off x="20909778" y="3124157"/>
              <a:ext cx="535687" cy="609685"/>
            </a:xfrm>
            <a:custGeom>
              <a:avLst/>
              <a:gdLst>
                <a:gd name="T0" fmla="*/ 10960 w 11160"/>
                <a:gd name="T1" fmla="*/ 5780 h 12700"/>
                <a:gd name="T2" fmla="*/ 200 w 11160"/>
                <a:gd name="T3" fmla="*/ 5780 h 12700"/>
                <a:gd name="T4" fmla="*/ 60 w 11160"/>
                <a:gd name="T5" fmla="*/ 5720 h 12700"/>
                <a:gd name="T6" fmla="*/ 0 w 11160"/>
                <a:gd name="T7" fmla="*/ 5580 h 12700"/>
                <a:gd name="T8" fmla="*/ 1680 w 11160"/>
                <a:gd name="T9" fmla="*/ 1630 h 12700"/>
                <a:gd name="T10" fmla="*/ 5580 w 11160"/>
                <a:gd name="T11" fmla="*/ 0 h 12700"/>
                <a:gd name="T12" fmla="*/ 9480 w 11160"/>
                <a:gd name="T13" fmla="*/ 1630 h 12700"/>
                <a:gd name="T14" fmla="*/ 11160 w 11160"/>
                <a:gd name="T15" fmla="*/ 5580 h 12700"/>
                <a:gd name="T16" fmla="*/ 11100 w 11160"/>
                <a:gd name="T17" fmla="*/ 5720 h 12700"/>
                <a:gd name="T18" fmla="*/ 10960 w 11160"/>
                <a:gd name="T19" fmla="*/ 5780 h 12700"/>
                <a:gd name="T20" fmla="*/ 410 w 11160"/>
                <a:gd name="T21" fmla="*/ 5380 h 12700"/>
                <a:gd name="T22" fmla="*/ 10760 w 11160"/>
                <a:gd name="T23" fmla="*/ 5380 h 12700"/>
                <a:gd name="T24" fmla="*/ 5580 w 11160"/>
                <a:gd name="T25" fmla="*/ 400 h 12700"/>
                <a:gd name="T26" fmla="*/ 410 w 11160"/>
                <a:gd name="T27" fmla="*/ 5380 h 12700"/>
                <a:gd name="T28" fmla="*/ 5580 w 11160"/>
                <a:gd name="T29" fmla="*/ 12700 h 12700"/>
                <a:gd name="T30" fmla="*/ 5380 w 11160"/>
                <a:gd name="T31" fmla="*/ 12500 h 12700"/>
                <a:gd name="T32" fmla="*/ 5380 w 11160"/>
                <a:gd name="T33" fmla="*/ 5580 h 12700"/>
                <a:gd name="T34" fmla="*/ 5580 w 11160"/>
                <a:gd name="T35" fmla="*/ 5380 h 12700"/>
                <a:gd name="T36" fmla="*/ 5780 w 11160"/>
                <a:gd name="T37" fmla="*/ 5580 h 12700"/>
                <a:gd name="T38" fmla="*/ 5780 w 11160"/>
                <a:gd name="T39" fmla="*/ 12500 h 12700"/>
                <a:gd name="T40" fmla="*/ 5580 w 11160"/>
                <a:gd name="T41" fmla="*/ 12700 h 12700"/>
                <a:gd name="T42" fmla="*/ 7850 w 11160"/>
                <a:gd name="T43" fmla="*/ 12700 h 12700"/>
                <a:gd name="T44" fmla="*/ 3310 w 11160"/>
                <a:gd name="T45" fmla="*/ 12700 h 12700"/>
                <a:gd name="T46" fmla="*/ 3110 w 11160"/>
                <a:gd name="T47" fmla="*/ 12500 h 12700"/>
                <a:gd name="T48" fmla="*/ 3310 w 11160"/>
                <a:gd name="T49" fmla="*/ 12300 h 12700"/>
                <a:gd name="T50" fmla="*/ 7850 w 11160"/>
                <a:gd name="T51" fmla="*/ 12300 h 12700"/>
                <a:gd name="T52" fmla="*/ 8050 w 11160"/>
                <a:gd name="T53" fmla="*/ 12500 h 12700"/>
                <a:gd name="T54" fmla="*/ 7850 w 11160"/>
                <a:gd name="T55" fmla="*/ 12700 h 12700"/>
                <a:gd name="T56" fmla="*/ 8270 w 11160"/>
                <a:gd name="T57" fmla="*/ 5680 h 12700"/>
                <a:gd name="T58" fmla="*/ 2890 w 11160"/>
                <a:gd name="T59" fmla="*/ 5680 h 12700"/>
                <a:gd name="T60" fmla="*/ 2820 w 11160"/>
                <a:gd name="T61" fmla="*/ 5650 h 12700"/>
                <a:gd name="T62" fmla="*/ 2790 w 11160"/>
                <a:gd name="T63" fmla="*/ 5580 h 12700"/>
                <a:gd name="T64" fmla="*/ 5580 w 11160"/>
                <a:gd name="T65" fmla="*/ 100 h 12700"/>
                <a:gd name="T66" fmla="*/ 8370 w 11160"/>
                <a:gd name="T67" fmla="*/ 5580 h 12700"/>
                <a:gd name="T68" fmla="*/ 8340 w 11160"/>
                <a:gd name="T69" fmla="*/ 5650 h 12700"/>
                <a:gd name="T70" fmla="*/ 8270 w 11160"/>
                <a:gd name="T71" fmla="*/ 5680 h 12700"/>
                <a:gd name="T72" fmla="*/ 2990 w 11160"/>
                <a:gd name="T73" fmla="*/ 5480 h 12700"/>
                <a:gd name="T74" fmla="*/ 8170 w 11160"/>
                <a:gd name="T75" fmla="*/ 5480 h 12700"/>
                <a:gd name="T76" fmla="*/ 5580 w 11160"/>
                <a:gd name="T77" fmla="*/ 300 h 12700"/>
                <a:gd name="T78" fmla="*/ 2990 w 11160"/>
                <a:gd name="T79" fmla="*/ 5480 h 1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160" h="12700">
                  <a:moveTo>
                    <a:pt x="10960" y="5780"/>
                  </a:moveTo>
                  <a:lnTo>
                    <a:pt x="200" y="5780"/>
                  </a:lnTo>
                  <a:cubicBezTo>
                    <a:pt x="150" y="5780"/>
                    <a:pt x="90" y="5760"/>
                    <a:pt x="60" y="5720"/>
                  </a:cubicBezTo>
                  <a:cubicBezTo>
                    <a:pt x="20" y="5680"/>
                    <a:pt x="0" y="5630"/>
                    <a:pt x="0" y="5580"/>
                  </a:cubicBezTo>
                  <a:cubicBezTo>
                    <a:pt x="40" y="4080"/>
                    <a:pt x="640" y="2680"/>
                    <a:pt x="1680" y="1630"/>
                  </a:cubicBezTo>
                  <a:cubicBezTo>
                    <a:pt x="2730" y="580"/>
                    <a:pt x="4110" y="0"/>
                    <a:pt x="5580" y="0"/>
                  </a:cubicBezTo>
                  <a:cubicBezTo>
                    <a:pt x="7050" y="0"/>
                    <a:pt x="8430" y="580"/>
                    <a:pt x="9480" y="1630"/>
                  </a:cubicBezTo>
                  <a:cubicBezTo>
                    <a:pt x="10530" y="2680"/>
                    <a:pt x="11120" y="4080"/>
                    <a:pt x="11160" y="5580"/>
                  </a:cubicBezTo>
                  <a:cubicBezTo>
                    <a:pt x="11160" y="5630"/>
                    <a:pt x="11140" y="5690"/>
                    <a:pt x="11100" y="5720"/>
                  </a:cubicBezTo>
                  <a:cubicBezTo>
                    <a:pt x="11070" y="5760"/>
                    <a:pt x="11020" y="5780"/>
                    <a:pt x="10960" y="5780"/>
                  </a:cubicBezTo>
                  <a:close/>
                  <a:moveTo>
                    <a:pt x="410" y="5380"/>
                  </a:moveTo>
                  <a:lnTo>
                    <a:pt x="10760" y="5380"/>
                  </a:lnTo>
                  <a:cubicBezTo>
                    <a:pt x="10580" y="2570"/>
                    <a:pt x="8350" y="400"/>
                    <a:pt x="5580" y="400"/>
                  </a:cubicBezTo>
                  <a:cubicBezTo>
                    <a:pt x="2810" y="400"/>
                    <a:pt x="580" y="2570"/>
                    <a:pt x="410" y="5380"/>
                  </a:cubicBezTo>
                  <a:close/>
                  <a:moveTo>
                    <a:pt x="5580" y="12700"/>
                  </a:moveTo>
                  <a:cubicBezTo>
                    <a:pt x="5470" y="12700"/>
                    <a:pt x="5380" y="12610"/>
                    <a:pt x="5380" y="12500"/>
                  </a:cubicBezTo>
                  <a:lnTo>
                    <a:pt x="5380" y="5580"/>
                  </a:lnTo>
                  <a:cubicBezTo>
                    <a:pt x="5380" y="5470"/>
                    <a:pt x="5470" y="5380"/>
                    <a:pt x="5580" y="5380"/>
                  </a:cubicBezTo>
                  <a:cubicBezTo>
                    <a:pt x="5690" y="5380"/>
                    <a:pt x="5780" y="5470"/>
                    <a:pt x="5780" y="5580"/>
                  </a:cubicBezTo>
                  <a:lnTo>
                    <a:pt x="5780" y="12500"/>
                  </a:lnTo>
                  <a:cubicBezTo>
                    <a:pt x="5780" y="12610"/>
                    <a:pt x="5690" y="12700"/>
                    <a:pt x="5580" y="12700"/>
                  </a:cubicBezTo>
                  <a:close/>
                  <a:moveTo>
                    <a:pt x="7850" y="12700"/>
                  </a:moveTo>
                  <a:lnTo>
                    <a:pt x="3310" y="12700"/>
                  </a:lnTo>
                  <a:cubicBezTo>
                    <a:pt x="3200" y="12700"/>
                    <a:pt x="3110" y="12610"/>
                    <a:pt x="3110" y="12500"/>
                  </a:cubicBezTo>
                  <a:cubicBezTo>
                    <a:pt x="3110" y="12390"/>
                    <a:pt x="3200" y="12300"/>
                    <a:pt x="3310" y="12300"/>
                  </a:cubicBezTo>
                  <a:lnTo>
                    <a:pt x="7850" y="12300"/>
                  </a:lnTo>
                  <a:cubicBezTo>
                    <a:pt x="7960" y="12300"/>
                    <a:pt x="8050" y="12390"/>
                    <a:pt x="8050" y="12500"/>
                  </a:cubicBezTo>
                  <a:cubicBezTo>
                    <a:pt x="8050" y="12610"/>
                    <a:pt x="7960" y="12700"/>
                    <a:pt x="7850" y="12700"/>
                  </a:cubicBezTo>
                  <a:close/>
                  <a:moveTo>
                    <a:pt x="8270" y="5680"/>
                  </a:moveTo>
                  <a:lnTo>
                    <a:pt x="2890" y="5680"/>
                  </a:lnTo>
                  <a:cubicBezTo>
                    <a:pt x="2860" y="5680"/>
                    <a:pt x="2840" y="5670"/>
                    <a:pt x="2820" y="5650"/>
                  </a:cubicBezTo>
                  <a:cubicBezTo>
                    <a:pt x="2800" y="5630"/>
                    <a:pt x="2790" y="5610"/>
                    <a:pt x="2790" y="5580"/>
                  </a:cubicBezTo>
                  <a:cubicBezTo>
                    <a:pt x="2830" y="2510"/>
                    <a:pt x="4050" y="100"/>
                    <a:pt x="5580" y="100"/>
                  </a:cubicBezTo>
                  <a:cubicBezTo>
                    <a:pt x="7110" y="100"/>
                    <a:pt x="8330" y="2510"/>
                    <a:pt x="8370" y="5580"/>
                  </a:cubicBezTo>
                  <a:cubicBezTo>
                    <a:pt x="8370" y="5610"/>
                    <a:pt x="8360" y="5630"/>
                    <a:pt x="8340" y="5650"/>
                  </a:cubicBezTo>
                  <a:cubicBezTo>
                    <a:pt x="8320" y="5670"/>
                    <a:pt x="8300" y="5680"/>
                    <a:pt x="8270" y="5680"/>
                  </a:cubicBezTo>
                  <a:close/>
                  <a:moveTo>
                    <a:pt x="2990" y="5480"/>
                  </a:moveTo>
                  <a:lnTo>
                    <a:pt x="8170" y="5480"/>
                  </a:lnTo>
                  <a:cubicBezTo>
                    <a:pt x="8110" y="2620"/>
                    <a:pt x="6960" y="300"/>
                    <a:pt x="5580" y="300"/>
                  </a:cubicBezTo>
                  <a:cubicBezTo>
                    <a:pt x="4200" y="300"/>
                    <a:pt x="3050" y="2620"/>
                    <a:pt x="2990" y="54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67" name="iconfont-11894-5689857"/>
            <p:cNvSpPr>
              <a:spLocks noChangeAspect="1"/>
            </p:cNvSpPr>
            <p:nvPr userDrawn="1"/>
          </p:nvSpPr>
          <p:spPr bwMode="auto">
            <a:xfrm>
              <a:off x="22092150" y="3130556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68" name="iconfont-11894-5689857"/>
            <p:cNvSpPr>
              <a:spLocks noChangeAspect="1"/>
            </p:cNvSpPr>
            <p:nvPr userDrawn="1"/>
          </p:nvSpPr>
          <p:spPr bwMode="auto">
            <a:xfrm>
              <a:off x="23401954" y="3124157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69" name="iconfont-11894-5689857"/>
            <p:cNvSpPr>
              <a:spLocks noChangeAspect="1"/>
            </p:cNvSpPr>
            <p:nvPr userDrawn="1"/>
          </p:nvSpPr>
          <p:spPr bwMode="auto">
            <a:xfrm>
              <a:off x="24530889" y="3124157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70" name="iconfont-11894-5689857"/>
            <p:cNvSpPr>
              <a:spLocks noChangeAspect="1"/>
            </p:cNvSpPr>
            <p:nvPr userDrawn="1"/>
          </p:nvSpPr>
          <p:spPr bwMode="auto">
            <a:xfrm>
              <a:off x="25750260" y="3193410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71" name="iconfont-11894-5689857"/>
            <p:cNvSpPr>
              <a:spLocks noChangeAspect="1"/>
            </p:cNvSpPr>
            <p:nvPr userDrawn="1"/>
          </p:nvSpPr>
          <p:spPr bwMode="auto">
            <a:xfrm>
              <a:off x="26969630" y="3130259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2" name="iconfont-11894-5689857"/>
            <p:cNvSpPr>
              <a:spLocks noChangeAspect="1"/>
            </p:cNvSpPr>
            <p:nvPr userDrawn="1"/>
          </p:nvSpPr>
          <p:spPr bwMode="auto">
            <a:xfrm>
              <a:off x="28188999" y="3124157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74" name="iconfont-11894-5689857"/>
            <p:cNvSpPr>
              <a:spLocks noChangeAspect="1"/>
            </p:cNvSpPr>
            <p:nvPr userDrawn="1"/>
          </p:nvSpPr>
          <p:spPr bwMode="auto">
            <a:xfrm>
              <a:off x="13556559" y="4594574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75" name="iconfont-11894-5689857"/>
            <p:cNvSpPr>
              <a:spLocks noChangeAspect="1"/>
            </p:cNvSpPr>
            <p:nvPr userDrawn="1"/>
          </p:nvSpPr>
          <p:spPr bwMode="auto">
            <a:xfrm>
              <a:off x="14775929" y="4630243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76" name="iconfont-11894-5689857"/>
            <p:cNvSpPr>
              <a:spLocks noChangeAspect="1"/>
            </p:cNvSpPr>
            <p:nvPr userDrawn="1"/>
          </p:nvSpPr>
          <p:spPr bwMode="auto">
            <a:xfrm>
              <a:off x="15995299" y="4617245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7" name="iconfont-11894-5689857"/>
            <p:cNvSpPr>
              <a:spLocks noChangeAspect="1"/>
            </p:cNvSpPr>
            <p:nvPr userDrawn="1"/>
          </p:nvSpPr>
          <p:spPr bwMode="auto">
            <a:xfrm>
              <a:off x="17214969" y="4594574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78" name="iconfont-11894-5689857"/>
            <p:cNvSpPr>
              <a:spLocks noChangeAspect="1"/>
            </p:cNvSpPr>
            <p:nvPr userDrawn="1"/>
          </p:nvSpPr>
          <p:spPr bwMode="auto">
            <a:xfrm>
              <a:off x="18434538" y="4594574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3" name="iconfont-11894-5689857"/>
            <p:cNvSpPr>
              <a:spLocks noChangeAspect="1"/>
            </p:cNvSpPr>
            <p:nvPr userDrawn="1"/>
          </p:nvSpPr>
          <p:spPr bwMode="auto">
            <a:xfrm>
              <a:off x="19653408" y="4670772"/>
              <a:ext cx="609685" cy="457288"/>
            </a:xfrm>
            <a:custGeom>
              <a:avLst/>
              <a:gdLst>
                <a:gd name="T0" fmla="*/ 5520 w 12800"/>
                <a:gd name="T1" fmla="*/ 1120 h 9600"/>
                <a:gd name="T2" fmla="*/ 5680 w 12800"/>
                <a:gd name="T3" fmla="*/ 160 h 9600"/>
                <a:gd name="T4" fmla="*/ 9440 w 12800"/>
                <a:gd name="T5" fmla="*/ 640 h 9600"/>
                <a:gd name="T6" fmla="*/ 12080 w 12800"/>
                <a:gd name="T7" fmla="*/ 1600 h 9600"/>
                <a:gd name="T8" fmla="*/ 8880 w 12800"/>
                <a:gd name="T9" fmla="*/ 6880 h 9600"/>
                <a:gd name="T10" fmla="*/ 8720 w 12800"/>
                <a:gd name="T11" fmla="*/ 8400 h 9600"/>
                <a:gd name="T12" fmla="*/ 6560 w 12800"/>
                <a:gd name="T13" fmla="*/ 9040 h 9600"/>
                <a:gd name="T14" fmla="*/ 4720 w 12800"/>
                <a:gd name="T15" fmla="*/ 8080 h 9600"/>
                <a:gd name="T16" fmla="*/ 4080 w 12800"/>
                <a:gd name="T17" fmla="*/ 8640 h 9600"/>
                <a:gd name="T18" fmla="*/ 2080 w 12800"/>
                <a:gd name="T19" fmla="*/ 8400 h 9600"/>
                <a:gd name="T20" fmla="*/ 1280 w 12800"/>
                <a:gd name="T21" fmla="*/ 6400 h 9600"/>
                <a:gd name="T22" fmla="*/ 720 w 12800"/>
                <a:gd name="T23" fmla="*/ 4160 h 9600"/>
                <a:gd name="T24" fmla="*/ 1520 w 12800"/>
                <a:gd name="T25" fmla="*/ 2960 h 9600"/>
                <a:gd name="T26" fmla="*/ 1360 w 12800"/>
                <a:gd name="T27" fmla="*/ 3920 h 9600"/>
                <a:gd name="T28" fmla="*/ 5120 w 12800"/>
                <a:gd name="T29" fmla="*/ 1600 h 9600"/>
                <a:gd name="T30" fmla="*/ 6160 w 12800"/>
                <a:gd name="T31" fmla="*/ 1360 h 9600"/>
                <a:gd name="T32" fmla="*/ 5360 w 12800"/>
                <a:gd name="T33" fmla="*/ 1840 h 9600"/>
                <a:gd name="T34" fmla="*/ 4800 w 12800"/>
                <a:gd name="T35" fmla="*/ 4240 h 9600"/>
                <a:gd name="T36" fmla="*/ 6480 w 12800"/>
                <a:gd name="T37" fmla="*/ 5520 h 9600"/>
                <a:gd name="T38" fmla="*/ 6800 w 12800"/>
                <a:gd name="T39" fmla="*/ 5840 h 9600"/>
                <a:gd name="T40" fmla="*/ 3920 w 12800"/>
                <a:gd name="T41" fmla="*/ 5440 h 9600"/>
                <a:gd name="T42" fmla="*/ 1840 w 12800"/>
                <a:gd name="T43" fmla="*/ 4480 h 9600"/>
                <a:gd name="T44" fmla="*/ 2320 w 12800"/>
                <a:gd name="T45" fmla="*/ 8800 h 9600"/>
                <a:gd name="T46" fmla="*/ 3760 w 12800"/>
                <a:gd name="T47" fmla="*/ 8160 h 9600"/>
                <a:gd name="T48" fmla="*/ 5520 w 12800"/>
                <a:gd name="T49" fmla="*/ 7440 h 9600"/>
                <a:gd name="T50" fmla="*/ 5840 w 12800"/>
                <a:gd name="T51" fmla="*/ 7680 h 9600"/>
                <a:gd name="T52" fmla="*/ 5040 w 12800"/>
                <a:gd name="T53" fmla="*/ 8160 h 9600"/>
                <a:gd name="T54" fmla="*/ 6320 w 12800"/>
                <a:gd name="T55" fmla="*/ 8720 h 9600"/>
                <a:gd name="T56" fmla="*/ 7520 w 12800"/>
                <a:gd name="T57" fmla="*/ 7520 h 9600"/>
                <a:gd name="T58" fmla="*/ 8320 w 12800"/>
                <a:gd name="T59" fmla="*/ 5920 h 9600"/>
                <a:gd name="T60" fmla="*/ 8800 w 12800"/>
                <a:gd name="T61" fmla="*/ 5280 h 9600"/>
                <a:gd name="T62" fmla="*/ 8400 w 12800"/>
                <a:gd name="T63" fmla="*/ 5680 h 9600"/>
                <a:gd name="T64" fmla="*/ 9120 w 12800"/>
                <a:gd name="T65" fmla="*/ 5120 h 9600"/>
                <a:gd name="T66" fmla="*/ 12080 w 12800"/>
                <a:gd name="T67" fmla="*/ 2080 h 9600"/>
                <a:gd name="T68" fmla="*/ 10720 w 12800"/>
                <a:gd name="T69" fmla="*/ 4160 h 9600"/>
                <a:gd name="T70" fmla="*/ 10480 w 12800"/>
                <a:gd name="T71" fmla="*/ 3280 h 9600"/>
                <a:gd name="T72" fmla="*/ 10240 w 12800"/>
                <a:gd name="T73" fmla="*/ 3200 h 9600"/>
                <a:gd name="T74" fmla="*/ 10240 w 12800"/>
                <a:gd name="T75" fmla="*/ 2800 h 9600"/>
                <a:gd name="T76" fmla="*/ 10160 w 12800"/>
                <a:gd name="T77" fmla="*/ 2480 h 9600"/>
                <a:gd name="T78" fmla="*/ 10320 w 12800"/>
                <a:gd name="T79" fmla="*/ 2240 h 9600"/>
                <a:gd name="T80" fmla="*/ 10160 w 12800"/>
                <a:gd name="T81" fmla="*/ 1600 h 9600"/>
                <a:gd name="T82" fmla="*/ 9360 w 12800"/>
                <a:gd name="T83" fmla="*/ 960 h 9600"/>
                <a:gd name="T84" fmla="*/ 7760 w 12800"/>
                <a:gd name="T85" fmla="*/ 2720 h 9600"/>
                <a:gd name="T86" fmla="*/ 6640 w 12800"/>
                <a:gd name="T87" fmla="*/ 1920 h 9600"/>
                <a:gd name="T88" fmla="*/ 5200 w 12800"/>
                <a:gd name="T89" fmla="*/ 3360 h 9600"/>
                <a:gd name="T90" fmla="*/ 6000 w 12800"/>
                <a:gd name="T91" fmla="*/ 1920 h 9600"/>
                <a:gd name="T92" fmla="*/ 11520 w 12800"/>
                <a:gd name="T93" fmla="*/ 2400 h 9600"/>
                <a:gd name="T94" fmla="*/ 9040 w 12800"/>
                <a:gd name="T95" fmla="*/ 2720 h 9600"/>
                <a:gd name="T96" fmla="*/ 8480 w 12800"/>
                <a:gd name="T97" fmla="*/ 3680 h 9600"/>
                <a:gd name="T98" fmla="*/ 8000 w 12800"/>
                <a:gd name="T99" fmla="*/ 3360 h 9600"/>
                <a:gd name="T100" fmla="*/ 9120 w 12800"/>
                <a:gd name="T101" fmla="*/ 2480 h 9600"/>
                <a:gd name="T102" fmla="*/ 160 w 12800"/>
                <a:gd name="T103" fmla="*/ 4160 h 9600"/>
                <a:gd name="T104" fmla="*/ 480 w 12800"/>
                <a:gd name="T105" fmla="*/ 3120 h 9600"/>
                <a:gd name="T106" fmla="*/ 1120 w 12800"/>
                <a:gd name="T107" fmla="*/ 3440 h 9600"/>
                <a:gd name="T108" fmla="*/ 1120 w 12800"/>
                <a:gd name="T109" fmla="*/ 3440 h 9600"/>
                <a:gd name="T110" fmla="*/ 1200 w 12800"/>
                <a:gd name="T111" fmla="*/ 4480 h 9600"/>
                <a:gd name="T112" fmla="*/ 9760 w 12800"/>
                <a:gd name="T113" fmla="*/ 6320 h 9600"/>
                <a:gd name="T114" fmla="*/ 1360 w 12800"/>
                <a:gd name="T115" fmla="*/ 7600 h 9600"/>
                <a:gd name="T116" fmla="*/ 8000 w 12800"/>
                <a:gd name="T117" fmla="*/ 7440 h 9600"/>
                <a:gd name="T118" fmla="*/ 8400 w 12800"/>
                <a:gd name="T119" fmla="*/ 8240 h 9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800" h="9600">
                  <a:moveTo>
                    <a:pt x="6480" y="0"/>
                  </a:moveTo>
                  <a:lnTo>
                    <a:pt x="6480" y="0"/>
                  </a:lnTo>
                  <a:lnTo>
                    <a:pt x="6480" y="0"/>
                  </a:lnTo>
                  <a:cubicBezTo>
                    <a:pt x="6560" y="0"/>
                    <a:pt x="6560" y="0"/>
                    <a:pt x="6560" y="80"/>
                  </a:cubicBezTo>
                  <a:cubicBezTo>
                    <a:pt x="6560" y="80"/>
                    <a:pt x="6560" y="160"/>
                    <a:pt x="6480" y="160"/>
                  </a:cubicBezTo>
                  <a:cubicBezTo>
                    <a:pt x="6000" y="400"/>
                    <a:pt x="5840" y="560"/>
                    <a:pt x="5600" y="1040"/>
                  </a:cubicBezTo>
                  <a:lnTo>
                    <a:pt x="5520" y="1120"/>
                  </a:lnTo>
                  <a:cubicBezTo>
                    <a:pt x="5440" y="1120"/>
                    <a:pt x="5440" y="1120"/>
                    <a:pt x="5440" y="1040"/>
                  </a:cubicBezTo>
                  <a:lnTo>
                    <a:pt x="5440" y="1040"/>
                  </a:lnTo>
                  <a:cubicBezTo>
                    <a:pt x="5440" y="880"/>
                    <a:pt x="5520" y="720"/>
                    <a:pt x="5600" y="640"/>
                  </a:cubicBezTo>
                  <a:lnTo>
                    <a:pt x="5600" y="640"/>
                  </a:lnTo>
                  <a:cubicBezTo>
                    <a:pt x="5520" y="640"/>
                    <a:pt x="5520" y="640"/>
                    <a:pt x="5520" y="560"/>
                  </a:cubicBezTo>
                  <a:lnTo>
                    <a:pt x="5520" y="560"/>
                  </a:lnTo>
                  <a:cubicBezTo>
                    <a:pt x="5520" y="400"/>
                    <a:pt x="5600" y="240"/>
                    <a:pt x="5680" y="160"/>
                  </a:cubicBezTo>
                  <a:cubicBezTo>
                    <a:pt x="5760" y="80"/>
                    <a:pt x="5840" y="80"/>
                    <a:pt x="6000" y="0"/>
                  </a:cubicBezTo>
                  <a:lnTo>
                    <a:pt x="6000" y="0"/>
                  </a:lnTo>
                  <a:cubicBezTo>
                    <a:pt x="6000" y="0"/>
                    <a:pt x="6080" y="0"/>
                    <a:pt x="6080" y="80"/>
                  </a:cubicBezTo>
                  <a:cubicBezTo>
                    <a:pt x="6160" y="80"/>
                    <a:pt x="6320" y="0"/>
                    <a:pt x="6480" y="0"/>
                  </a:cubicBezTo>
                  <a:close/>
                  <a:moveTo>
                    <a:pt x="8160" y="80"/>
                  </a:moveTo>
                  <a:lnTo>
                    <a:pt x="8160" y="80"/>
                  </a:lnTo>
                  <a:cubicBezTo>
                    <a:pt x="8640" y="80"/>
                    <a:pt x="9040" y="320"/>
                    <a:pt x="9440" y="640"/>
                  </a:cubicBezTo>
                  <a:cubicBezTo>
                    <a:pt x="9760" y="880"/>
                    <a:pt x="10000" y="1120"/>
                    <a:pt x="10240" y="1280"/>
                  </a:cubicBezTo>
                  <a:cubicBezTo>
                    <a:pt x="10400" y="1360"/>
                    <a:pt x="10560" y="1440"/>
                    <a:pt x="10640" y="1600"/>
                  </a:cubicBezTo>
                  <a:cubicBezTo>
                    <a:pt x="10800" y="1760"/>
                    <a:pt x="10880" y="1920"/>
                    <a:pt x="10960" y="2160"/>
                  </a:cubicBezTo>
                  <a:cubicBezTo>
                    <a:pt x="11040" y="2160"/>
                    <a:pt x="11120" y="2080"/>
                    <a:pt x="11200" y="2000"/>
                  </a:cubicBezTo>
                  <a:cubicBezTo>
                    <a:pt x="11280" y="1920"/>
                    <a:pt x="11360" y="1760"/>
                    <a:pt x="11520" y="1600"/>
                  </a:cubicBezTo>
                  <a:lnTo>
                    <a:pt x="11920" y="1600"/>
                  </a:lnTo>
                  <a:lnTo>
                    <a:pt x="12080" y="1600"/>
                  </a:lnTo>
                  <a:cubicBezTo>
                    <a:pt x="12240" y="1680"/>
                    <a:pt x="12320" y="1760"/>
                    <a:pt x="12400" y="1840"/>
                  </a:cubicBezTo>
                  <a:cubicBezTo>
                    <a:pt x="12720" y="2480"/>
                    <a:pt x="12800" y="3440"/>
                    <a:pt x="12800" y="4080"/>
                  </a:cubicBezTo>
                  <a:cubicBezTo>
                    <a:pt x="12720" y="4800"/>
                    <a:pt x="12400" y="5520"/>
                    <a:pt x="11760" y="5920"/>
                  </a:cubicBezTo>
                  <a:cubicBezTo>
                    <a:pt x="11360" y="6160"/>
                    <a:pt x="10720" y="6160"/>
                    <a:pt x="10240" y="6080"/>
                  </a:cubicBezTo>
                  <a:cubicBezTo>
                    <a:pt x="10240" y="6160"/>
                    <a:pt x="10160" y="6240"/>
                    <a:pt x="10160" y="6320"/>
                  </a:cubicBezTo>
                  <a:cubicBezTo>
                    <a:pt x="10080" y="6720"/>
                    <a:pt x="9680" y="6960"/>
                    <a:pt x="9280" y="6960"/>
                  </a:cubicBezTo>
                  <a:cubicBezTo>
                    <a:pt x="9120" y="6960"/>
                    <a:pt x="8960" y="6960"/>
                    <a:pt x="8880" y="6880"/>
                  </a:cubicBezTo>
                  <a:cubicBezTo>
                    <a:pt x="8720" y="6800"/>
                    <a:pt x="8640" y="6720"/>
                    <a:pt x="8560" y="6640"/>
                  </a:cubicBezTo>
                  <a:lnTo>
                    <a:pt x="8320" y="6400"/>
                  </a:lnTo>
                  <a:lnTo>
                    <a:pt x="8320" y="6400"/>
                  </a:lnTo>
                  <a:cubicBezTo>
                    <a:pt x="8400" y="6560"/>
                    <a:pt x="8480" y="6720"/>
                    <a:pt x="8480" y="6880"/>
                  </a:cubicBezTo>
                  <a:cubicBezTo>
                    <a:pt x="8560" y="7040"/>
                    <a:pt x="8640" y="7200"/>
                    <a:pt x="8640" y="7440"/>
                  </a:cubicBezTo>
                  <a:lnTo>
                    <a:pt x="8640" y="8000"/>
                  </a:lnTo>
                  <a:cubicBezTo>
                    <a:pt x="8720" y="8160"/>
                    <a:pt x="8720" y="8240"/>
                    <a:pt x="8720" y="8400"/>
                  </a:cubicBezTo>
                  <a:cubicBezTo>
                    <a:pt x="8720" y="8560"/>
                    <a:pt x="8640" y="8720"/>
                    <a:pt x="8560" y="8800"/>
                  </a:cubicBezTo>
                  <a:lnTo>
                    <a:pt x="8080" y="8800"/>
                  </a:lnTo>
                  <a:lnTo>
                    <a:pt x="7440" y="8800"/>
                  </a:lnTo>
                  <a:lnTo>
                    <a:pt x="7200" y="8800"/>
                  </a:lnTo>
                  <a:cubicBezTo>
                    <a:pt x="7120" y="8800"/>
                    <a:pt x="7120" y="8800"/>
                    <a:pt x="7040" y="8720"/>
                  </a:cubicBezTo>
                  <a:cubicBezTo>
                    <a:pt x="6960" y="8800"/>
                    <a:pt x="6880" y="8880"/>
                    <a:pt x="6720" y="8960"/>
                  </a:cubicBezTo>
                  <a:cubicBezTo>
                    <a:pt x="6640" y="9040"/>
                    <a:pt x="6640" y="9040"/>
                    <a:pt x="6560" y="9040"/>
                  </a:cubicBezTo>
                  <a:lnTo>
                    <a:pt x="6480" y="9120"/>
                  </a:lnTo>
                  <a:cubicBezTo>
                    <a:pt x="6400" y="9200"/>
                    <a:pt x="6400" y="9280"/>
                    <a:pt x="6400" y="9280"/>
                  </a:cubicBezTo>
                  <a:cubicBezTo>
                    <a:pt x="6320" y="9360"/>
                    <a:pt x="6320" y="9440"/>
                    <a:pt x="6160" y="9440"/>
                  </a:cubicBezTo>
                  <a:cubicBezTo>
                    <a:pt x="5920" y="9600"/>
                    <a:pt x="5600" y="9600"/>
                    <a:pt x="5440" y="9440"/>
                  </a:cubicBezTo>
                  <a:cubicBezTo>
                    <a:pt x="5280" y="9360"/>
                    <a:pt x="5120" y="9120"/>
                    <a:pt x="4960" y="8880"/>
                  </a:cubicBezTo>
                  <a:cubicBezTo>
                    <a:pt x="4960" y="8800"/>
                    <a:pt x="4800" y="8640"/>
                    <a:pt x="4720" y="8400"/>
                  </a:cubicBezTo>
                  <a:cubicBezTo>
                    <a:pt x="4720" y="8320"/>
                    <a:pt x="4640" y="8160"/>
                    <a:pt x="4720" y="8080"/>
                  </a:cubicBezTo>
                  <a:cubicBezTo>
                    <a:pt x="4720" y="8000"/>
                    <a:pt x="4800" y="7920"/>
                    <a:pt x="4880" y="7840"/>
                  </a:cubicBezTo>
                  <a:lnTo>
                    <a:pt x="4960" y="7840"/>
                  </a:lnTo>
                  <a:lnTo>
                    <a:pt x="4320" y="7840"/>
                  </a:lnTo>
                  <a:lnTo>
                    <a:pt x="4320" y="7840"/>
                  </a:lnTo>
                  <a:lnTo>
                    <a:pt x="4320" y="8080"/>
                  </a:lnTo>
                  <a:cubicBezTo>
                    <a:pt x="4320" y="8160"/>
                    <a:pt x="4240" y="8240"/>
                    <a:pt x="4240" y="8320"/>
                  </a:cubicBezTo>
                  <a:cubicBezTo>
                    <a:pt x="4160" y="8400"/>
                    <a:pt x="4160" y="8480"/>
                    <a:pt x="4080" y="8640"/>
                  </a:cubicBezTo>
                  <a:lnTo>
                    <a:pt x="4080" y="9120"/>
                  </a:lnTo>
                  <a:cubicBezTo>
                    <a:pt x="4080" y="9280"/>
                    <a:pt x="3920" y="9360"/>
                    <a:pt x="3840" y="9360"/>
                  </a:cubicBezTo>
                  <a:cubicBezTo>
                    <a:pt x="3760" y="9440"/>
                    <a:pt x="3600" y="9440"/>
                    <a:pt x="3440" y="9360"/>
                  </a:cubicBezTo>
                  <a:cubicBezTo>
                    <a:pt x="3200" y="9360"/>
                    <a:pt x="2880" y="9280"/>
                    <a:pt x="2800" y="9200"/>
                  </a:cubicBezTo>
                  <a:cubicBezTo>
                    <a:pt x="2640" y="9120"/>
                    <a:pt x="2400" y="9120"/>
                    <a:pt x="2240" y="8960"/>
                  </a:cubicBezTo>
                  <a:cubicBezTo>
                    <a:pt x="2160" y="8880"/>
                    <a:pt x="2080" y="8800"/>
                    <a:pt x="2080" y="8720"/>
                  </a:cubicBezTo>
                  <a:lnTo>
                    <a:pt x="2080" y="8400"/>
                  </a:lnTo>
                  <a:cubicBezTo>
                    <a:pt x="2080" y="8320"/>
                    <a:pt x="2160" y="8240"/>
                    <a:pt x="2160" y="8240"/>
                  </a:cubicBezTo>
                  <a:cubicBezTo>
                    <a:pt x="2000" y="8240"/>
                    <a:pt x="1840" y="8240"/>
                    <a:pt x="1680" y="8160"/>
                  </a:cubicBezTo>
                  <a:cubicBezTo>
                    <a:pt x="1520" y="8080"/>
                    <a:pt x="1280" y="7920"/>
                    <a:pt x="1200" y="7840"/>
                  </a:cubicBezTo>
                  <a:cubicBezTo>
                    <a:pt x="880" y="7680"/>
                    <a:pt x="800" y="7440"/>
                    <a:pt x="720" y="7200"/>
                  </a:cubicBezTo>
                  <a:lnTo>
                    <a:pt x="720" y="6960"/>
                  </a:lnTo>
                  <a:cubicBezTo>
                    <a:pt x="720" y="6880"/>
                    <a:pt x="800" y="6880"/>
                    <a:pt x="880" y="6800"/>
                  </a:cubicBezTo>
                  <a:lnTo>
                    <a:pt x="1280" y="6400"/>
                  </a:lnTo>
                  <a:cubicBezTo>
                    <a:pt x="1360" y="6240"/>
                    <a:pt x="1360" y="6160"/>
                    <a:pt x="1440" y="6000"/>
                  </a:cubicBezTo>
                  <a:cubicBezTo>
                    <a:pt x="1440" y="5920"/>
                    <a:pt x="1440" y="5840"/>
                    <a:pt x="1360" y="5680"/>
                  </a:cubicBezTo>
                  <a:lnTo>
                    <a:pt x="1360" y="4720"/>
                  </a:lnTo>
                  <a:cubicBezTo>
                    <a:pt x="1280" y="4800"/>
                    <a:pt x="1200" y="4800"/>
                    <a:pt x="1120" y="4800"/>
                  </a:cubicBezTo>
                  <a:cubicBezTo>
                    <a:pt x="960" y="4720"/>
                    <a:pt x="880" y="4640"/>
                    <a:pt x="800" y="4480"/>
                  </a:cubicBezTo>
                  <a:cubicBezTo>
                    <a:pt x="800" y="4400"/>
                    <a:pt x="720" y="4320"/>
                    <a:pt x="720" y="4160"/>
                  </a:cubicBezTo>
                  <a:lnTo>
                    <a:pt x="720" y="4160"/>
                  </a:lnTo>
                  <a:cubicBezTo>
                    <a:pt x="560" y="4080"/>
                    <a:pt x="560" y="3920"/>
                    <a:pt x="560" y="3760"/>
                  </a:cubicBezTo>
                  <a:cubicBezTo>
                    <a:pt x="560" y="3600"/>
                    <a:pt x="640" y="3440"/>
                    <a:pt x="800" y="3360"/>
                  </a:cubicBezTo>
                  <a:cubicBezTo>
                    <a:pt x="880" y="3200"/>
                    <a:pt x="1040" y="3120"/>
                    <a:pt x="1120" y="3040"/>
                  </a:cubicBezTo>
                  <a:cubicBezTo>
                    <a:pt x="1280" y="2960"/>
                    <a:pt x="1360" y="2880"/>
                    <a:pt x="1440" y="2880"/>
                  </a:cubicBezTo>
                  <a:lnTo>
                    <a:pt x="1440" y="2880"/>
                  </a:lnTo>
                  <a:cubicBezTo>
                    <a:pt x="1520" y="2880"/>
                    <a:pt x="1520" y="2880"/>
                    <a:pt x="1520" y="2960"/>
                  </a:cubicBezTo>
                  <a:lnTo>
                    <a:pt x="1520" y="2960"/>
                  </a:lnTo>
                  <a:cubicBezTo>
                    <a:pt x="1520" y="3040"/>
                    <a:pt x="1440" y="3120"/>
                    <a:pt x="1440" y="3200"/>
                  </a:cubicBezTo>
                  <a:cubicBezTo>
                    <a:pt x="1600" y="3280"/>
                    <a:pt x="1600" y="3360"/>
                    <a:pt x="1600" y="3440"/>
                  </a:cubicBezTo>
                  <a:lnTo>
                    <a:pt x="1600" y="3760"/>
                  </a:lnTo>
                  <a:lnTo>
                    <a:pt x="1520" y="3840"/>
                  </a:lnTo>
                  <a:lnTo>
                    <a:pt x="1440" y="3840"/>
                  </a:lnTo>
                  <a:cubicBezTo>
                    <a:pt x="1440" y="3760"/>
                    <a:pt x="1360" y="3760"/>
                    <a:pt x="1360" y="3760"/>
                  </a:cubicBezTo>
                  <a:lnTo>
                    <a:pt x="1360" y="3920"/>
                  </a:lnTo>
                  <a:cubicBezTo>
                    <a:pt x="1360" y="4000"/>
                    <a:pt x="1280" y="4080"/>
                    <a:pt x="1200" y="4160"/>
                  </a:cubicBezTo>
                  <a:lnTo>
                    <a:pt x="1200" y="4160"/>
                  </a:lnTo>
                  <a:lnTo>
                    <a:pt x="1280" y="4160"/>
                  </a:lnTo>
                  <a:cubicBezTo>
                    <a:pt x="1440" y="4080"/>
                    <a:pt x="1600" y="3920"/>
                    <a:pt x="1760" y="3760"/>
                  </a:cubicBezTo>
                  <a:cubicBezTo>
                    <a:pt x="1920" y="3440"/>
                    <a:pt x="2080" y="3200"/>
                    <a:pt x="2400" y="2960"/>
                  </a:cubicBezTo>
                  <a:cubicBezTo>
                    <a:pt x="3040" y="2400"/>
                    <a:pt x="3680" y="2160"/>
                    <a:pt x="4720" y="2000"/>
                  </a:cubicBezTo>
                  <a:cubicBezTo>
                    <a:pt x="4800" y="1840"/>
                    <a:pt x="4960" y="1760"/>
                    <a:pt x="5120" y="1600"/>
                  </a:cubicBezTo>
                  <a:cubicBezTo>
                    <a:pt x="5280" y="1440"/>
                    <a:pt x="5520" y="1360"/>
                    <a:pt x="5680" y="1360"/>
                  </a:cubicBezTo>
                  <a:cubicBezTo>
                    <a:pt x="6000" y="960"/>
                    <a:pt x="6240" y="640"/>
                    <a:pt x="6800" y="400"/>
                  </a:cubicBezTo>
                  <a:cubicBezTo>
                    <a:pt x="7280" y="160"/>
                    <a:pt x="7760" y="80"/>
                    <a:pt x="8160" y="80"/>
                  </a:cubicBezTo>
                  <a:close/>
                  <a:moveTo>
                    <a:pt x="8160" y="480"/>
                  </a:moveTo>
                  <a:lnTo>
                    <a:pt x="8160" y="480"/>
                  </a:lnTo>
                  <a:cubicBezTo>
                    <a:pt x="7760" y="480"/>
                    <a:pt x="7360" y="560"/>
                    <a:pt x="6800" y="800"/>
                  </a:cubicBezTo>
                  <a:cubicBezTo>
                    <a:pt x="6480" y="960"/>
                    <a:pt x="6320" y="1120"/>
                    <a:pt x="6160" y="1360"/>
                  </a:cubicBezTo>
                  <a:lnTo>
                    <a:pt x="6800" y="1360"/>
                  </a:lnTo>
                  <a:lnTo>
                    <a:pt x="6800" y="1360"/>
                  </a:lnTo>
                  <a:cubicBezTo>
                    <a:pt x="6880" y="1360"/>
                    <a:pt x="6880" y="1360"/>
                    <a:pt x="6880" y="1440"/>
                  </a:cubicBezTo>
                  <a:cubicBezTo>
                    <a:pt x="6880" y="1440"/>
                    <a:pt x="6880" y="1520"/>
                    <a:pt x="6800" y="1520"/>
                  </a:cubicBezTo>
                  <a:cubicBezTo>
                    <a:pt x="6480" y="1520"/>
                    <a:pt x="6240" y="1600"/>
                    <a:pt x="5920" y="1600"/>
                  </a:cubicBezTo>
                  <a:cubicBezTo>
                    <a:pt x="5760" y="1600"/>
                    <a:pt x="5680" y="1600"/>
                    <a:pt x="5600" y="1680"/>
                  </a:cubicBezTo>
                  <a:cubicBezTo>
                    <a:pt x="5520" y="1680"/>
                    <a:pt x="5440" y="1760"/>
                    <a:pt x="5360" y="1840"/>
                  </a:cubicBezTo>
                  <a:cubicBezTo>
                    <a:pt x="4880" y="2320"/>
                    <a:pt x="4560" y="2800"/>
                    <a:pt x="4160" y="3200"/>
                  </a:cubicBezTo>
                  <a:cubicBezTo>
                    <a:pt x="3920" y="3440"/>
                    <a:pt x="3840" y="3680"/>
                    <a:pt x="3680" y="4000"/>
                  </a:cubicBezTo>
                  <a:cubicBezTo>
                    <a:pt x="3600" y="4080"/>
                    <a:pt x="3600" y="4160"/>
                    <a:pt x="3600" y="4240"/>
                  </a:cubicBezTo>
                  <a:cubicBezTo>
                    <a:pt x="3600" y="4320"/>
                    <a:pt x="3680" y="4400"/>
                    <a:pt x="3760" y="4480"/>
                  </a:cubicBezTo>
                  <a:cubicBezTo>
                    <a:pt x="3840" y="4720"/>
                    <a:pt x="4000" y="4880"/>
                    <a:pt x="4080" y="5040"/>
                  </a:cubicBezTo>
                  <a:cubicBezTo>
                    <a:pt x="4240" y="4800"/>
                    <a:pt x="4480" y="4560"/>
                    <a:pt x="4720" y="4240"/>
                  </a:cubicBezTo>
                  <a:lnTo>
                    <a:pt x="4800" y="4240"/>
                  </a:lnTo>
                  <a:cubicBezTo>
                    <a:pt x="4800" y="4160"/>
                    <a:pt x="4800" y="4240"/>
                    <a:pt x="4800" y="4240"/>
                  </a:cubicBezTo>
                  <a:lnTo>
                    <a:pt x="4800" y="4240"/>
                  </a:lnTo>
                  <a:cubicBezTo>
                    <a:pt x="4560" y="4640"/>
                    <a:pt x="4400" y="4960"/>
                    <a:pt x="4240" y="5280"/>
                  </a:cubicBezTo>
                  <a:cubicBezTo>
                    <a:pt x="4160" y="5520"/>
                    <a:pt x="4080" y="5600"/>
                    <a:pt x="4080" y="5760"/>
                  </a:cubicBezTo>
                  <a:cubicBezTo>
                    <a:pt x="4240" y="6000"/>
                    <a:pt x="4400" y="6080"/>
                    <a:pt x="4560" y="6160"/>
                  </a:cubicBezTo>
                  <a:cubicBezTo>
                    <a:pt x="4720" y="6240"/>
                    <a:pt x="4960" y="6240"/>
                    <a:pt x="5120" y="6080"/>
                  </a:cubicBezTo>
                  <a:cubicBezTo>
                    <a:pt x="5520" y="5840"/>
                    <a:pt x="6000" y="5520"/>
                    <a:pt x="6480" y="5520"/>
                  </a:cubicBezTo>
                  <a:cubicBezTo>
                    <a:pt x="6640" y="5120"/>
                    <a:pt x="6640" y="4560"/>
                    <a:pt x="6560" y="4000"/>
                  </a:cubicBezTo>
                  <a:cubicBezTo>
                    <a:pt x="6480" y="3600"/>
                    <a:pt x="6480" y="3200"/>
                    <a:pt x="6560" y="2720"/>
                  </a:cubicBezTo>
                  <a:lnTo>
                    <a:pt x="6640" y="2640"/>
                  </a:lnTo>
                  <a:cubicBezTo>
                    <a:pt x="6720" y="2640"/>
                    <a:pt x="6720" y="2640"/>
                    <a:pt x="6720" y="2720"/>
                  </a:cubicBezTo>
                  <a:lnTo>
                    <a:pt x="6720" y="2720"/>
                  </a:lnTo>
                  <a:cubicBezTo>
                    <a:pt x="6720" y="3120"/>
                    <a:pt x="6800" y="3520"/>
                    <a:pt x="6880" y="4000"/>
                  </a:cubicBezTo>
                  <a:cubicBezTo>
                    <a:pt x="7040" y="4640"/>
                    <a:pt x="7040" y="5200"/>
                    <a:pt x="6800" y="5840"/>
                  </a:cubicBezTo>
                  <a:lnTo>
                    <a:pt x="6720" y="5920"/>
                  </a:lnTo>
                  <a:cubicBezTo>
                    <a:pt x="6160" y="5920"/>
                    <a:pt x="5760" y="6240"/>
                    <a:pt x="5200" y="6480"/>
                  </a:cubicBezTo>
                  <a:cubicBezTo>
                    <a:pt x="4960" y="6640"/>
                    <a:pt x="4720" y="6640"/>
                    <a:pt x="4480" y="6560"/>
                  </a:cubicBezTo>
                  <a:cubicBezTo>
                    <a:pt x="4160" y="6480"/>
                    <a:pt x="4000" y="6320"/>
                    <a:pt x="3760" y="6000"/>
                  </a:cubicBezTo>
                  <a:lnTo>
                    <a:pt x="3760" y="5920"/>
                  </a:lnTo>
                  <a:lnTo>
                    <a:pt x="3760" y="5920"/>
                  </a:lnTo>
                  <a:cubicBezTo>
                    <a:pt x="3760" y="5680"/>
                    <a:pt x="3840" y="5600"/>
                    <a:pt x="3920" y="5440"/>
                  </a:cubicBezTo>
                  <a:cubicBezTo>
                    <a:pt x="3680" y="5120"/>
                    <a:pt x="3600" y="5040"/>
                    <a:pt x="3440" y="4720"/>
                  </a:cubicBezTo>
                  <a:cubicBezTo>
                    <a:pt x="3280" y="4560"/>
                    <a:pt x="3200" y="4400"/>
                    <a:pt x="3200" y="4240"/>
                  </a:cubicBezTo>
                  <a:cubicBezTo>
                    <a:pt x="3200" y="4160"/>
                    <a:pt x="3200" y="4000"/>
                    <a:pt x="3360" y="3760"/>
                  </a:cubicBezTo>
                  <a:cubicBezTo>
                    <a:pt x="3520" y="3520"/>
                    <a:pt x="3600" y="3200"/>
                    <a:pt x="3840" y="2960"/>
                  </a:cubicBezTo>
                  <a:cubicBezTo>
                    <a:pt x="4000" y="2800"/>
                    <a:pt x="4160" y="2640"/>
                    <a:pt x="4240" y="2480"/>
                  </a:cubicBezTo>
                  <a:cubicBezTo>
                    <a:pt x="3600" y="2560"/>
                    <a:pt x="3120" y="2800"/>
                    <a:pt x="2640" y="3200"/>
                  </a:cubicBezTo>
                  <a:cubicBezTo>
                    <a:pt x="2240" y="3520"/>
                    <a:pt x="2000" y="4000"/>
                    <a:pt x="1840" y="4480"/>
                  </a:cubicBezTo>
                  <a:cubicBezTo>
                    <a:pt x="1680" y="4800"/>
                    <a:pt x="1680" y="5120"/>
                    <a:pt x="1680" y="5680"/>
                  </a:cubicBezTo>
                  <a:cubicBezTo>
                    <a:pt x="1760" y="6320"/>
                    <a:pt x="2080" y="7120"/>
                    <a:pt x="2480" y="7680"/>
                  </a:cubicBezTo>
                  <a:lnTo>
                    <a:pt x="2480" y="7760"/>
                  </a:lnTo>
                  <a:lnTo>
                    <a:pt x="2480" y="7760"/>
                  </a:lnTo>
                  <a:cubicBezTo>
                    <a:pt x="2400" y="8080"/>
                    <a:pt x="2400" y="8400"/>
                    <a:pt x="2240" y="8640"/>
                  </a:cubicBezTo>
                  <a:lnTo>
                    <a:pt x="2240" y="8720"/>
                  </a:lnTo>
                  <a:lnTo>
                    <a:pt x="2320" y="8800"/>
                  </a:lnTo>
                  <a:cubicBezTo>
                    <a:pt x="2400" y="8880"/>
                    <a:pt x="2560" y="8880"/>
                    <a:pt x="2720" y="8960"/>
                  </a:cubicBezTo>
                  <a:cubicBezTo>
                    <a:pt x="2800" y="8960"/>
                    <a:pt x="3040" y="9040"/>
                    <a:pt x="3200" y="9040"/>
                  </a:cubicBezTo>
                  <a:lnTo>
                    <a:pt x="3440" y="9040"/>
                  </a:lnTo>
                  <a:cubicBezTo>
                    <a:pt x="3520" y="9040"/>
                    <a:pt x="3520" y="9040"/>
                    <a:pt x="3520" y="8960"/>
                  </a:cubicBezTo>
                  <a:lnTo>
                    <a:pt x="3520" y="8560"/>
                  </a:lnTo>
                  <a:lnTo>
                    <a:pt x="3520" y="8560"/>
                  </a:lnTo>
                  <a:cubicBezTo>
                    <a:pt x="3680" y="8320"/>
                    <a:pt x="3680" y="8320"/>
                    <a:pt x="3760" y="8160"/>
                  </a:cubicBezTo>
                  <a:cubicBezTo>
                    <a:pt x="4000" y="8080"/>
                    <a:pt x="4000" y="8000"/>
                    <a:pt x="4000" y="7840"/>
                  </a:cubicBezTo>
                  <a:lnTo>
                    <a:pt x="4000" y="7040"/>
                  </a:lnTo>
                  <a:lnTo>
                    <a:pt x="4000" y="7040"/>
                  </a:lnTo>
                  <a:cubicBezTo>
                    <a:pt x="4000" y="6960"/>
                    <a:pt x="4000" y="6960"/>
                    <a:pt x="4080" y="6960"/>
                  </a:cubicBezTo>
                  <a:cubicBezTo>
                    <a:pt x="4080" y="6960"/>
                    <a:pt x="4160" y="6960"/>
                    <a:pt x="4160" y="7040"/>
                  </a:cubicBezTo>
                  <a:cubicBezTo>
                    <a:pt x="4160" y="7120"/>
                    <a:pt x="4240" y="7280"/>
                    <a:pt x="4240" y="7440"/>
                  </a:cubicBezTo>
                  <a:cubicBezTo>
                    <a:pt x="4640" y="7520"/>
                    <a:pt x="5120" y="7520"/>
                    <a:pt x="5520" y="7440"/>
                  </a:cubicBezTo>
                  <a:lnTo>
                    <a:pt x="5520" y="7360"/>
                  </a:lnTo>
                  <a:cubicBezTo>
                    <a:pt x="5520" y="7200"/>
                    <a:pt x="5600" y="7120"/>
                    <a:pt x="5680" y="7040"/>
                  </a:cubicBezTo>
                  <a:lnTo>
                    <a:pt x="5760" y="6960"/>
                  </a:lnTo>
                  <a:cubicBezTo>
                    <a:pt x="5840" y="6960"/>
                    <a:pt x="5840" y="6960"/>
                    <a:pt x="5840" y="7040"/>
                  </a:cubicBezTo>
                  <a:lnTo>
                    <a:pt x="5840" y="7040"/>
                  </a:lnTo>
                  <a:lnTo>
                    <a:pt x="5840" y="7360"/>
                  </a:lnTo>
                  <a:lnTo>
                    <a:pt x="5840" y="7680"/>
                  </a:lnTo>
                  <a:lnTo>
                    <a:pt x="5840" y="7840"/>
                  </a:lnTo>
                  <a:lnTo>
                    <a:pt x="5840" y="7840"/>
                  </a:lnTo>
                  <a:cubicBezTo>
                    <a:pt x="5840" y="7920"/>
                    <a:pt x="5840" y="7920"/>
                    <a:pt x="5760" y="7920"/>
                  </a:cubicBezTo>
                  <a:cubicBezTo>
                    <a:pt x="5760" y="7920"/>
                    <a:pt x="5680" y="7920"/>
                    <a:pt x="5680" y="7840"/>
                  </a:cubicBezTo>
                  <a:lnTo>
                    <a:pt x="5600" y="7760"/>
                  </a:lnTo>
                  <a:cubicBezTo>
                    <a:pt x="5440" y="7840"/>
                    <a:pt x="5280" y="7920"/>
                    <a:pt x="5120" y="8080"/>
                  </a:cubicBezTo>
                  <a:lnTo>
                    <a:pt x="5040" y="8160"/>
                  </a:lnTo>
                  <a:lnTo>
                    <a:pt x="5040" y="8320"/>
                  </a:lnTo>
                  <a:cubicBezTo>
                    <a:pt x="5120" y="8480"/>
                    <a:pt x="5200" y="8560"/>
                    <a:pt x="5200" y="8640"/>
                  </a:cubicBezTo>
                  <a:cubicBezTo>
                    <a:pt x="5280" y="8800"/>
                    <a:pt x="5440" y="8960"/>
                    <a:pt x="5520" y="9040"/>
                  </a:cubicBezTo>
                  <a:cubicBezTo>
                    <a:pt x="5600" y="9120"/>
                    <a:pt x="5760" y="9200"/>
                    <a:pt x="5920" y="9120"/>
                  </a:cubicBezTo>
                  <a:cubicBezTo>
                    <a:pt x="6000" y="9040"/>
                    <a:pt x="6080" y="8960"/>
                    <a:pt x="6160" y="8800"/>
                  </a:cubicBezTo>
                  <a:lnTo>
                    <a:pt x="6160" y="8800"/>
                  </a:lnTo>
                  <a:cubicBezTo>
                    <a:pt x="6160" y="8800"/>
                    <a:pt x="6240" y="8720"/>
                    <a:pt x="6320" y="8720"/>
                  </a:cubicBezTo>
                  <a:cubicBezTo>
                    <a:pt x="6400" y="8640"/>
                    <a:pt x="6480" y="8560"/>
                    <a:pt x="6560" y="8560"/>
                  </a:cubicBezTo>
                  <a:cubicBezTo>
                    <a:pt x="6640" y="8480"/>
                    <a:pt x="6720" y="8400"/>
                    <a:pt x="6800" y="8400"/>
                  </a:cubicBezTo>
                  <a:cubicBezTo>
                    <a:pt x="6880" y="8320"/>
                    <a:pt x="6880" y="8320"/>
                    <a:pt x="6960" y="8320"/>
                  </a:cubicBezTo>
                  <a:lnTo>
                    <a:pt x="7040" y="8240"/>
                  </a:lnTo>
                  <a:lnTo>
                    <a:pt x="7120" y="8160"/>
                  </a:lnTo>
                  <a:cubicBezTo>
                    <a:pt x="7200" y="8000"/>
                    <a:pt x="7280" y="7920"/>
                    <a:pt x="7360" y="7840"/>
                  </a:cubicBezTo>
                  <a:cubicBezTo>
                    <a:pt x="7440" y="7760"/>
                    <a:pt x="7520" y="7600"/>
                    <a:pt x="7520" y="7520"/>
                  </a:cubicBezTo>
                  <a:cubicBezTo>
                    <a:pt x="7600" y="7440"/>
                    <a:pt x="7600" y="7360"/>
                    <a:pt x="7600" y="7280"/>
                  </a:cubicBezTo>
                  <a:cubicBezTo>
                    <a:pt x="7760" y="6880"/>
                    <a:pt x="7840" y="6560"/>
                    <a:pt x="7920" y="6160"/>
                  </a:cubicBezTo>
                  <a:cubicBezTo>
                    <a:pt x="7680" y="6000"/>
                    <a:pt x="7520" y="5920"/>
                    <a:pt x="7280" y="5680"/>
                  </a:cubicBezTo>
                  <a:lnTo>
                    <a:pt x="7280" y="5600"/>
                  </a:lnTo>
                  <a:cubicBezTo>
                    <a:pt x="7280" y="5520"/>
                    <a:pt x="7280" y="5520"/>
                    <a:pt x="7360" y="5520"/>
                  </a:cubicBezTo>
                  <a:lnTo>
                    <a:pt x="7440" y="5520"/>
                  </a:lnTo>
                  <a:cubicBezTo>
                    <a:pt x="7760" y="5760"/>
                    <a:pt x="8000" y="5840"/>
                    <a:pt x="8320" y="5920"/>
                  </a:cubicBezTo>
                  <a:lnTo>
                    <a:pt x="8320" y="5920"/>
                  </a:lnTo>
                  <a:lnTo>
                    <a:pt x="8640" y="6240"/>
                  </a:lnTo>
                  <a:lnTo>
                    <a:pt x="8880" y="6480"/>
                  </a:lnTo>
                  <a:lnTo>
                    <a:pt x="8800" y="6480"/>
                  </a:lnTo>
                  <a:cubicBezTo>
                    <a:pt x="8720" y="6400"/>
                    <a:pt x="8720" y="6320"/>
                    <a:pt x="8720" y="6240"/>
                  </a:cubicBezTo>
                  <a:cubicBezTo>
                    <a:pt x="8720" y="6080"/>
                    <a:pt x="8800" y="5920"/>
                    <a:pt x="8800" y="5760"/>
                  </a:cubicBezTo>
                  <a:cubicBezTo>
                    <a:pt x="8880" y="5600"/>
                    <a:pt x="8800" y="5440"/>
                    <a:pt x="8800" y="5280"/>
                  </a:cubicBezTo>
                  <a:lnTo>
                    <a:pt x="8800" y="5280"/>
                  </a:lnTo>
                  <a:lnTo>
                    <a:pt x="8800" y="5280"/>
                  </a:lnTo>
                  <a:lnTo>
                    <a:pt x="8800" y="5280"/>
                  </a:lnTo>
                  <a:lnTo>
                    <a:pt x="8720" y="5360"/>
                  </a:lnTo>
                  <a:cubicBezTo>
                    <a:pt x="8720" y="5440"/>
                    <a:pt x="8640" y="5520"/>
                    <a:pt x="8560" y="5680"/>
                  </a:cubicBezTo>
                  <a:lnTo>
                    <a:pt x="8480" y="5760"/>
                  </a:lnTo>
                  <a:cubicBezTo>
                    <a:pt x="8400" y="5760"/>
                    <a:pt x="8400" y="5760"/>
                    <a:pt x="8400" y="5680"/>
                  </a:cubicBezTo>
                  <a:lnTo>
                    <a:pt x="8400" y="5680"/>
                  </a:lnTo>
                  <a:cubicBezTo>
                    <a:pt x="8400" y="5600"/>
                    <a:pt x="8400" y="5520"/>
                    <a:pt x="8480" y="5440"/>
                  </a:cubicBezTo>
                  <a:cubicBezTo>
                    <a:pt x="8480" y="5360"/>
                    <a:pt x="8480" y="5280"/>
                    <a:pt x="8560" y="5200"/>
                  </a:cubicBezTo>
                  <a:cubicBezTo>
                    <a:pt x="8640" y="5120"/>
                    <a:pt x="8720" y="5120"/>
                    <a:pt x="8800" y="5120"/>
                  </a:cubicBezTo>
                  <a:cubicBezTo>
                    <a:pt x="8880" y="5120"/>
                    <a:pt x="8960" y="5120"/>
                    <a:pt x="9040" y="5040"/>
                  </a:cubicBezTo>
                  <a:lnTo>
                    <a:pt x="9040" y="5040"/>
                  </a:lnTo>
                  <a:cubicBezTo>
                    <a:pt x="9120" y="5040"/>
                    <a:pt x="9120" y="5040"/>
                    <a:pt x="9120" y="5120"/>
                  </a:cubicBezTo>
                  <a:lnTo>
                    <a:pt x="9120" y="5200"/>
                  </a:lnTo>
                  <a:cubicBezTo>
                    <a:pt x="9040" y="5200"/>
                    <a:pt x="8960" y="5280"/>
                    <a:pt x="8880" y="5280"/>
                  </a:cubicBezTo>
                  <a:lnTo>
                    <a:pt x="8880" y="5280"/>
                  </a:lnTo>
                  <a:cubicBezTo>
                    <a:pt x="9040" y="5360"/>
                    <a:pt x="9120" y="5440"/>
                    <a:pt x="9280" y="5440"/>
                  </a:cubicBezTo>
                  <a:cubicBezTo>
                    <a:pt x="10000" y="5680"/>
                    <a:pt x="10720" y="5920"/>
                    <a:pt x="11440" y="5520"/>
                  </a:cubicBezTo>
                  <a:cubicBezTo>
                    <a:pt x="11920" y="5200"/>
                    <a:pt x="12240" y="4560"/>
                    <a:pt x="12320" y="4000"/>
                  </a:cubicBezTo>
                  <a:cubicBezTo>
                    <a:pt x="12400" y="3440"/>
                    <a:pt x="12240" y="2640"/>
                    <a:pt x="12080" y="2080"/>
                  </a:cubicBezTo>
                  <a:cubicBezTo>
                    <a:pt x="12080" y="2080"/>
                    <a:pt x="12080" y="2000"/>
                    <a:pt x="12000" y="2000"/>
                  </a:cubicBezTo>
                  <a:cubicBezTo>
                    <a:pt x="11920" y="2320"/>
                    <a:pt x="11760" y="2560"/>
                    <a:pt x="11360" y="2640"/>
                  </a:cubicBezTo>
                  <a:lnTo>
                    <a:pt x="11120" y="2640"/>
                  </a:lnTo>
                  <a:cubicBezTo>
                    <a:pt x="11040" y="2640"/>
                    <a:pt x="11040" y="2640"/>
                    <a:pt x="10960" y="2560"/>
                  </a:cubicBezTo>
                  <a:lnTo>
                    <a:pt x="10960" y="2640"/>
                  </a:lnTo>
                  <a:cubicBezTo>
                    <a:pt x="11040" y="2880"/>
                    <a:pt x="11040" y="3200"/>
                    <a:pt x="10960" y="3440"/>
                  </a:cubicBezTo>
                  <a:cubicBezTo>
                    <a:pt x="10880" y="3680"/>
                    <a:pt x="10880" y="3920"/>
                    <a:pt x="10720" y="4160"/>
                  </a:cubicBezTo>
                  <a:lnTo>
                    <a:pt x="10640" y="4160"/>
                  </a:lnTo>
                  <a:cubicBezTo>
                    <a:pt x="10560" y="4160"/>
                    <a:pt x="10560" y="4160"/>
                    <a:pt x="10560" y="4080"/>
                  </a:cubicBezTo>
                  <a:lnTo>
                    <a:pt x="10560" y="4080"/>
                  </a:lnTo>
                  <a:cubicBezTo>
                    <a:pt x="10560" y="4000"/>
                    <a:pt x="10640" y="3680"/>
                    <a:pt x="10640" y="3440"/>
                  </a:cubicBezTo>
                  <a:lnTo>
                    <a:pt x="10640" y="3120"/>
                  </a:lnTo>
                  <a:cubicBezTo>
                    <a:pt x="10640" y="3120"/>
                    <a:pt x="10560" y="3120"/>
                    <a:pt x="10560" y="3200"/>
                  </a:cubicBezTo>
                  <a:cubicBezTo>
                    <a:pt x="10480" y="3200"/>
                    <a:pt x="10480" y="3280"/>
                    <a:pt x="10480" y="3280"/>
                  </a:cubicBezTo>
                  <a:cubicBezTo>
                    <a:pt x="10400" y="3520"/>
                    <a:pt x="10400" y="3680"/>
                    <a:pt x="10240" y="3920"/>
                  </a:cubicBezTo>
                  <a:lnTo>
                    <a:pt x="10160" y="4000"/>
                  </a:lnTo>
                  <a:cubicBezTo>
                    <a:pt x="10080" y="4000"/>
                    <a:pt x="10080" y="4000"/>
                    <a:pt x="10080" y="3920"/>
                  </a:cubicBezTo>
                  <a:lnTo>
                    <a:pt x="10080" y="3920"/>
                  </a:lnTo>
                  <a:cubicBezTo>
                    <a:pt x="10160" y="3840"/>
                    <a:pt x="10160" y="3680"/>
                    <a:pt x="10160" y="3600"/>
                  </a:cubicBezTo>
                  <a:cubicBezTo>
                    <a:pt x="10160" y="3520"/>
                    <a:pt x="10160" y="3360"/>
                    <a:pt x="10240" y="3200"/>
                  </a:cubicBezTo>
                  <a:lnTo>
                    <a:pt x="10240" y="3200"/>
                  </a:lnTo>
                  <a:cubicBezTo>
                    <a:pt x="10160" y="3200"/>
                    <a:pt x="10160" y="3280"/>
                    <a:pt x="10080" y="3360"/>
                  </a:cubicBezTo>
                  <a:cubicBezTo>
                    <a:pt x="10000" y="3440"/>
                    <a:pt x="10000" y="3600"/>
                    <a:pt x="9840" y="3760"/>
                  </a:cubicBezTo>
                  <a:lnTo>
                    <a:pt x="9760" y="3760"/>
                  </a:lnTo>
                  <a:cubicBezTo>
                    <a:pt x="9680" y="3760"/>
                    <a:pt x="9680" y="3760"/>
                    <a:pt x="9680" y="3680"/>
                  </a:cubicBezTo>
                  <a:lnTo>
                    <a:pt x="9680" y="3600"/>
                  </a:lnTo>
                  <a:cubicBezTo>
                    <a:pt x="9760" y="3440"/>
                    <a:pt x="9760" y="3280"/>
                    <a:pt x="9840" y="3120"/>
                  </a:cubicBezTo>
                  <a:cubicBezTo>
                    <a:pt x="9920" y="2960"/>
                    <a:pt x="10000" y="2880"/>
                    <a:pt x="10240" y="2800"/>
                  </a:cubicBezTo>
                  <a:lnTo>
                    <a:pt x="10400" y="2800"/>
                  </a:lnTo>
                  <a:lnTo>
                    <a:pt x="10080" y="2800"/>
                  </a:lnTo>
                  <a:lnTo>
                    <a:pt x="10080" y="2800"/>
                  </a:lnTo>
                  <a:cubicBezTo>
                    <a:pt x="10000" y="2800"/>
                    <a:pt x="10000" y="2800"/>
                    <a:pt x="10000" y="2720"/>
                  </a:cubicBezTo>
                  <a:cubicBezTo>
                    <a:pt x="10000" y="2720"/>
                    <a:pt x="10000" y="2640"/>
                    <a:pt x="10080" y="2640"/>
                  </a:cubicBezTo>
                  <a:lnTo>
                    <a:pt x="10160" y="2640"/>
                  </a:lnTo>
                  <a:cubicBezTo>
                    <a:pt x="10160" y="2560"/>
                    <a:pt x="10080" y="2560"/>
                    <a:pt x="10160" y="2480"/>
                  </a:cubicBezTo>
                  <a:lnTo>
                    <a:pt x="10160" y="2480"/>
                  </a:lnTo>
                  <a:lnTo>
                    <a:pt x="10160" y="2480"/>
                  </a:lnTo>
                  <a:lnTo>
                    <a:pt x="10000" y="2480"/>
                  </a:lnTo>
                  <a:lnTo>
                    <a:pt x="9920" y="2400"/>
                  </a:lnTo>
                  <a:cubicBezTo>
                    <a:pt x="9920" y="2400"/>
                    <a:pt x="9920" y="2320"/>
                    <a:pt x="10000" y="2320"/>
                  </a:cubicBezTo>
                  <a:cubicBezTo>
                    <a:pt x="10080" y="2320"/>
                    <a:pt x="10240" y="2240"/>
                    <a:pt x="10320" y="2240"/>
                  </a:cubicBezTo>
                  <a:lnTo>
                    <a:pt x="10320" y="2240"/>
                  </a:lnTo>
                  <a:lnTo>
                    <a:pt x="10320" y="2240"/>
                  </a:lnTo>
                  <a:lnTo>
                    <a:pt x="10320" y="2240"/>
                  </a:lnTo>
                  <a:lnTo>
                    <a:pt x="10320" y="2240"/>
                  </a:lnTo>
                  <a:cubicBezTo>
                    <a:pt x="10400" y="2240"/>
                    <a:pt x="10480" y="2160"/>
                    <a:pt x="10560" y="2160"/>
                  </a:cubicBezTo>
                  <a:lnTo>
                    <a:pt x="10640" y="2160"/>
                  </a:lnTo>
                  <a:cubicBezTo>
                    <a:pt x="10560" y="2080"/>
                    <a:pt x="10560" y="2000"/>
                    <a:pt x="10480" y="1840"/>
                  </a:cubicBezTo>
                  <a:cubicBezTo>
                    <a:pt x="10400" y="1760"/>
                    <a:pt x="10320" y="1760"/>
                    <a:pt x="10160" y="1600"/>
                  </a:cubicBezTo>
                  <a:cubicBezTo>
                    <a:pt x="10160" y="1600"/>
                    <a:pt x="10080" y="1600"/>
                    <a:pt x="10080" y="1520"/>
                  </a:cubicBezTo>
                  <a:lnTo>
                    <a:pt x="9760" y="1520"/>
                  </a:lnTo>
                  <a:lnTo>
                    <a:pt x="9760" y="1520"/>
                  </a:lnTo>
                  <a:cubicBezTo>
                    <a:pt x="9680" y="1520"/>
                    <a:pt x="9680" y="1520"/>
                    <a:pt x="9680" y="1440"/>
                  </a:cubicBezTo>
                  <a:cubicBezTo>
                    <a:pt x="9680" y="1440"/>
                    <a:pt x="9680" y="1360"/>
                    <a:pt x="9760" y="1360"/>
                  </a:cubicBezTo>
                  <a:lnTo>
                    <a:pt x="9840" y="1360"/>
                  </a:lnTo>
                  <a:cubicBezTo>
                    <a:pt x="9680" y="1200"/>
                    <a:pt x="9520" y="1120"/>
                    <a:pt x="9360" y="960"/>
                  </a:cubicBezTo>
                  <a:cubicBezTo>
                    <a:pt x="8960" y="640"/>
                    <a:pt x="8560" y="480"/>
                    <a:pt x="8160" y="480"/>
                  </a:cubicBezTo>
                  <a:close/>
                  <a:moveTo>
                    <a:pt x="8400" y="1760"/>
                  </a:moveTo>
                  <a:lnTo>
                    <a:pt x="8400" y="1760"/>
                  </a:lnTo>
                  <a:cubicBezTo>
                    <a:pt x="8480" y="1760"/>
                    <a:pt x="8480" y="1760"/>
                    <a:pt x="8480" y="1840"/>
                  </a:cubicBezTo>
                  <a:cubicBezTo>
                    <a:pt x="8480" y="1840"/>
                    <a:pt x="8480" y="1920"/>
                    <a:pt x="8400" y="1920"/>
                  </a:cubicBezTo>
                  <a:cubicBezTo>
                    <a:pt x="8000" y="2080"/>
                    <a:pt x="7920" y="2320"/>
                    <a:pt x="7840" y="2640"/>
                  </a:cubicBezTo>
                  <a:lnTo>
                    <a:pt x="7760" y="2720"/>
                  </a:lnTo>
                  <a:cubicBezTo>
                    <a:pt x="7760" y="2720"/>
                    <a:pt x="7680" y="2720"/>
                    <a:pt x="7680" y="2640"/>
                  </a:cubicBezTo>
                  <a:cubicBezTo>
                    <a:pt x="7680" y="2480"/>
                    <a:pt x="7680" y="2240"/>
                    <a:pt x="7760" y="2080"/>
                  </a:cubicBezTo>
                  <a:cubicBezTo>
                    <a:pt x="7840" y="1920"/>
                    <a:pt x="8080" y="1840"/>
                    <a:pt x="8400" y="1760"/>
                  </a:cubicBezTo>
                  <a:close/>
                  <a:moveTo>
                    <a:pt x="6640" y="1760"/>
                  </a:moveTo>
                  <a:lnTo>
                    <a:pt x="6640" y="1760"/>
                  </a:lnTo>
                  <a:cubicBezTo>
                    <a:pt x="6720" y="1760"/>
                    <a:pt x="6720" y="1760"/>
                    <a:pt x="6720" y="1840"/>
                  </a:cubicBezTo>
                  <a:cubicBezTo>
                    <a:pt x="6720" y="1840"/>
                    <a:pt x="6720" y="1920"/>
                    <a:pt x="6640" y="1920"/>
                  </a:cubicBezTo>
                  <a:cubicBezTo>
                    <a:pt x="6480" y="2000"/>
                    <a:pt x="6320" y="2080"/>
                    <a:pt x="6080" y="2160"/>
                  </a:cubicBezTo>
                  <a:cubicBezTo>
                    <a:pt x="5920" y="2400"/>
                    <a:pt x="5840" y="2480"/>
                    <a:pt x="5840" y="2800"/>
                  </a:cubicBezTo>
                  <a:lnTo>
                    <a:pt x="5760" y="2880"/>
                  </a:lnTo>
                  <a:cubicBezTo>
                    <a:pt x="5760" y="2880"/>
                    <a:pt x="5680" y="2880"/>
                    <a:pt x="5680" y="2800"/>
                  </a:cubicBezTo>
                  <a:cubicBezTo>
                    <a:pt x="5600" y="2640"/>
                    <a:pt x="5600" y="2560"/>
                    <a:pt x="5600" y="2400"/>
                  </a:cubicBezTo>
                  <a:cubicBezTo>
                    <a:pt x="5520" y="2560"/>
                    <a:pt x="5520" y="2640"/>
                    <a:pt x="5440" y="2800"/>
                  </a:cubicBezTo>
                  <a:cubicBezTo>
                    <a:pt x="5360" y="3040"/>
                    <a:pt x="5200" y="3200"/>
                    <a:pt x="5200" y="3360"/>
                  </a:cubicBezTo>
                  <a:lnTo>
                    <a:pt x="5120" y="3440"/>
                  </a:lnTo>
                  <a:cubicBezTo>
                    <a:pt x="5040" y="3440"/>
                    <a:pt x="5040" y="3440"/>
                    <a:pt x="5040" y="3360"/>
                  </a:cubicBezTo>
                  <a:lnTo>
                    <a:pt x="5040" y="3360"/>
                  </a:lnTo>
                  <a:cubicBezTo>
                    <a:pt x="5040" y="3200"/>
                    <a:pt x="5120" y="2960"/>
                    <a:pt x="5200" y="2720"/>
                  </a:cubicBezTo>
                  <a:cubicBezTo>
                    <a:pt x="5280" y="2400"/>
                    <a:pt x="5440" y="2160"/>
                    <a:pt x="5520" y="2080"/>
                  </a:cubicBezTo>
                  <a:cubicBezTo>
                    <a:pt x="5600" y="2000"/>
                    <a:pt x="5680" y="1920"/>
                    <a:pt x="5760" y="1920"/>
                  </a:cubicBezTo>
                  <a:lnTo>
                    <a:pt x="6000" y="1920"/>
                  </a:lnTo>
                  <a:cubicBezTo>
                    <a:pt x="6160" y="1840"/>
                    <a:pt x="6400" y="1840"/>
                    <a:pt x="6640" y="1760"/>
                  </a:cubicBezTo>
                  <a:close/>
                  <a:moveTo>
                    <a:pt x="11920" y="1920"/>
                  </a:moveTo>
                  <a:lnTo>
                    <a:pt x="11920" y="1920"/>
                  </a:lnTo>
                  <a:cubicBezTo>
                    <a:pt x="11760" y="2080"/>
                    <a:pt x="11680" y="2240"/>
                    <a:pt x="11520" y="2400"/>
                  </a:cubicBezTo>
                  <a:cubicBezTo>
                    <a:pt x="11440" y="2480"/>
                    <a:pt x="11360" y="2480"/>
                    <a:pt x="11360" y="2480"/>
                  </a:cubicBezTo>
                  <a:lnTo>
                    <a:pt x="11440" y="2480"/>
                  </a:lnTo>
                  <a:cubicBezTo>
                    <a:pt x="11520" y="2480"/>
                    <a:pt x="11520" y="2400"/>
                    <a:pt x="11520" y="2400"/>
                  </a:cubicBezTo>
                  <a:cubicBezTo>
                    <a:pt x="11680" y="2240"/>
                    <a:pt x="11840" y="2160"/>
                    <a:pt x="11920" y="1920"/>
                  </a:cubicBezTo>
                  <a:close/>
                  <a:moveTo>
                    <a:pt x="9120" y="2480"/>
                  </a:moveTo>
                  <a:lnTo>
                    <a:pt x="9120" y="2480"/>
                  </a:lnTo>
                  <a:lnTo>
                    <a:pt x="9120" y="2480"/>
                  </a:lnTo>
                  <a:cubicBezTo>
                    <a:pt x="9200" y="2480"/>
                    <a:pt x="9200" y="2480"/>
                    <a:pt x="9200" y="2560"/>
                  </a:cubicBezTo>
                  <a:lnTo>
                    <a:pt x="9200" y="2640"/>
                  </a:lnTo>
                  <a:cubicBezTo>
                    <a:pt x="9200" y="2640"/>
                    <a:pt x="9120" y="2720"/>
                    <a:pt x="9040" y="2720"/>
                  </a:cubicBezTo>
                  <a:lnTo>
                    <a:pt x="9200" y="2880"/>
                  </a:lnTo>
                  <a:lnTo>
                    <a:pt x="9200" y="2960"/>
                  </a:lnTo>
                  <a:cubicBezTo>
                    <a:pt x="9280" y="2960"/>
                    <a:pt x="9440" y="2880"/>
                    <a:pt x="9520" y="2880"/>
                  </a:cubicBezTo>
                  <a:lnTo>
                    <a:pt x="9520" y="2880"/>
                  </a:lnTo>
                  <a:cubicBezTo>
                    <a:pt x="9600" y="2880"/>
                    <a:pt x="9600" y="2880"/>
                    <a:pt x="9600" y="2960"/>
                  </a:cubicBezTo>
                  <a:cubicBezTo>
                    <a:pt x="9600" y="2960"/>
                    <a:pt x="9600" y="3040"/>
                    <a:pt x="9520" y="3040"/>
                  </a:cubicBezTo>
                  <a:cubicBezTo>
                    <a:pt x="9120" y="3120"/>
                    <a:pt x="8800" y="3360"/>
                    <a:pt x="8480" y="3680"/>
                  </a:cubicBezTo>
                  <a:lnTo>
                    <a:pt x="8400" y="3680"/>
                  </a:lnTo>
                  <a:cubicBezTo>
                    <a:pt x="8320" y="3680"/>
                    <a:pt x="8320" y="3680"/>
                    <a:pt x="8320" y="3600"/>
                  </a:cubicBezTo>
                  <a:lnTo>
                    <a:pt x="8320" y="3600"/>
                  </a:lnTo>
                  <a:cubicBezTo>
                    <a:pt x="8320" y="3520"/>
                    <a:pt x="8400" y="3440"/>
                    <a:pt x="8400" y="3440"/>
                  </a:cubicBezTo>
                  <a:lnTo>
                    <a:pt x="8240" y="3280"/>
                  </a:lnTo>
                  <a:lnTo>
                    <a:pt x="8240" y="3200"/>
                  </a:lnTo>
                  <a:cubicBezTo>
                    <a:pt x="8160" y="3280"/>
                    <a:pt x="8080" y="3280"/>
                    <a:pt x="8000" y="3360"/>
                  </a:cubicBezTo>
                  <a:lnTo>
                    <a:pt x="8000" y="3360"/>
                  </a:lnTo>
                  <a:cubicBezTo>
                    <a:pt x="7920" y="3360"/>
                    <a:pt x="7920" y="3360"/>
                    <a:pt x="7920" y="3280"/>
                  </a:cubicBezTo>
                  <a:lnTo>
                    <a:pt x="7920" y="3200"/>
                  </a:lnTo>
                  <a:lnTo>
                    <a:pt x="8160" y="2960"/>
                  </a:lnTo>
                  <a:cubicBezTo>
                    <a:pt x="8240" y="2880"/>
                    <a:pt x="8320" y="2720"/>
                    <a:pt x="8400" y="2720"/>
                  </a:cubicBezTo>
                  <a:cubicBezTo>
                    <a:pt x="8480" y="2640"/>
                    <a:pt x="8640" y="2640"/>
                    <a:pt x="8720" y="2640"/>
                  </a:cubicBezTo>
                  <a:cubicBezTo>
                    <a:pt x="8960" y="2560"/>
                    <a:pt x="9040" y="2480"/>
                    <a:pt x="9120" y="2480"/>
                  </a:cubicBezTo>
                  <a:lnTo>
                    <a:pt x="9120" y="2480"/>
                  </a:lnTo>
                  <a:close/>
                  <a:moveTo>
                    <a:pt x="800" y="2800"/>
                  </a:moveTo>
                  <a:cubicBezTo>
                    <a:pt x="880" y="2800"/>
                    <a:pt x="880" y="2800"/>
                    <a:pt x="880" y="2880"/>
                  </a:cubicBezTo>
                  <a:lnTo>
                    <a:pt x="880" y="2960"/>
                  </a:lnTo>
                  <a:cubicBezTo>
                    <a:pt x="480" y="3360"/>
                    <a:pt x="320" y="3600"/>
                    <a:pt x="320" y="4160"/>
                  </a:cubicBezTo>
                  <a:lnTo>
                    <a:pt x="240" y="4240"/>
                  </a:lnTo>
                  <a:cubicBezTo>
                    <a:pt x="240" y="4240"/>
                    <a:pt x="160" y="4240"/>
                    <a:pt x="160" y="4160"/>
                  </a:cubicBezTo>
                  <a:lnTo>
                    <a:pt x="160" y="3760"/>
                  </a:lnTo>
                  <a:lnTo>
                    <a:pt x="160" y="3760"/>
                  </a:lnTo>
                  <a:cubicBezTo>
                    <a:pt x="80" y="3760"/>
                    <a:pt x="0" y="3680"/>
                    <a:pt x="0" y="3680"/>
                  </a:cubicBezTo>
                  <a:lnTo>
                    <a:pt x="0" y="3280"/>
                  </a:lnTo>
                  <a:cubicBezTo>
                    <a:pt x="80" y="3200"/>
                    <a:pt x="160" y="3120"/>
                    <a:pt x="320" y="3040"/>
                  </a:cubicBezTo>
                  <a:lnTo>
                    <a:pt x="400" y="3040"/>
                  </a:lnTo>
                  <a:cubicBezTo>
                    <a:pt x="400" y="3040"/>
                    <a:pt x="480" y="3040"/>
                    <a:pt x="480" y="3120"/>
                  </a:cubicBezTo>
                  <a:cubicBezTo>
                    <a:pt x="480" y="2960"/>
                    <a:pt x="640" y="2880"/>
                    <a:pt x="800" y="2800"/>
                  </a:cubicBezTo>
                  <a:cubicBezTo>
                    <a:pt x="720" y="2800"/>
                    <a:pt x="800" y="2800"/>
                    <a:pt x="800" y="2800"/>
                  </a:cubicBezTo>
                  <a:close/>
                  <a:moveTo>
                    <a:pt x="10640" y="2880"/>
                  </a:moveTo>
                  <a:lnTo>
                    <a:pt x="10720" y="2880"/>
                  </a:lnTo>
                  <a:lnTo>
                    <a:pt x="10720" y="2880"/>
                  </a:lnTo>
                  <a:lnTo>
                    <a:pt x="10640" y="2880"/>
                  </a:lnTo>
                  <a:close/>
                  <a:moveTo>
                    <a:pt x="1120" y="3440"/>
                  </a:moveTo>
                  <a:lnTo>
                    <a:pt x="1120" y="3440"/>
                  </a:lnTo>
                  <a:cubicBezTo>
                    <a:pt x="1040" y="3520"/>
                    <a:pt x="960" y="3600"/>
                    <a:pt x="960" y="3680"/>
                  </a:cubicBezTo>
                  <a:cubicBezTo>
                    <a:pt x="880" y="3680"/>
                    <a:pt x="880" y="3760"/>
                    <a:pt x="880" y="3840"/>
                  </a:cubicBezTo>
                  <a:cubicBezTo>
                    <a:pt x="880" y="3920"/>
                    <a:pt x="880" y="4000"/>
                    <a:pt x="960" y="4080"/>
                  </a:cubicBezTo>
                  <a:lnTo>
                    <a:pt x="960" y="4080"/>
                  </a:lnTo>
                  <a:cubicBezTo>
                    <a:pt x="1040" y="4000"/>
                    <a:pt x="1120" y="3920"/>
                    <a:pt x="1120" y="3760"/>
                  </a:cubicBezTo>
                  <a:lnTo>
                    <a:pt x="1120" y="3440"/>
                  </a:lnTo>
                  <a:close/>
                  <a:moveTo>
                    <a:pt x="1520" y="4400"/>
                  </a:moveTo>
                  <a:cubicBezTo>
                    <a:pt x="1440" y="4400"/>
                    <a:pt x="1440" y="4400"/>
                    <a:pt x="1520" y="4400"/>
                  </a:cubicBezTo>
                  <a:cubicBezTo>
                    <a:pt x="1360" y="4400"/>
                    <a:pt x="1280" y="4480"/>
                    <a:pt x="1200" y="4480"/>
                  </a:cubicBezTo>
                  <a:cubicBezTo>
                    <a:pt x="1120" y="4480"/>
                    <a:pt x="1120" y="4480"/>
                    <a:pt x="1040" y="4400"/>
                  </a:cubicBezTo>
                  <a:lnTo>
                    <a:pt x="1040" y="4400"/>
                  </a:lnTo>
                  <a:lnTo>
                    <a:pt x="1040" y="4400"/>
                  </a:lnTo>
                  <a:cubicBezTo>
                    <a:pt x="1040" y="4480"/>
                    <a:pt x="1120" y="4480"/>
                    <a:pt x="1200" y="4480"/>
                  </a:cubicBezTo>
                  <a:cubicBezTo>
                    <a:pt x="1280" y="4480"/>
                    <a:pt x="1360" y="4480"/>
                    <a:pt x="1520" y="4400"/>
                  </a:cubicBezTo>
                  <a:cubicBezTo>
                    <a:pt x="1440" y="4400"/>
                    <a:pt x="1440" y="4400"/>
                    <a:pt x="1520" y="4400"/>
                  </a:cubicBezTo>
                  <a:cubicBezTo>
                    <a:pt x="1440" y="4400"/>
                    <a:pt x="1520" y="4400"/>
                    <a:pt x="1520" y="4400"/>
                  </a:cubicBezTo>
                  <a:close/>
                  <a:moveTo>
                    <a:pt x="9760" y="6320"/>
                  </a:moveTo>
                  <a:cubicBezTo>
                    <a:pt x="9760" y="6400"/>
                    <a:pt x="9680" y="6400"/>
                    <a:pt x="9600" y="6400"/>
                  </a:cubicBezTo>
                  <a:lnTo>
                    <a:pt x="9600" y="6400"/>
                  </a:lnTo>
                  <a:cubicBezTo>
                    <a:pt x="9680" y="6480"/>
                    <a:pt x="9760" y="6400"/>
                    <a:pt x="9760" y="6320"/>
                  </a:cubicBezTo>
                  <a:close/>
                  <a:moveTo>
                    <a:pt x="1600" y="6560"/>
                  </a:moveTo>
                  <a:lnTo>
                    <a:pt x="1600" y="6560"/>
                  </a:lnTo>
                  <a:cubicBezTo>
                    <a:pt x="1600" y="6640"/>
                    <a:pt x="1600" y="6640"/>
                    <a:pt x="1600" y="6560"/>
                  </a:cubicBezTo>
                  <a:cubicBezTo>
                    <a:pt x="1440" y="6720"/>
                    <a:pt x="1360" y="6880"/>
                    <a:pt x="1200" y="6960"/>
                  </a:cubicBezTo>
                  <a:lnTo>
                    <a:pt x="1120" y="7040"/>
                  </a:lnTo>
                  <a:lnTo>
                    <a:pt x="1120" y="7120"/>
                  </a:lnTo>
                  <a:cubicBezTo>
                    <a:pt x="1120" y="7280"/>
                    <a:pt x="1280" y="7440"/>
                    <a:pt x="1360" y="7600"/>
                  </a:cubicBezTo>
                  <a:cubicBezTo>
                    <a:pt x="1440" y="7680"/>
                    <a:pt x="1600" y="7760"/>
                    <a:pt x="1760" y="7840"/>
                  </a:cubicBezTo>
                  <a:cubicBezTo>
                    <a:pt x="1840" y="7840"/>
                    <a:pt x="1920" y="7920"/>
                    <a:pt x="2000" y="7920"/>
                  </a:cubicBezTo>
                  <a:cubicBezTo>
                    <a:pt x="2080" y="7920"/>
                    <a:pt x="2080" y="7920"/>
                    <a:pt x="2160" y="7840"/>
                  </a:cubicBezTo>
                  <a:cubicBezTo>
                    <a:pt x="2160" y="7840"/>
                    <a:pt x="2160" y="7760"/>
                    <a:pt x="2240" y="7680"/>
                  </a:cubicBezTo>
                  <a:cubicBezTo>
                    <a:pt x="1920" y="7440"/>
                    <a:pt x="1760" y="7040"/>
                    <a:pt x="1600" y="6560"/>
                  </a:cubicBezTo>
                  <a:close/>
                  <a:moveTo>
                    <a:pt x="8160" y="6960"/>
                  </a:moveTo>
                  <a:cubicBezTo>
                    <a:pt x="8080" y="7120"/>
                    <a:pt x="8080" y="7280"/>
                    <a:pt x="8000" y="7440"/>
                  </a:cubicBezTo>
                  <a:cubicBezTo>
                    <a:pt x="7920" y="7600"/>
                    <a:pt x="7840" y="7840"/>
                    <a:pt x="7680" y="8000"/>
                  </a:cubicBezTo>
                  <a:cubicBezTo>
                    <a:pt x="7600" y="8160"/>
                    <a:pt x="7440" y="8320"/>
                    <a:pt x="7360" y="8400"/>
                  </a:cubicBezTo>
                  <a:lnTo>
                    <a:pt x="7520" y="8400"/>
                  </a:lnTo>
                  <a:lnTo>
                    <a:pt x="7840" y="8400"/>
                  </a:lnTo>
                  <a:lnTo>
                    <a:pt x="8160" y="8400"/>
                  </a:lnTo>
                  <a:lnTo>
                    <a:pt x="8320" y="8400"/>
                  </a:lnTo>
                  <a:cubicBezTo>
                    <a:pt x="8320" y="8400"/>
                    <a:pt x="8400" y="8320"/>
                    <a:pt x="8400" y="8240"/>
                  </a:cubicBezTo>
                  <a:cubicBezTo>
                    <a:pt x="8400" y="8080"/>
                    <a:pt x="8400" y="8160"/>
                    <a:pt x="8320" y="8000"/>
                  </a:cubicBezTo>
                  <a:lnTo>
                    <a:pt x="8320" y="8000"/>
                  </a:lnTo>
                  <a:lnTo>
                    <a:pt x="8320" y="7440"/>
                  </a:lnTo>
                  <a:cubicBezTo>
                    <a:pt x="8240" y="7280"/>
                    <a:pt x="8240" y="7200"/>
                    <a:pt x="8160" y="69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80" name="iconfont-11894-5689857"/>
            <p:cNvSpPr>
              <a:spLocks noChangeAspect="1"/>
            </p:cNvSpPr>
            <p:nvPr userDrawn="1"/>
          </p:nvSpPr>
          <p:spPr bwMode="auto">
            <a:xfrm>
              <a:off x="20872779" y="4596055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22" name="iconfont-11894-5689857"/>
            <p:cNvSpPr>
              <a:spLocks noChangeAspect="1"/>
            </p:cNvSpPr>
            <p:nvPr userDrawn="1"/>
          </p:nvSpPr>
          <p:spPr bwMode="auto">
            <a:xfrm>
              <a:off x="22092151" y="4594573"/>
              <a:ext cx="609685" cy="609685"/>
            </a:xfrm>
            <a:custGeom>
              <a:avLst/>
              <a:gdLst>
                <a:gd name="T0" fmla="*/ 2400 w 12800"/>
                <a:gd name="T1" fmla="*/ 10240 h 12800"/>
                <a:gd name="T2" fmla="*/ 2400 w 12800"/>
                <a:gd name="T3" fmla="*/ 2640 h 12800"/>
                <a:gd name="T4" fmla="*/ 7120 w 12800"/>
                <a:gd name="T5" fmla="*/ 6400 h 12800"/>
                <a:gd name="T6" fmla="*/ 2400 w 12800"/>
                <a:gd name="T7" fmla="*/ 10240 h 12800"/>
                <a:gd name="T8" fmla="*/ 3200 w 12800"/>
                <a:gd name="T9" fmla="*/ 4160 h 12800"/>
                <a:gd name="T10" fmla="*/ 3200 w 12800"/>
                <a:gd name="T11" fmla="*/ 8640 h 12800"/>
                <a:gd name="T12" fmla="*/ 6000 w 12800"/>
                <a:gd name="T13" fmla="*/ 6400 h 12800"/>
                <a:gd name="T14" fmla="*/ 3200 w 12800"/>
                <a:gd name="T15" fmla="*/ 4160 h 12800"/>
                <a:gd name="T16" fmla="*/ 11680 w 12800"/>
                <a:gd name="T17" fmla="*/ 12800 h 12800"/>
                <a:gd name="T18" fmla="*/ 1120 w 12800"/>
                <a:gd name="T19" fmla="*/ 12800 h 12800"/>
                <a:gd name="T20" fmla="*/ 0 w 12800"/>
                <a:gd name="T21" fmla="*/ 11680 h 12800"/>
                <a:gd name="T22" fmla="*/ 0 w 12800"/>
                <a:gd name="T23" fmla="*/ 1120 h 12800"/>
                <a:gd name="T24" fmla="*/ 1120 w 12800"/>
                <a:gd name="T25" fmla="*/ 0 h 12800"/>
                <a:gd name="T26" fmla="*/ 11680 w 12800"/>
                <a:gd name="T27" fmla="*/ 0 h 12800"/>
                <a:gd name="T28" fmla="*/ 12800 w 12800"/>
                <a:gd name="T29" fmla="*/ 1120 h 12800"/>
                <a:gd name="T30" fmla="*/ 12800 w 12800"/>
                <a:gd name="T31" fmla="*/ 11680 h 12800"/>
                <a:gd name="T32" fmla="*/ 11680 w 12800"/>
                <a:gd name="T33" fmla="*/ 12800 h 12800"/>
                <a:gd name="T34" fmla="*/ 1120 w 12800"/>
                <a:gd name="T35" fmla="*/ 800 h 12800"/>
                <a:gd name="T36" fmla="*/ 720 w 12800"/>
                <a:gd name="T37" fmla="*/ 1200 h 12800"/>
                <a:gd name="T38" fmla="*/ 720 w 12800"/>
                <a:gd name="T39" fmla="*/ 11760 h 12800"/>
                <a:gd name="T40" fmla="*/ 1120 w 12800"/>
                <a:gd name="T41" fmla="*/ 12160 h 12800"/>
                <a:gd name="T42" fmla="*/ 11680 w 12800"/>
                <a:gd name="T43" fmla="*/ 12160 h 12800"/>
                <a:gd name="T44" fmla="*/ 12080 w 12800"/>
                <a:gd name="T45" fmla="*/ 11760 h 12800"/>
                <a:gd name="T46" fmla="*/ 12080 w 12800"/>
                <a:gd name="T47" fmla="*/ 1120 h 12800"/>
                <a:gd name="T48" fmla="*/ 11680 w 12800"/>
                <a:gd name="T49" fmla="*/ 720 h 12800"/>
                <a:gd name="T50" fmla="*/ 1120 w 12800"/>
                <a:gd name="T51" fmla="*/ 720 h 12800"/>
                <a:gd name="T52" fmla="*/ 1120 w 12800"/>
                <a:gd name="T53" fmla="*/ 800 h 12800"/>
                <a:gd name="T54" fmla="*/ 6400 w 12800"/>
                <a:gd name="T55" fmla="*/ 10240 h 12800"/>
                <a:gd name="T56" fmla="*/ 6400 w 12800"/>
                <a:gd name="T57" fmla="*/ 2640 h 12800"/>
                <a:gd name="T58" fmla="*/ 11120 w 12800"/>
                <a:gd name="T59" fmla="*/ 6400 h 12800"/>
                <a:gd name="T60" fmla="*/ 6400 w 12800"/>
                <a:gd name="T61" fmla="*/ 10240 h 12800"/>
                <a:gd name="T62" fmla="*/ 7200 w 12800"/>
                <a:gd name="T63" fmla="*/ 4160 h 12800"/>
                <a:gd name="T64" fmla="*/ 7200 w 12800"/>
                <a:gd name="T65" fmla="*/ 8640 h 12800"/>
                <a:gd name="T66" fmla="*/ 10000 w 12800"/>
                <a:gd name="T67" fmla="*/ 6400 h 12800"/>
                <a:gd name="T68" fmla="*/ 7200 w 12800"/>
                <a:gd name="T69" fmla="*/ 416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800" h="12800">
                  <a:moveTo>
                    <a:pt x="2400" y="10240"/>
                  </a:moveTo>
                  <a:lnTo>
                    <a:pt x="2400" y="2640"/>
                  </a:lnTo>
                  <a:lnTo>
                    <a:pt x="7120" y="6400"/>
                  </a:lnTo>
                  <a:lnTo>
                    <a:pt x="2400" y="10240"/>
                  </a:lnTo>
                  <a:close/>
                  <a:moveTo>
                    <a:pt x="3200" y="4160"/>
                  </a:moveTo>
                  <a:lnTo>
                    <a:pt x="3200" y="8640"/>
                  </a:lnTo>
                  <a:lnTo>
                    <a:pt x="6000" y="6400"/>
                  </a:lnTo>
                  <a:lnTo>
                    <a:pt x="3200" y="4160"/>
                  </a:lnTo>
                  <a:close/>
                  <a:moveTo>
                    <a:pt x="11680" y="12800"/>
                  </a:moveTo>
                  <a:lnTo>
                    <a:pt x="1120" y="12800"/>
                  </a:lnTo>
                  <a:cubicBezTo>
                    <a:pt x="480" y="12800"/>
                    <a:pt x="0" y="12320"/>
                    <a:pt x="0" y="11680"/>
                  </a:cubicBezTo>
                  <a:lnTo>
                    <a:pt x="0" y="1120"/>
                  </a:lnTo>
                  <a:cubicBezTo>
                    <a:pt x="0" y="480"/>
                    <a:pt x="480" y="0"/>
                    <a:pt x="1120" y="0"/>
                  </a:cubicBezTo>
                  <a:lnTo>
                    <a:pt x="11680" y="0"/>
                  </a:lnTo>
                  <a:cubicBezTo>
                    <a:pt x="12320" y="0"/>
                    <a:pt x="12800" y="480"/>
                    <a:pt x="12800" y="1120"/>
                  </a:cubicBezTo>
                  <a:lnTo>
                    <a:pt x="12800" y="11680"/>
                  </a:lnTo>
                  <a:cubicBezTo>
                    <a:pt x="12800" y="12320"/>
                    <a:pt x="12240" y="12800"/>
                    <a:pt x="11680" y="12800"/>
                  </a:cubicBezTo>
                  <a:close/>
                  <a:moveTo>
                    <a:pt x="1120" y="800"/>
                  </a:moveTo>
                  <a:cubicBezTo>
                    <a:pt x="880" y="800"/>
                    <a:pt x="720" y="960"/>
                    <a:pt x="720" y="1200"/>
                  </a:cubicBezTo>
                  <a:lnTo>
                    <a:pt x="720" y="11760"/>
                  </a:lnTo>
                  <a:cubicBezTo>
                    <a:pt x="720" y="12000"/>
                    <a:pt x="880" y="12160"/>
                    <a:pt x="1120" y="12160"/>
                  </a:cubicBezTo>
                  <a:lnTo>
                    <a:pt x="11680" y="12160"/>
                  </a:lnTo>
                  <a:cubicBezTo>
                    <a:pt x="11920" y="12160"/>
                    <a:pt x="12080" y="12000"/>
                    <a:pt x="12080" y="11760"/>
                  </a:cubicBezTo>
                  <a:lnTo>
                    <a:pt x="12080" y="1120"/>
                  </a:lnTo>
                  <a:cubicBezTo>
                    <a:pt x="12080" y="880"/>
                    <a:pt x="11920" y="720"/>
                    <a:pt x="11680" y="720"/>
                  </a:cubicBezTo>
                  <a:lnTo>
                    <a:pt x="1120" y="720"/>
                  </a:lnTo>
                  <a:lnTo>
                    <a:pt x="1120" y="800"/>
                  </a:lnTo>
                  <a:close/>
                  <a:moveTo>
                    <a:pt x="6400" y="10240"/>
                  </a:moveTo>
                  <a:lnTo>
                    <a:pt x="6400" y="2640"/>
                  </a:lnTo>
                  <a:lnTo>
                    <a:pt x="11120" y="6400"/>
                  </a:lnTo>
                  <a:lnTo>
                    <a:pt x="6400" y="10240"/>
                  </a:lnTo>
                  <a:close/>
                  <a:moveTo>
                    <a:pt x="7200" y="4160"/>
                  </a:moveTo>
                  <a:lnTo>
                    <a:pt x="7200" y="8640"/>
                  </a:lnTo>
                  <a:lnTo>
                    <a:pt x="10000" y="6400"/>
                  </a:lnTo>
                  <a:lnTo>
                    <a:pt x="7200" y="41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21" name="iconfont-11894-5689857"/>
            <p:cNvSpPr>
              <a:spLocks noChangeAspect="1"/>
            </p:cNvSpPr>
            <p:nvPr userDrawn="1"/>
          </p:nvSpPr>
          <p:spPr bwMode="auto">
            <a:xfrm>
              <a:off x="23311520" y="4594574"/>
              <a:ext cx="609685" cy="609685"/>
            </a:xfrm>
            <a:custGeom>
              <a:avLst/>
              <a:gdLst>
                <a:gd name="T0" fmla="*/ 12160 w 12960"/>
                <a:gd name="T1" fmla="*/ 0 h 12960"/>
                <a:gd name="T2" fmla="*/ 6800 w 12960"/>
                <a:gd name="T3" fmla="*/ 0 h 12960"/>
                <a:gd name="T4" fmla="*/ 5920 w 12960"/>
                <a:gd name="T5" fmla="*/ 640 h 12960"/>
                <a:gd name="T6" fmla="*/ 640 w 12960"/>
                <a:gd name="T7" fmla="*/ 5920 h 12960"/>
                <a:gd name="T8" fmla="*/ 640 w 12960"/>
                <a:gd name="T9" fmla="*/ 8240 h 12960"/>
                <a:gd name="T10" fmla="*/ 4720 w 12960"/>
                <a:gd name="T11" fmla="*/ 12320 h 12960"/>
                <a:gd name="T12" fmla="*/ 7040 w 12960"/>
                <a:gd name="T13" fmla="*/ 12320 h 12960"/>
                <a:gd name="T14" fmla="*/ 12320 w 12960"/>
                <a:gd name="T15" fmla="*/ 7040 h 12960"/>
                <a:gd name="T16" fmla="*/ 12960 w 12960"/>
                <a:gd name="T17" fmla="*/ 6080 h 12960"/>
                <a:gd name="T18" fmla="*/ 12960 w 12960"/>
                <a:gd name="T19" fmla="*/ 800 h 12960"/>
                <a:gd name="T20" fmla="*/ 12160 w 12960"/>
                <a:gd name="T21" fmla="*/ 0 h 12960"/>
                <a:gd name="T22" fmla="*/ 7120 w 12960"/>
                <a:gd name="T23" fmla="*/ 11120 h 12960"/>
                <a:gd name="T24" fmla="*/ 6560 w 12960"/>
                <a:gd name="T25" fmla="*/ 11680 h 12960"/>
                <a:gd name="T26" fmla="*/ 6560 w 12960"/>
                <a:gd name="T27" fmla="*/ 11680 h 12960"/>
                <a:gd name="T28" fmla="*/ 5360 w 12960"/>
                <a:gd name="T29" fmla="*/ 11680 h 12960"/>
                <a:gd name="T30" fmla="*/ 1280 w 12960"/>
                <a:gd name="T31" fmla="*/ 7600 h 12960"/>
                <a:gd name="T32" fmla="*/ 1280 w 12960"/>
                <a:gd name="T33" fmla="*/ 6400 h 12960"/>
                <a:gd name="T34" fmla="*/ 1840 w 12960"/>
                <a:gd name="T35" fmla="*/ 5840 h 12960"/>
                <a:gd name="T36" fmla="*/ 2400 w 12960"/>
                <a:gd name="T37" fmla="*/ 5280 h 12960"/>
                <a:gd name="T38" fmla="*/ 6480 w 12960"/>
                <a:gd name="T39" fmla="*/ 1200 h 12960"/>
                <a:gd name="T40" fmla="*/ 7200 w 12960"/>
                <a:gd name="T41" fmla="*/ 800 h 12960"/>
                <a:gd name="T42" fmla="*/ 11760 w 12960"/>
                <a:gd name="T43" fmla="*/ 800 h 12960"/>
                <a:gd name="T44" fmla="*/ 12160 w 12960"/>
                <a:gd name="T45" fmla="*/ 1120 h 12960"/>
                <a:gd name="T46" fmla="*/ 12160 w 12960"/>
                <a:gd name="T47" fmla="*/ 5680 h 12960"/>
                <a:gd name="T48" fmla="*/ 12160 w 12960"/>
                <a:gd name="T49" fmla="*/ 5680 h 12960"/>
                <a:gd name="T50" fmla="*/ 11760 w 12960"/>
                <a:gd name="T51" fmla="*/ 6400 h 12960"/>
                <a:gd name="T52" fmla="*/ 7680 w 12960"/>
                <a:gd name="T53" fmla="*/ 10480 h 12960"/>
                <a:gd name="T54" fmla="*/ 7120 w 12960"/>
                <a:gd name="T55" fmla="*/ 11120 h 12960"/>
                <a:gd name="T56" fmla="*/ 8000 w 12960"/>
                <a:gd name="T57" fmla="*/ 2640 h 12960"/>
                <a:gd name="T58" fmla="*/ 8000 w 12960"/>
                <a:gd name="T59" fmla="*/ 4960 h 12960"/>
                <a:gd name="T60" fmla="*/ 10320 w 12960"/>
                <a:gd name="T61" fmla="*/ 4960 h 12960"/>
                <a:gd name="T62" fmla="*/ 10320 w 12960"/>
                <a:gd name="T63" fmla="*/ 2640 h 12960"/>
                <a:gd name="T64" fmla="*/ 8000 w 12960"/>
                <a:gd name="T65" fmla="*/ 2640 h 12960"/>
                <a:gd name="T66" fmla="*/ 9760 w 12960"/>
                <a:gd name="T67" fmla="*/ 4400 h 12960"/>
                <a:gd name="T68" fmla="*/ 8560 w 12960"/>
                <a:gd name="T69" fmla="*/ 4400 h 12960"/>
                <a:gd name="T70" fmla="*/ 8560 w 12960"/>
                <a:gd name="T71" fmla="*/ 3200 h 12960"/>
                <a:gd name="T72" fmla="*/ 9760 w 12960"/>
                <a:gd name="T73" fmla="*/ 3200 h 12960"/>
                <a:gd name="T74" fmla="*/ 9760 w 12960"/>
                <a:gd name="T75" fmla="*/ 4400 h 12960"/>
                <a:gd name="T76" fmla="*/ 8357 w 12960"/>
                <a:gd name="T77" fmla="*/ 8327 h 12960"/>
                <a:gd name="T78" fmla="*/ 4680 w 12960"/>
                <a:gd name="T79" fmla="*/ 4651 h 12960"/>
                <a:gd name="T80" fmla="*/ 5472 w 12960"/>
                <a:gd name="T81" fmla="*/ 3859 h 12960"/>
                <a:gd name="T82" fmla="*/ 9149 w 12960"/>
                <a:gd name="T83" fmla="*/ 7536 h 12960"/>
                <a:gd name="T84" fmla="*/ 8357 w 12960"/>
                <a:gd name="T85" fmla="*/ 8327 h 12960"/>
                <a:gd name="T86" fmla="*/ 6739 w 12960"/>
                <a:gd name="T87" fmla="*/ 9999 h 12960"/>
                <a:gd name="T88" fmla="*/ 3062 w 12960"/>
                <a:gd name="T89" fmla="*/ 6322 h 12960"/>
                <a:gd name="T90" fmla="*/ 3854 w 12960"/>
                <a:gd name="T91" fmla="*/ 5530 h 12960"/>
                <a:gd name="T92" fmla="*/ 7531 w 12960"/>
                <a:gd name="T93" fmla="*/ 9207 h 12960"/>
                <a:gd name="T94" fmla="*/ 6739 w 12960"/>
                <a:gd name="T95" fmla="*/ 9999 h 12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960" h="12960">
                  <a:moveTo>
                    <a:pt x="12160" y="0"/>
                  </a:moveTo>
                  <a:lnTo>
                    <a:pt x="6800" y="0"/>
                  </a:lnTo>
                  <a:cubicBezTo>
                    <a:pt x="6400" y="0"/>
                    <a:pt x="6320" y="160"/>
                    <a:pt x="5920" y="640"/>
                  </a:cubicBezTo>
                  <a:lnTo>
                    <a:pt x="640" y="5920"/>
                  </a:lnTo>
                  <a:cubicBezTo>
                    <a:pt x="0" y="6560"/>
                    <a:pt x="0" y="7600"/>
                    <a:pt x="640" y="8240"/>
                  </a:cubicBezTo>
                  <a:lnTo>
                    <a:pt x="4720" y="12320"/>
                  </a:lnTo>
                  <a:cubicBezTo>
                    <a:pt x="5360" y="12960"/>
                    <a:pt x="6400" y="12960"/>
                    <a:pt x="7040" y="12320"/>
                  </a:cubicBezTo>
                  <a:lnTo>
                    <a:pt x="12320" y="7040"/>
                  </a:lnTo>
                  <a:cubicBezTo>
                    <a:pt x="12720" y="6720"/>
                    <a:pt x="12960" y="6560"/>
                    <a:pt x="12960" y="6080"/>
                  </a:cubicBezTo>
                  <a:lnTo>
                    <a:pt x="12960" y="800"/>
                  </a:lnTo>
                  <a:cubicBezTo>
                    <a:pt x="12960" y="320"/>
                    <a:pt x="12640" y="0"/>
                    <a:pt x="12160" y="0"/>
                  </a:cubicBezTo>
                  <a:close/>
                  <a:moveTo>
                    <a:pt x="7120" y="11120"/>
                  </a:moveTo>
                  <a:lnTo>
                    <a:pt x="6560" y="11680"/>
                  </a:lnTo>
                  <a:lnTo>
                    <a:pt x="6560" y="11680"/>
                  </a:lnTo>
                  <a:cubicBezTo>
                    <a:pt x="6240" y="12000"/>
                    <a:pt x="5680" y="12000"/>
                    <a:pt x="5360" y="11680"/>
                  </a:cubicBezTo>
                  <a:lnTo>
                    <a:pt x="1280" y="7600"/>
                  </a:lnTo>
                  <a:cubicBezTo>
                    <a:pt x="960" y="7280"/>
                    <a:pt x="960" y="6720"/>
                    <a:pt x="1280" y="6400"/>
                  </a:cubicBezTo>
                  <a:lnTo>
                    <a:pt x="1840" y="5840"/>
                  </a:lnTo>
                  <a:lnTo>
                    <a:pt x="2400" y="5280"/>
                  </a:lnTo>
                  <a:lnTo>
                    <a:pt x="6480" y="1200"/>
                  </a:lnTo>
                  <a:cubicBezTo>
                    <a:pt x="6720" y="1040"/>
                    <a:pt x="7040" y="800"/>
                    <a:pt x="7200" y="800"/>
                  </a:cubicBezTo>
                  <a:lnTo>
                    <a:pt x="11760" y="800"/>
                  </a:lnTo>
                  <a:cubicBezTo>
                    <a:pt x="12000" y="800"/>
                    <a:pt x="12160" y="960"/>
                    <a:pt x="12160" y="1120"/>
                  </a:cubicBezTo>
                  <a:lnTo>
                    <a:pt x="12160" y="5680"/>
                  </a:lnTo>
                  <a:lnTo>
                    <a:pt x="12160" y="5680"/>
                  </a:lnTo>
                  <a:cubicBezTo>
                    <a:pt x="12160" y="5920"/>
                    <a:pt x="12000" y="6240"/>
                    <a:pt x="11760" y="6400"/>
                  </a:cubicBezTo>
                  <a:lnTo>
                    <a:pt x="7680" y="10480"/>
                  </a:lnTo>
                  <a:lnTo>
                    <a:pt x="7120" y="11120"/>
                  </a:lnTo>
                  <a:close/>
                  <a:moveTo>
                    <a:pt x="8000" y="2640"/>
                  </a:moveTo>
                  <a:cubicBezTo>
                    <a:pt x="7360" y="3280"/>
                    <a:pt x="7360" y="4320"/>
                    <a:pt x="8000" y="4960"/>
                  </a:cubicBezTo>
                  <a:cubicBezTo>
                    <a:pt x="8640" y="5600"/>
                    <a:pt x="9680" y="5600"/>
                    <a:pt x="10320" y="4960"/>
                  </a:cubicBezTo>
                  <a:cubicBezTo>
                    <a:pt x="10960" y="4320"/>
                    <a:pt x="10960" y="3280"/>
                    <a:pt x="10320" y="2640"/>
                  </a:cubicBezTo>
                  <a:cubicBezTo>
                    <a:pt x="9680" y="2000"/>
                    <a:pt x="8640" y="2000"/>
                    <a:pt x="8000" y="2640"/>
                  </a:cubicBezTo>
                  <a:close/>
                  <a:moveTo>
                    <a:pt x="9760" y="4400"/>
                  </a:moveTo>
                  <a:cubicBezTo>
                    <a:pt x="9440" y="4720"/>
                    <a:pt x="8880" y="4720"/>
                    <a:pt x="8560" y="4400"/>
                  </a:cubicBezTo>
                  <a:cubicBezTo>
                    <a:pt x="8240" y="4080"/>
                    <a:pt x="8240" y="3520"/>
                    <a:pt x="8560" y="3200"/>
                  </a:cubicBezTo>
                  <a:cubicBezTo>
                    <a:pt x="8880" y="2880"/>
                    <a:pt x="9440" y="2880"/>
                    <a:pt x="9760" y="3200"/>
                  </a:cubicBezTo>
                  <a:cubicBezTo>
                    <a:pt x="10080" y="3600"/>
                    <a:pt x="10080" y="4080"/>
                    <a:pt x="9760" y="4400"/>
                  </a:cubicBezTo>
                  <a:close/>
                  <a:moveTo>
                    <a:pt x="8357" y="8327"/>
                  </a:moveTo>
                  <a:lnTo>
                    <a:pt x="4680" y="4651"/>
                  </a:lnTo>
                  <a:lnTo>
                    <a:pt x="5472" y="3859"/>
                  </a:lnTo>
                  <a:lnTo>
                    <a:pt x="9149" y="7536"/>
                  </a:lnTo>
                  <a:lnTo>
                    <a:pt x="8357" y="8327"/>
                  </a:lnTo>
                  <a:close/>
                  <a:moveTo>
                    <a:pt x="6739" y="9999"/>
                  </a:moveTo>
                  <a:lnTo>
                    <a:pt x="3062" y="6322"/>
                  </a:lnTo>
                  <a:lnTo>
                    <a:pt x="3854" y="5530"/>
                  </a:lnTo>
                  <a:lnTo>
                    <a:pt x="7531" y="9207"/>
                  </a:lnTo>
                  <a:lnTo>
                    <a:pt x="6739" y="999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20" name="iconfont-11894-5689857"/>
            <p:cNvSpPr>
              <a:spLocks noChangeAspect="1"/>
            </p:cNvSpPr>
            <p:nvPr userDrawn="1"/>
          </p:nvSpPr>
          <p:spPr bwMode="auto">
            <a:xfrm>
              <a:off x="24559690" y="4594574"/>
              <a:ext cx="552081" cy="609685"/>
            </a:xfrm>
            <a:custGeom>
              <a:avLst/>
              <a:gdLst>
                <a:gd name="T0" fmla="*/ 8880 w 11520"/>
                <a:gd name="T1" fmla="*/ 7520 h 12720"/>
                <a:gd name="T2" fmla="*/ 8720 w 11520"/>
                <a:gd name="T3" fmla="*/ 7520 h 12720"/>
                <a:gd name="T4" fmla="*/ 6240 w 11520"/>
                <a:gd name="T5" fmla="*/ 5280 h 12720"/>
                <a:gd name="T6" fmla="*/ 11360 w 11520"/>
                <a:gd name="T7" fmla="*/ 640 h 12720"/>
                <a:gd name="T8" fmla="*/ 10880 w 11520"/>
                <a:gd name="T9" fmla="*/ 80 h 12720"/>
                <a:gd name="T10" fmla="*/ 5680 w 11520"/>
                <a:gd name="T11" fmla="*/ 4720 h 12720"/>
                <a:gd name="T12" fmla="*/ 480 w 11520"/>
                <a:gd name="T13" fmla="*/ 0 h 12720"/>
                <a:gd name="T14" fmla="*/ 0 w 11520"/>
                <a:gd name="T15" fmla="*/ 560 h 12720"/>
                <a:gd name="T16" fmla="*/ 5120 w 11520"/>
                <a:gd name="T17" fmla="*/ 5200 h 12720"/>
                <a:gd name="T18" fmla="*/ 2640 w 11520"/>
                <a:gd name="T19" fmla="*/ 7440 h 12720"/>
                <a:gd name="T20" fmla="*/ 160 w 11520"/>
                <a:gd name="T21" fmla="*/ 10080 h 12720"/>
                <a:gd name="T22" fmla="*/ 2800 w 11520"/>
                <a:gd name="T23" fmla="*/ 12720 h 12720"/>
                <a:gd name="T24" fmla="*/ 5440 w 11520"/>
                <a:gd name="T25" fmla="*/ 10080 h 12720"/>
                <a:gd name="T26" fmla="*/ 3600 w 11520"/>
                <a:gd name="T27" fmla="*/ 7600 h 12720"/>
                <a:gd name="T28" fmla="*/ 5680 w 11520"/>
                <a:gd name="T29" fmla="*/ 5760 h 12720"/>
                <a:gd name="T30" fmla="*/ 7840 w 11520"/>
                <a:gd name="T31" fmla="*/ 7680 h 12720"/>
                <a:gd name="T32" fmla="*/ 6240 w 11520"/>
                <a:gd name="T33" fmla="*/ 10080 h 12720"/>
                <a:gd name="T34" fmla="*/ 8880 w 11520"/>
                <a:gd name="T35" fmla="*/ 12720 h 12720"/>
                <a:gd name="T36" fmla="*/ 11520 w 11520"/>
                <a:gd name="T37" fmla="*/ 10080 h 12720"/>
                <a:gd name="T38" fmla="*/ 8880 w 11520"/>
                <a:gd name="T39" fmla="*/ 7520 h 12720"/>
                <a:gd name="T40" fmla="*/ 4720 w 11520"/>
                <a:gd name="T41" fmla="*/ 10080 h 12720"/>
                <a:gd name="T42" fmla="*/ 2800 w 11520"/>
                <a:gd name="T43" fmla="*/ 12000 h 12720"/>
                <a:gd name="T44" fmla="*/ 880 w 11520"/>
                <a:gd name="T45" fmla="*/ 10080 h 12720"/>
                <a:gd name="T46" fmla="*/ 2800 w 11520"/>
                <a:gd name="T47" fmla="*/ 8160 h 12720"/>
                <a:gd name="T48" fmla="*/ 4720 w 11520"/>
                <a:gd name="T49" fmla="*/ 10080 h 12720"/>
                <a:gd name="T50" fmla="*/ 8880 w 11520"/>
                <a:gd name="T51" fmla="*/ 12000 h 12720"/>
                <a:gd name="T52" fmla="*/ 6960 w 11520"/>
                <a:gd name="T53" fmla="*/ 10080 h 12720"/>
                <a:gd name="T54" fmla="*/ 8880 w 11520"/>
                <a:gd name="T55" fmla="*/ 8160 h 12720"/>
                <a:gd name="T56" fmla="*/ 10800 w 11520"/>
                <a:gd name="T57" fmla="*/ 10080 h 12720"/>
                <a:gd name="T58" fmla="*/ 8880 w 11520"/>
                <a:gd name="T59" fmla="*/ 1200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20" h="12720">
                  <a:moveTo>
                    <a:pt x="8880" y="7520"/>
                  </a:moveTo>
                  <a:lnTo>
                    <a:pt x="8720" y="7520"/>
                  </a:lnTo>
                  <a:lnTo>
                    <a:pt x="6240" y="5280"/>
                  </a:lnTo>
                  <a:lnTo>
                    <a:pt x="11360" y="640"/>
                  </a:lnTo>
                  <a:lnTo>
                    <a:pt x="10880" y="80"/>
                  </a:lnTo>
                  <a:lnTo>
                    <a:pt x="5680" y="4720"/>
                  </a:lnTo>
                  <a:lnTo>
                    <a:pt x="480" y="0"/>
                  </a:lnTo>
                  <a:lnTo>
                    <a:pt x="0" y="560"/>
                  </a:lnTo>
                  <a:lnTo>
                    <a:pt x="5120" y="5200"/>
                  </a:lnTo>
                  <a:lnTo>
                    <a:pt x="2640" y="7440"/>
                  </a:lnTo>
                  <a:cubicBezTo>
                    <a:pt x="1280" y="7520"/>
                    <a:pt x="160" y="8640"/>
                    <a:pt x="160" y="10080"/>
                  </a:cubicBezTo>
                  <a:cubicBezTo>
                    <a:pt x="160" y="11520"/>
                    <a:pt x="1360" y="12720"/>
                    <a:pt x="2800" y="12720"/>
                  </a:cubicBezTo>
                  <a:cubicBezTo>
                    <a:pt x="4240" y="12720"/>
                    <a:pt x="5440" y="11520"/>
                    <a:pt x="5440" y="10080"/>
                  </a:cubicBezTo>
                  <a:cubicBezTo>
                    <a:pt x="5440" y="8880"/>
                    <a:pt x="4640" y="7920"/>
                    <a:pt x="3600" y="7600"/>
                  </a:cubicBezTo>
                  <a:lnTo>
                    <a:pt x="5680" y="5760"/>
                  </a:lnTo>
                  <a:lnTo>
                    <a:pt x="7840" y="7680"/>
                  </a:lnTo>
                  <a:cubicBezTo>
                    <a:pt x="6880" y="8080"/>
                    <a:pt x="6240" y="9040"/>
                    <a:pt x="6240" y="10080"/>
                  </a:cubicBezTo>
                  <a:cubicBezTo>
                    <a:pt x="6240" y="11520"/>
                    <a:pt x="7440" y="12720"/>
                    <a:pt x="8880" y="12720"/>
                  </a:cubicBezTo>
                  <a:cubicBezTo>
                    <a:pt x="10320" y="12720"/>
                    <a:pt x="11520" y="11520"/>
                    <a:pt x="11520" y="10080"/>
                  </a:cubicBezTo>
                  <a:cubicBezTo>
                    <a:pt x="11520" y="8640"/>
                    <a:pt x="10320" y="7520"/>
                    <a:pt x="8880" y="7520"/>
                  </a:cubicBezTo>
                  <a:close/>
                  <a:moveTo>
                    <a:pt x="4720" y="10080"/>
                  </a:moveTo>
                  <a:cubicBezTo>
                    <a:pt x="4720" y="11120"/>
                    <a:pt x="3840" y="12000"/>
                    <a:pt x="2800" y="12000"/>
                  </a:cubicBezTo>
                  <a:cubicBezTo>
                    <a:pt x="1760" y="12000"/>
                    <a:pt x="880" y="11120"/>
                    <a:pt x="880" y="10080"/>
                  </a:cubicBezTo>
                  <a:cubicBezTo>
                    <a:pt x="880" y="9040"/>
                    <a:pt x="1760" y="8160"/>
                    <a:pt x="2800" y="8160"/>
                  </a:cubicBezTo>
                  <a:cubicBezTo>
                    <a:pt x="3840" y="8160"/>
                    <a:pt x="4720" y="9040"/>
                    <a:pt x="4720" y="10080"/>
                  </a:cubicBezTo>
                  <a:close/>
                  <a:moveTo>
                    <a:pt x="8880" y="12000"/>
                  </a:moveTo>
                  <a:cubicBezTo>
                    <a:pt x="7840" y="12000"/>
                    <a:pt x="6960" y="11120"/>
                    <a:pt x="6960" y="10080"/>
                  </a:cubicBezTo>
                  <a:cubicBezTo>
                    <a:pt x="6960" y="9040"/>
                    <a:pt x="7840" y="8160"/>
                    <a:pt x="8880" y="8160"/>
                  </a:cubicBezTo>
                  <a:cubicBezTo>
                    <a:pt x="9920" y="8160"/>
                    <a:pt x="10800" y="9040"/>
                    <a:pt x="10800" y="10080"/>
                  </a:cubicBezTo>
                  <a:cubicBezTo>
                    <a:pt x="10800" y="11120"/>
                    <a:pt x="9920" y="12000"/>
                    <a:pt x="8880" y="120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37" name="iconfont-11894-5689857"/>
            <p:cNvSpPr>
              <a:spLocks noChangeAspect="1"/>
            </p:cNvSpPr>
            <p:nvPr userDrawn="1"/>
          </p:nvSpPr>
          <p:spPr bwMode="auto">
            <a:xfrm>
              <a:off x="25750259" y="4617762"/>
              <a:ext cx="609685" cy="563308"/>
            </a:xfrm>
            <a:custGeom>
              <a:avLst/>
              <a:gdLst>
                <a:gd name="T0" fmla="*/ 10230 w 11229"/>
                <a:gd name="T1" fmla="*/ 8212 h 10372"/>
                <a:gd name="T2" fmla="*/ 10167 w 11229"/>
                <a:gd name="T3" fmla="*/ 8205 h 10372"/>
                <a:gd name="T4" fmla="*/ 4884 w 11229"/>
                <a:gd name="T5" fmla="*/ 8205 h 10372"/>
                <a:gd name="T6" fmla="*/ 4649 w 11229"/>
                <a:gd name="T7" fmla="*/ 7316 h 10372"/>
                <a:gd name="T8" fmla="*/ 9093 w 11229"/>
                <a:gd name="T9" fmla="*/ 6985 h 10372"/>
                <a:gd name="T10" fmla="*/ 9388 w 11229"/>
                <a:gd name="T11" fmla="*/ 6673 h 10372"/>
                <a:gd name="T12" fmla="*/ 10234 w 11229"/>
                <a:gd name="T13" fmla="*/ 1982 h 10372"/>
                <a:gd name="T14" fmla="*/ 10236 w 11229"/>
                <a:gd name="T15" fmla="*/ 1875 h 10372"/>
                <a:gd name="T16" fmla="*/ 9917 w 11229"/>
                <a:gd name="T17" fmla="*/ 1593 h 10372"/>
                <a:gd name="T18" fmla="*/ 3134 w 11229"/>
                <a:gd name="T19" fmla="*/ 1593 h 10372"/>
                <a:gd name="T20" fmla="*/ 2792 w 11229"/>
                <a:gd name="T21" fmla="*/ 302 h 10372"/>
                <a:gd name="T22" fmla="*/ 2472 w 11229"/>
                <a:gd name="T23" fmla="*/ 0 h 10372"/>
                <a:gd name="T24" fmla="*/ 320 w 11229"/>
                <a:gd name="T25" fmla="*/ 0 h 10372"/>
                <a:gd name="T26" fmla="*/ 0 w 11229"/>
                <a:gd name="T27" fmla="*/ 309 h 10372"/>
                <a:gd name="T28" fmla="*/ 320 w 11229"/>
                <a:gd name="T29" fmla="*/ 619 h 10372"/>
                <a:gd name="T30" fmla="*/ 2216 w 11229"/>
                <a:gd name="T31" fmla="*/ 619 h 10372"/>
                <a:gd name="T32" fmla="*/ 4224 w 11229"/>
                <a:gd name="T33" fmla="*/ 8205 h 10372"/>
                <a:gd name="T34" fmla="*/ 3622 w 11229"/>
                <a:gd name="T35" fmla="*/ 8205 h 10372"/>
                <a:gd name="T36" fmla="*/ 3562 w 11229"/>
                <a:gd name="T37" fmla="*/ 8211 h 10372"/>
                <a:gd name="T38" fmla="*/ 3447 w 11229"/>
                <a:gd name="T39" fmla="*/ 8205 h 10372"/>
                <a:gd name="T40" fmla="*/ 2327 w 11229"/>
                <a:gd name="T41" fmla="*/ 9289 h 10372"/>
                <a:gd name="T42" fmla="*/ 3447 w 11229"/>
                <a:gd name="T43" fmla="*/ 10372 h 10372"/>
                <a:gd name="T44" fmla="*/ 4567 w 11229"/>
                <a:gd name="T45" fmla="*/ 9289 h 10372"/>
                <a:gd name="T46" fmla="*/ 4445 w 11229"/>
                <a:gd name="T47" fmla="*/ 8796 h 10372"/>
                <a:gd name="T48" fmla="*/ 4584 w 11229"/>
                <a:gd name="T49" fmla="*/ 8796 h 10372"/>
                <a:gd name="T50" fmla="*/ 4674 w 11229"/>
                <a:gd name="T51" fmla="*/ 8796 h 10372"/>
                <a:gd name="T52" fmla="*/ 9111 w 11229"/>
                <a:gd name="T53" fmla="*/ 8796 h 10372"/>
                <a:gd name="T54" fmla="*/ 8988 w 11229"/>
                <a:gd name="T55" fmla="*/ 9289 h 10372"/>
                <a:gd name="T56" fmla="*/ 10109 w 11229"/>
                <a:gd name="T57" fmla="*/ 10372 h 10372"/>
                <a:gd name="T58" fmla="*/ 11229 w 11229"/>
                <a:gd name="T59" fmla="*/ 9289 h 10372"/>
                <a:gd name="T60" fmla="*/ 10230 w 11229"/>
                <a:gd name="T61" fmla="*/ 8212 h 10372"/>
                <a:gd name="T62" fmla="*/ 3447 w 11229"/>
                <a:gd name="T63" fmla="*/ 9879 h 10372"/>
                <a:gd name="T64" fmla="*/ 2836 w 11229"/>
                <a:gd name="T65" fmla="*/ 9289 h 10372"/>
                <a:gd name="T66" fmla="*/ 3447 w 11229"/>
                <a:gd name="T67" fmla="*/ 8697 h 10372"/>
                <a:gd name="T68" fmla="*/ 4058 w 11229"/>
                <a:gd name="T69" fmla="*/ 9289 h 10372"/>
                <a:gd name="T70" fmla="*/ 3447 w 11229"/>
                <a:gd name="T71" fmla="*/ 9879 h 10372"/>
                <a:gd name="T72" fmla="*/ 4487 w 11229"/>
                <a:gd name="T73" fmla="*/ 6707 h 10372"/>
                <a:gd name="T74" fmla="*/ 3298 w 11229"/>
                <a:gd name="T75" fmla="*/ 2212 h 10372"/>
                <a:gd name="T76" fmla="*/ 9543 w 11229"/>
                <a:gd name="T77" fmla="*/ 2212 h 10372"/>
                <a:gd name="T78" fmla="*/ 8790 w 11229"/>
                <a:gd name="T79" fmla="*/ 6387 h 10372"/>
                <a:gd name="T80" fmla="*/ 4487 w 11229"/>
                <a:gd name="T81" fmla="*/ 6707 h 10372"/>
                <a:gd name="T82" fmla="*/ 10109 w 11229"/>
                <a:gd name="T83" fmla="*/ 9879 h 10372"/>
                <a:gd name="T84" fmla="*/ 9498 w 11229"/>
                <a:gd name="T85" fmla="*/ 9289 h 10372"/>
                <a:gd name="T86" fmla="*/ 10109 w 11229"/>
                <a:gd name="T87" fmla="*/ 8697 h 10372"/>
                <a:gd name="T88" fmla="*/ 10719 w 11229"/>
                <a:gd name="T89" fmla="*/ 9289 h 10372"/>
                <a:gd name="T90" fmla="*/ 10109 w 11229"/>
                <a:gd name="T91" fmla="*/ 9879 h 10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229" h="10372">
                  <a:moveTo>
                    <a:pt x="10230" y="8212"/>
                  </a:moveTo>
                  <a:cubicBezTo>
                    <a:pt x="10209" y="8207"/>
                    <a:pt x="10188" y="8205"/>
                    <a:pt x="10167" y="8205"/>
                  </a:cubicBezTo>
                  <a:lnTo>
                    <a:pt x="4884" y="8205"/>
                  </a:lnTo>
                  <a:lnTo>
                    <a:pt x="4649" y="7316"/>
                  </a:lnTo>
                  <a:lnTo>
                    <a:pt x="9093" y="6985"/>
                  </a:lnTo>
                  <a:cubicBezTo>
                    <a:pt x="9263" y="6973"/>
                    <a:pt x="9391" y="6835"/>
                    <a:pt x="9388" y="6673"/>
                  </a:cubicBezTo>
                  <a:lnTo>
                    <a:pt x="10234" y="1982"/>
                  </a:lnTo>
                  <a:cubicBezTo>
                    <a:pt x="10241" y="1945"/>
                    <a:pt x="10242" y="1909"/>
                    <a:pt x="10236" y="1875"/>
                  </a:cubicBezTo>
                  <a:cubicBezTo>
                    <a:pt x="10222" y="1717"/>
                    <a:pt x="10085" y="1593"/>
                    <a:pt x="9917" y="1593"/>
                  </a:cubicBezTo>
                  <a:lnTo>
                    <a:pt x="3134" y="1593"/>
                  </a:lnTo>
                  <a:lnTo>
                    <a:pt x="2792" y="302"/>
                  </a:lnTo>
                  <a:cubicBezTo>
                    <a:pt x="2788" y="134"/>
                    <a:pt x="2647" y="0"/>
                    <a:pt x="2472" y="0"/>
                  </a:cubicBezTo>
                  <a:lnTo>
                    <a:pt x="320" y="0"/>
                  </a:lnTo>
                  <a:cubicBezTo>
                    <a:pt x="143" y="0"/>
                    <a:pt x="0" y="138"/>
                    <a:pt x="0" y="309"/>
                  </a:cubicBezTo>
                  <a:cubicBezTo>
                    <a:pt x="0" y="480"/>
                    <a:pt x="143" y="619"/>
                    <a:pt x="320" y="619"/>
                  </a:cubicBezTo>
                  <a:lnTo>
                    <a:pt x="2216" y="619"/>
                  </a:lnTo>
                  <a:lnTo>
                    <a:pt x="4224" y="8205"/>
                  </a:lnTo>
                  <a:lnTo>
                    <a:pt x="3622" y="8205"/>
                  </a:lnTo>
                  <a:cubicBezTo>
                    <a:pt x="3601" y="8205"/>
                    <a:pt x="3581" y="8207"/>
                    <a:pt x="3562" y="8211"/>
                  </a:cubicBezTo>
                  <a:cubicBezTo>
                    <a:pt x="3524" y="8207"/>
                    <a:pt x="3486" y="8205"/>
                    <a:pt x="3447" y="8205"/>
                  </a:cubicBezTo>
                  <a:cubicBezTo>
                    <a:pt x="2828" y="8205"/>
                    <a:pt x="2327" y="8690"/>
                    <a:pt x="2327" y="9289"/>
                  </a:cubicBezTo>
                  <a:cubicBezTo>
                    <a:pt x="2327" y="9887"/>
                    <a:pt x="2828" y="10372"/>
                    <a:pt x="3447" y="10372"/>
                  </a:cubicBezTo>
                  <a:cubicBezTo>
                    <a:pt x="4066" y="10372"/>
                    <a:pt x="4567" y="9887"/>
                    <a:pt x="4567" y="9289"/>
                  </a:cubicBezTo>
                  <a:cubicBezTo>
                    <a:pt x="4567" y="9111"/>
                    <a:pt x="4523" y="8944"/>
                    <a:pt x="4445" y="8796"/>
                  </a:cubicBezTo>
                  <a:lnTo>
                    <a:pt x="4584" y="8796"/>
                  </a:lnTo>
                  <a:cubicBezTo>
                    <a:pt x="4613" y="8800"/>
                    <a:pt x="4643" y="8800"/>
                    <a:pt x="4674" y="8796"/>
                  </a:cubicBezTo>
                  <a:lnTo>
                    <a:pt x="9111" y="8796"/>
                  </a:lnTo>
                  <a:cubicBezTo>
                    <a:pt x="9032" y="8944"/>
                    <a:pt x="8988" y="9111"/>
                    <a:pt x="8988" y="9289"/>
                  </a:cubicBezTo>
                  <a:cubicBezTo>
                    <a:pt x="8988" y="9887"/>
                    <a:pt x="9490" y="10372"/>
                    <a:pt x="10109" y="10372"/>
                  </a:cubicBezTo>
                  <a:cubicBezTo>
                    <a:pt x="10727" y="10372"/>
                    <a:pt x="11229" y="9887"/>
                    <a:pt x="11229" y="9289"/>
                  </a:cubicBezTo>
                  <a:cubicBezTo>
                    <a:pt x="11228" y="8730"/>
                    <a:pt x="10791" y="8270"/>
                    <a:pt x="10230" y="8212"/>
                  </a:cubicBezTo>
                  <a:close/>
                  <a:moveTo>
                    <a:pt x="3447" y="9879"/>
                  </a:moveTo>
                  <a:cubicBezTo>
                    <a:pt x="3109" y="9879"/>
                    <a:pt x="2836" y="9615"/>
                    <a:pt x="2836" y="9289"/>
                  </a:cubicBezTo>
                  <a:cubicBezTo>
                    <a:pt x="2836" y="8962"/>
                    <a:pt x="3110" y="8697"/>
                    <a:pt x="3447" y="8697"/>
                  </a:cubicBezTo>
                  <a:cubicBezTo>
                    <a:pt x="3784" y="8697"/>
                    <a:pt x="4058" y="8962"/>
                    <a:pt x="4058" y="9289"/>
                  </a:cubicBezTo>
                  <a:cubicBezTo>
                    <a:pt x="4058" y="9615"/>
                    <a:pt x="3784" y="9879"/>
                    <a:pt x="3447" y="9879"/>
                  </a:cubicBezTo>
                  <a:close/>
                  <a:moveTo>
                    <a:pt x="4487" y="6707"/>
                  </a:moveTo>
                  <a:lnTo>
                    <a:pt x="3298" y="2212"/>
                  </a:lnTo>
                  <a:lnTo>
                    <a:pt x="9543" y="2212"/>
                  </a:lnTo>
                  <a:lnTo>
                    <a:pt x="8790" y="6387"/>
                  </a:lnTo>
                  <a:lnTo>
                    <a:pt x="4487" y="6707"/>
                  </a:lnTo>
                  <a:close/>
                  <a:moveTo>
                    <a:pt x="10109" y="9879"/>
                  </a:moveTo>
                  <a:cubicBezTo>
                    <a:pt x="9771" y="9879"/>
                    <a:pt x="9498" y="9615"/>
                    <a:pt x="9498" y="9289"/>
                  </a:cubicBezTo>
                  <a:cubicBezTo>
                    <a:pt x="9498" y="8962"/>
                    <a:pt x="9771" y="8697"/>
                    <a:pt x="10109" y="8697"/>
                  </a:cubicBezTo>
                  <a:cubicBezTo>
                    <a:pt x="10446" y="8697"/>
                    <a:pt x="10719" y="8962"/>
                    <a:pt x="10719" y="9289"/>
                  </a:cubicBezTo>
                  <a:cubicBezTo>
                    <a:pt x="10719" y="9615"/>
                    <a:pt x="10446" y="9879"/>
                    <a:pt x="10109" y="98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419" name="iconfont-11894-5689857"/>
            <p:cNvSpPr>
              <a:spLocks noChangeAspect="1"/>
            </p:cNvSpPr>
            <p:nvPr userDrawn="1"/>
          </p:nvSpPr>
          <p:spPr bwMode="auto">
            <a:xfrm>
              <a:off x="26998436" y="4594574"/>
              <a:ext cx="552081" cy="609685"/>
            </a:xfrm>
            <a:custGeom>
              <a:avLst/>
              <a:gdLst>
                <a:gd name="T0" fmla="*/ 8880 w 11520"/>
                <a:gd name="T1" fmla="*/ 7520 h 12720"/>
                <a:gd name="T2" fmla="*/ 8720 w 11520"/>
                <a:gd name="T3" fmla="*/ 7520 h 12720"/>
                <a:gd name="T4" fmla="*/ 6240 w 11520"/>
                <a:gd name="T5" fmla="*/ 5280 h 12720"/>
                <a:gd name="T6" fmla="*/ 11360 w 11520"/>
                <a:gd name="T7" fmla="*/ 640 h 12720"/>
                <a:gd name="T8" fmla="*/ 10880 w 11520"/>
                <a:gd name="T9" fmla="*/ 80 h 12720"/>
                <a:gd name="T10" fmla="*/ 5680 w 11520"/>
                <a:gd name="T11" fmla="*/ 4720 h 12720"/>
                <a:gd name="T12" fmla="*/ 480 w 11520"/>
                <a:gd name="T13" fmla="*/ 0 h 12720"/>
                <a:gd name="T14" fmla="*/ 0 w 11520"/>
                <a:gd name="T15" fmla="*/ 560 h 12720"/>
                <a:gd name="T16" fmla="*/ 5120 w 11520"/>
                <a:gd name="T17" fmla="*/ 5200 h 12720"/>
                <a:gd name="T18" fmla="*/ 2640 w 11520"/>
                <a:gd name="T19" fmla="*/ 7440 h 12720"/>
                <a:gd name="T20" fmla="*/ 160 w 11520"/>
                <a:gd name="T21" fmla="*/ 10080 h 12720"/>
                <a:gd name="T22" fmla="*/ 2800 w 11520"/>
                <a:gd name="T23" fmla="*/ 12720 h 12720"/>
                <a:gd name="T24" fmla="*/ 5440 w 11520"/>
                <a:gd name="T25" fmla="*/ 10080 h 12720"/>
                <a:gd name="T26" fmla="*/ 3600 w 11520"/>
                <a:gd name="T27" fmla="*/ 7600 h 12720"/>
                <a:gd name="T28" fmla="*/ 5680 w 11520"/>
                <a:gd name="T29" fmla="*/ 5760 h 12720"/>
                <a:gd name="T30" fmla="*/ 7840 w 11520"/>
                <a:gd name="T31" fmla="*/ 7680 h 12720"/>
                <a:gd name="T32" fmla="*/ 6240 w 11520"/>
                <a:gd name="T33" fmla="*/ 10080 h 12720"/>
                <a:gd name="T34" fmla="*/ 8880 w 11520"/>
                <a:gd name="T35" fmla="*/ 12720 h 12720"/>
                <a:gd name="T36" fmla="*/ 11520 w 11520"/>
                <a:gd name="T37" fmla="*/ 10080 h 12720"/>
                <a:gd name="T38" fmla="*/ 8880 w 11520"/>
                <a:gd name="T39" fmla="*/ 7520 h 12720"/>
                <a:gd name="T40" fmla="*/ 4720 w 11520"/>
                <a:gd name="T41" fmla="*/ 10080 h 12720"/>
                <a:gd name="T42" fmla="*/ 2800 w 11520"/>
                <a:gd name="T43" fmla="*/ 12000 h 12720"/>
                <a:gd name="T44" fmla="*/ 880 w 11520"/>
                <a:gd name="T45" fmla="*/ 10080 h 12720"/>
                <a:gd name="T46" fmla="*/ 2800 w 11520"/>
                <a:gd name="T47" fmla="*/ 8160 h 12720"/>
                <a:gd name="T48" fmla="*/ 4720 w 11520"/>
                <a:gd name="T49" fmla="*/ 10080 h 12720"/>
                <a:gd name="T50" fmla="*/ 8880 w 11520"/>
                <a:gd name="T51" fmla="*/ 12000 h 12720"/>
                <a:gd name="T52" fmla="*/ 6960 w 11520"/>
                <a:gd name="T53" fmla="*/ 10080 h 12720"/>
                <a:gd name="T54" fmla="*/ 8880 w 11520"/>
                <a:gd name="T55" fmla="*/ 8160 h 12720"/>
                <a:gd name="T56" fmla="*/ 10800 w 11520"/>
                <a:gd name="T57" fmla="*/ 10080 h 12720"/>
                <a:gd name="T58" fmla="*/ 8880 w 11520"/>
                <a:gd name="T59" fmla="*/ 1200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520" h="12720">
                  <a:moveTo>
                    <a:pt x="8880" y="7520"/>
                  </a:moveTo>
                  <a:lnTo>
                    <a:pt x="8720" y="7520"/>
                  </a:lnTo>
                  <a:lnTo>
                    <a:pt x="6240" y="5280"/>
                  </a:lnTo>
                  <a:lnTo>
                    <a:pt x="11360" y="640"/>
                  </a:lnTo>
                  <a:lnTo>
                    <a:pt x="10880" y="80"/>
                  </a:lnTo>
                  <a:lnTo>
                    <a:pt x="5680" y="4720"/>
                  </a:lnTo>
                  <a:lnTo>
                    <a:pt x="480" y="0"/>
                  </a:lnTo>
                  <a:lnTo>
                    <a:pt x="0" y="560"/>
                  </a:lnTo>
                  <a:lnTo>
                    <a:pt x="5120" y="5200"/>
                  </a:lnTo>
                  <a:lnTo>
                    <a:pt x="2640" y="7440"/>
                  </a:lnTo>
                  <a:cubicBezTo>
                    <a:pt x="1280" y="7520"/>
                    <a:pt x="160" y="8640"/>
                    <a:pt x="160" y="10080"/>
                  </a:cubicBezTo>
                  <a:cubicBezTo>
                    <a:pt x="160" y="11520"/>
                    <a:pt x="1360" y="12720"/>
                    <a:pt x="2800" y="12720"/>
                  </a:cubicBezTo>
                  <a:cubicBezTo>
                    <a:pt x="4240" y="12720"/>
                    <a:pt x="5440" y="11520"/>
                    <a:pt x="5440" y="10080"/>
                  </a:cubicBezTo>
                  <a:cubicBezTo>
                    <a:pt x="5440" y="8880"/>
                    <a:pt x="4640" y="7920"/>
                    <a:pt x="3600" y="7600"/>
                  </a:cubicBezTo>
                  <a:lnTo>
                    <a:pt x="5680" y="5760"/>
                  </a:lnTo>
                  <a:lnTo>
                    <a:pt x="7840" y="7680"/>
                  </a:lnTo>
                  <a:cubicBezTo>
                    <a:pt x="6880" y="8080"/>
                    <a:pt x="6240" y="9040"/>
                    <a:pt x="6240" y="10080"/>
                  </a:cubicBezTo>
                  <a:cubicBezTo>
                    <a:pt x="6240" y="11520"/>
                    <a:pt x="7440" y="12720"/>
                    <a:pt x="8880" y="12720"/>
                  </a:cubicBezTo>
                  <a:cubicBezTo>
                    <a:pt x="10320" y="12720"/>
                    <a:pt x="11520" y="11520"/>
                    <a:pt x="11520" y="10080"/>
                  </a:cubicBezTo>
                  <a:cubicBezTo>
                    <a:pt x="11520" y="8640"/>
                    <a:pt x="10320" y="7520"/>
                    <a:pt x="8880" y="7520"/>
                  </a:cubicBezTo>
                  <a:close/>
                  <a:moveTo>
                    <a:pt x="4720" y="10080"/>
                  </a:moveTo>
                  <a:cubicBezTo>
                    <a:pt x="4720" y="11120"/>
                    <a:pt x="3840" y="12000"/>
                    <a:pt x="2800" y="12000"/>
                  </a:cubicBezTo>
                  <a:cubicBezTo>
                    <a:pt x="1760" y="12000"/>
                    <a:pt x="880" y="11120"/>
                    <a:pt x="880" y="10080"/>
                  </a:cubicBezTo>
                  <a:cubicBezTo>
                    <a:pt x="880" y="9040"/>
                    <a:pt x="1760" y="8160"/>
                    <a:pt x="2800" y="8160"/>
                  </a:cubicBezTo>
                  <a:cubicBezTo>
                    <a:pt x="3840" y="8160"/>
                    <a:pt x="4720" y="9040"/>
                    <a:pt x="4720" y="10080"/>
                  </a:cubicBezTo>
                  <a:close/>
                  <a:moveTo>
                    <a:pt x="8880" y="12000"/>
                  </a:moveTo>
                  <a:cubicBezTo>
                    <a:pt x="7840" y="12000"/>
                    <a:pt x="6960" y="11120"/>
                    <a:pt x="6960" y="10080"/>
                  </a:cubicBezTo>
                  <a:cubicBezTo>
                    <a:pt x="6960" y="9040"/>
                    <a:pt x="7840" y="8160"/>
                    <a:pt x="8880" y="8160"/>
                  </a:cubicBezTo>
                  <a:cubicBezTo>
                    <a:pt x="9920" y="8160"/>
                    <a:pt x="10800" y="9040"/>
                    <a:pt x="10800" y="10080"/>
                  </a:cubicBezTo>
                  <a:cubicBezTo>
                    <a:pt x="10800" y="11120"/>
                    <a:pt x="9920" y="12000"/>
                    <a:pt x="8880" y="1200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86" name="iconfont-11894-5689857"/>
            <p:cNvSpPr>
              <a:spLocks noChangeAspect="1"/>
            </p:cNvSpPr>
            <p:nvPr userDrawn="1"/>
          </p:nvSpPr>
          <p:spPr bwMode="auto">
            <a:xfrm>
              <a:off x="28188999" y="4594574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88" name="iconfont-11894-5689857"/>
            <p:cNvSpPr>
              <a:spLocks noChangeAspect="1"/>
            </p:cNvSpPr>
            <p:nvPr userDrawn="1"/>
          </p:nvSpPr>
          <p:spPr bwMode="auto">
            <a:xfrm>
              <a:off x="13556559" y="6064991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89" name="iconfont-11894-5689857"/>
            <p:cNvSpPr>
              <a:spLocks noChangeAspect="1"/>
            </p:cNvSpPr>
            <p:nvPr userDrawn="1"/>
          </p:nvSpPr>
          <p:spPr bwMode="auto">
            <a:xfrm>
              <a:off x="14775929" y="6100660"/>
              <a:ext cx="609685" cy="538348"/>
            </a:xfrm>
            <a:custGeom>
              <a:avLst/>
              <a:gdLst>
                <a:gd name="T0" fmla="*/ 11767 w 12800"/>
                <a:gd name="T1" fmla="*/ 11302 h 11302"/>
                <a:gd name="T2" fmla="*/ 1033 w 12800"/>
                <a:gd name="T3" fmla="*/ 11302 h 11302"/>
                <a:gd name="T4" fmla="*/ 0 w 12800"/>
                <a:gd name="T5" fmla="*/ 10268 h 11302"/>
                <a:gd name="T6" fmla="*/ 0 w 12800"/>
                <a:gd name="T7" fmla="*/ 4874 h 11302"/>
                <a:gd name="T8" fmla="*/ 467 w 12800"/>
                <a:gd name="T9" fmla="*/ 3936 h 11302"/>
                <a:gd name="T10" fmla="*/ 579 w 12800"/>
                <a:gd name="T11" fmla="*/ 3857 h 11302"/>
                <a:gd name="T12" fmla="*/ 786 w 12800"/>
                <a:gd name="T13" fmla="*/ 3712 h 11302"/>
                <a:gd name="T14" fmla="*/ 1070 w 12800"/>
                <a:gd name="T15" fmla="*/ 4162 h 11302"/>
                <a:gd name="T16" fmla="*/ 903 w 12800"/>
                <a:gd name="T17" fmla="*/ 4280 h 11302"/>
                <a:gd name="T18" fmla="*/ 740 w 12800"/>
                <a:gd name="T19" fmla="*/ 4394 h 11302"/>
                <a:gd name="T20" fmla="*/ 533 w 12800"/>
                <a:gd name="T21" fmla="*/ 4874 h 11302"/>
                <a:gd name="T22" fmla="*/ 533 w 12800"/>
                <a:gd name="T23" fmla="*/ 10268 h 11302"/>
                <a:gd name="T24" fmla="*/ 1033 w 12800"/>
                <a:gd name="T25" fmla="*/ 10768 h 11302"/>
                <a:gd name="T26" fmla="*/ 11767 w 12800"/>
                <a:gd name="T27" fmla="*/ 10768 h 11302"/>
                <a:gd name="T28" fmla="*/ 12267 w 12800"/>
                <a:gd name="T29" fmla="*/ 10268 h 11302"/>
                <a:gd name="T30" fmla="*/ 12267 w 12800"/>
                <a:gd name="T31" fmla="*/ 4874 h 11302"/>
                <a:gd name="T32" fmla="*/ 12064 w 12800"/>
                <a:gd name="T33" fmla="*/ 4402 h 11302"/>
                <a:gd name="T34" fmla="*/ 11885 w 12800"/>
                <a:gd name="T35" fmla="*/ 4278 h 11302"/>
                <a:gd name="T36" fmla="*/ 11751 w 12800"/>
                <a:gd name="T37" fmla="*/ 4182 h 11302"/>
                <a:gd name="T38" fmla="*/ 12057 w 12800"/>
                <a:gd name="T39" fmla="*/ 3746 h 11302"/>
                <a:gd name="T40" fmla="*/ 12196 w 12800"/>
                <a:gd name="T41" fmla="*/ 3845 h 11302"/>
                <a:gd name="T42" fmla="*/ 12357 w 12800"/>
                <a:gd name="T43" fmla="*/ 3957 h 11302"/>
                <a:gd name="T44" fmla="*/ 12800 w 12800"/>
                <a:gd name="T45" fmla="*/ 4874 h 11302"/>
                <a:gd name="T46" fmla="*/ 12800 w 12800"/>
                <a:gd name="T47" fmla="*/ 10268 h 11302"/>
                <a:gd name="T48" fmla="*/ 11767 w 12800"/>
                <a:gd name="T49" fmla="*/ 11302 h 11302"/>
                <a:gd name="T50" fmla="*/ 9084 w 12800"/>
                <a:gd name="T51" fmla="*/ 7693 h 11302"/>
                <a:gd name="T52" fmla="*/ 9083 w 12800"/>
                <a:gd name="T53" fmla="*/ 7693 h 11302"/>
                <a:gd name="T54" fmla="*/ 3692 w 12800"/>
                <a:gd name="T55" fmla="*/ 7670 h 11302"/>
                <a:gd name="T56" fmla="*/ 3505 w 12800"/>
                <a:gd name="T57" fmla="*/ 7592 h 11302"/>
                <a:gd name="T58" fmla="*/ 329 w 12800"/>
                <a:gd name="T59" fmla="*/ 4414 h 11302"/>
                <a:gd name="T60" fmla="*/ 706 w 12800"/>
                <a:gd name="T61" fmla="*/ 4037 h 11302"/>
                <a:gd name="T62" fmla="*/ 3804 w 12800"/>
                <a:gd name="T63" fmla="*/ 7137 h 11302"/>
                <a:gd name="T64" fmla="*/ 8974 w 12800"/>
                <a:gd name="T65" fmla="*/ 7159 h 11302"/>
                <a:gd name="T66" fmla="*/ 12095 w 12800"/>
                <a:gd name="T67" fmla="*/ 4037 h 11302"/>
                <a:gd name="T68" fmla="*/ 12472 w 12800"/>
                <a:gd name="T69" fmla="*/ 4414 h 11302"/>
                <a:gd name="T70" fmla="*/ 9272 w 12800"/>
                <a:gd name="T71" fmla="*/ 7615 h 11302"/>
                <a:gd name="T72" fmla="*/ 9084 w 12800"/>
                <a:gd name="T73" fmla="*/ 7693 h 11302"/>
                <a:gd name="T74" fmla="*/ 3418 w 12800"/>
                <a:gd name="T75" fmla="*/ 7081 h 11302"/>
                <a:gd name="T76" fmla="*/ 3820 w 12800"/>
                <a:gd name="T77" fmla="*/ 7433 h 11302"/>
                <a:gd name="T78" fmla="*/ 673 w 12800"/>
                <a:gd name="T79" fmla="*/ 11025 h 11302"/>
                <a:gd name="T80" fmla="*/ 271 w 12800"/>
                <a:gd name="T81" fmla="*/ 10673 h 11302"/>
                <a:gd name="T82" fmla="*/ 3418 w 12800"/>
                <a:gd name="T83" fmla="*/ 7081 h 11302"/>
                <a:gd name="T84" fmla="*/ 9433 w 12800"/>
                <a:gd name="T85" fmla="*/ 7081 h 11302"/>
                <a:gd name="T86" fmla="*/ 12579 w 12800"/>
                <a:gd name="T87" fmla="*/ 10673 h 11302"/>
                <a:gd name="T88" fmla="*/ 12178 w 12800"/>
                <a:gd name="T89" fmla="*/ 11025 h 11302"/>
                <a:gd name="T90" fmla="*/ 9032 w 12800"/>
                <a:gd name="T91" fmla="*/ 7432 h 11302"/>
                <a:gd name="T92" fmla="*/ 9433 w 12800"/>
                <a:gd name="T93" fmla="*/ 7081 h 11302"/>
                <a:gd name="T94" fmla="*/ 670 w 12800"/>
                <a:gd name="T95" fmla="*/ 4444 h 11302"/>
                <a:gd name="T96" fmla="*/ 364 w 12800"/>
                <a:gd name="T97" fmla="*/ 4007 h 11302"/>
                <a:gd name="T98" fmla="*/ 5666 w 12800"/>
                <a:gd name="T99" fmla="*/ 288 h 11302"/>
                <a:gd name="T100" fmla="*/ 7127 w 12800"/>
                <a:gd name="T101" fmla="*/ 288 h 11302"/>
                <a:gd name="T102" fmla="*/ 12429 w 12800"/>
                <a:gd name="T103" fmla="*/ 4007 h 11302"/>
                <a:gd name="T104" fmla="*/ 12123 w 12800"/>
                <a:gd name="T105" fmla="*/ 4444 h 11302"/>
                <a:gd name="T106" fmla="*/ 6821 w 12800"/>
                <a:gd name="T107" fmla="*/ 724 h 11302"/>
                <a:gd name="T108" fmla="*/ 5973 w 12800"/>
                <a:gd name="T109" fmla="*/ 724 h 11302"/>
                <a:gd name="T110" fmla="*/ 670 w 12800"/>
                <a:gd name="T111" fmla="*/ 4444 h 1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1302">
                  <a:moveTo>
                    <a:pt x="11767" y="11302"/>
                  </a:moveTo>
                  <a:lnTo>
                    <a:pt x="1033" y="11302"/>
                  </a:lnTo>
                  <a:cubicBezTo>
                    <a:pt x="463" y="11301"/>
                    <a:pt x="1" y="10839"/>
                    <a:pt x="0" y="10268"/>
                  </a:cubicBezTo>
                  <a:lnTo>
                    <a:pt x="0" y="4874"/>
                  </a:lnTo>
                  <a:cubicBezTo>
                    <a:pt x="0" y="4467"/>
                    <a:pt x="179" y="4107"/>
                    <a:pt x="467" y="3936"/>
                  </a:cubicBezTo>
                  <a:cubicBezTo>
                    <a:pt x="512" y="3909"/>
                    <a:pt x="543" y="3884"/>
                    <a:pt x="579" y="3857"/>
                  </a:cubicBezTo>
                  <a:cubicBezTo>
                    <a:pt x="631" y="3817"/>
                    <a:pt x="690" y="3772"/>
                    <a:pt x="786" y="3712"/>
                  </a:cubicBezTo>
                  <a:lnTo>
                    <a:pt x="1070" y="4162"/>
                  </a:lnTo>
                  <a:cubicBezTo>
                    <a:pt x="993" y="4211"/>
                    <a:pt x="946" y="4248"/>
                    <a:pt x="903" y="4280"/>
                  </a:cubicBezTo>
                  <a:cubicBezTo>
                    <a:pt x="851" y="4320"/>
                    <a:pt x="805" y="4355"/>
                    <a:pt x="740" y="4394"/>
                  </a:cubicBezTo>
                  <a:cubicBezTo>
                    <a:pt x="618" y="4466"/>
                    <a:pt x="533" y="4664"/>
                    <a:pt x="533" y="4874"/>
                  </a:cubicBezTo>
                  <a:lnTo>
                    <a:pt x="533" y="10268"/>
                  </a:lnTo>
                  <a:cubicBezTo>
                    <a:pt x="533" y="10544"/>
                    <a:pt x="758" y="10768"/>
                    <a:pt x="1033" y="10768"/>
                  </a:cubicBezTo>
                  <a:lnTo>
                    <a:pt x="11767" y="10768"/>
                  </a:lnTo>
                  <a:cubicBezTo>
                    <a:pt x="12043" y="10768"/>
                    <a:pt x="12266" y="10544"/>
                    <a:pt x="12267" y="10268"/>
                  </a:cubicBezTo>
                  <a:lnTo>
                    <a:pt x="12267" y="4874"/>
                  </a:lnTo>
                  <a:cubicBezTo>
                    <a:pt x="12267" y="4674"/>
                    <a:pt x="12183" y="4481"/>
                    <a:pt x="12064" y="4402"/>
                  </a:cubicBezTo>
                  <a:cubicBezTo>
                    <a:pt x="11986" y="4350"/>
                    <a:pt x="11944" y="4320"/>
                    <a:pt x="11885" y="4278"/>
                  </a:cubicBezTo>
                  <a:lnTo>
                    <a:pt x="11751" y="4182"/>
                  </a:lnTo>
                  <a:lnTo>
                    <a:pt x="12057" y="3746"/>
                  </a:lnTo>
                  <a:lnTo>
                    <a:pt x="12196" y="3845"/>
                  </a:lnTo>
                  <a:cubicBezTo>
                    <a:pt x="12249" y="3883"/>
                    <a:pt x="12287" y="3910"/>
                    <a:pt x="12357" y="3957"/>
                  </a:cubicBezTo>
                  <a:cubicBezTo>
                    <a:pt x="12626" y="4133"/>
                    <a:pt x="12800" y="4493"/>
                    <a:pt x="12800" y="4874"/>
                  </a:cubicBezTo>
                  <a:lnTo>
                    <a:pt x="12800" y="10268"/>
                  </a:lnTo>
                  <a:cubicBezTo>
                    <a:pt x="12799" y="10839"/>
                    <a:pt x="12337" y="11301"/>
                    <a:pt x="11767" y="11302"/>
                  </a:cubicBezTo>
                  <a:close/>
                  <a:moveTo>
                    <a:pt x="9084" y="7693"/>
                  </a:moveTo>
                  <a:lnTo>
                    <a:pt x="9083" y="7693"/>
                  </a:lnTo>
                  <a:lnTo>
                    <a:pt x="3692" y="7670"/>
                  </a:lnTo>
                  <a:cubicBezTo>
                    <a:pt x="3622" y="7669"/>
                    <a:pt x="3554" y="7641"/>
                    <a:pt x="3505" y="7592"/>
                  </a:cubicBezTo>
                  <a:lnTo>
                    <a:pt x="329" y="4414"/>
                  </a:lnTo>
                  <a:lnTo>
                    <a:pt x="706" y="4037"/>
                  </a:lnTo>
                  <a:lnTo>
                    <a:pt x="3804" y="7137"/>
                  </a:lnTo>
                  <a:lnTo>
                    <a:pt x="8974" y="7159"/>
                  </a:lnTo>
                  <a:lnTo>
                    <a:pt x="12095" y="4037"/>
                  </a:lnTo>
                  <a:lnTo>
                    <a:pt x="12472" y="4414"/>
                  </a:lnTo>
                  <a:lnTo>
                    <a:pt x="9272" y="7615"/>
                  </a:lnTo>
                  <a:cubicBezTo>
                    <a:pt x="9222" y="7665"/>
                    <a:pt x="9154" y="7693"/>
                    <a:pt x="9084" y="7693"/>
                  </a:cubicBezTo>
                  <a:close/>
                  <a:moveTo>
                    <a:pt x="3418" y="7081"/>
                  </a:moveTo>
                  <a:lnTo>
                    <a:pt x="3820" y="7433"/>
                  </a:lnTo>
                  <a:lnTo>
                    <a:pt x="673" y="11025"/>
                  </a:lnTo>
                  <a:lnTo>
                    <a:pt x="271" y="10673"/>
                  </a:lnTo>
                  <a:lnTo>
                    <a:pt x="3418" y="7081"/>
                  </a:lnTo>
                  <a:close/>
                  <a:moveTo>
                    <a:pt x="9433" y="7081"/>
                  </a:moveTo>
                  <a:lnTo>
                    <a:pt x="12579" y="10673"/>
                  </a:lnTo>
                  <a:lnTo>
                    <a:pt x="12178" y="11025"/>
                  </a:lnTo>
                  <a:lnTo>
                    <a:pt x="9032" y="7432"/>
                  </a:lnTo>
                  <a:lnTo>
                    <a:pt x="9433" y="7081"/>
                  </a:lnTo>
                  <a:close/>
                  <a:moveTo>
                    <a:pt x="670" y="4444"/>
                  </a:moveTo>
                  <a:lnTo>
                    <a:pt x="364" y="4007"/>
                  </a:lnTo>
                  <a:lnTo>
                    <a:pt x="5666" y="288"/>
                  </a:lnTo>
                  <a:cubicBezTo>
                    <a:pt x="6075" y="0"/>
                    <a:pt x="6717" y="0"/>
                    <a:pt x="7127" y="288"/>
                  </a:cubicBezTo>
                  <a:lnTo>
                    <a:pt x="12429" y="4007"/>
                  </a:lnTo>
                  <a:lnTo>
                    <a:pt x="12123" y="4444"/>
                  </a:lnTo>
                  <a:lnTo>
                    <a:pt x="6821" y="724"/>
                  </a:lnTo>
                  <a:cubicBezTo>
                    <a:pt x="6595" y="566"/>
                    <a:pt x="6199" y="566"/>
                    <a:pt x="5973" y="724"/>
                  </a:cubicBezTo>
                  <a:lnTo>
                    <a:pt x="670" y="44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90" name="iconfont-11894-5689857"/>
            <p:cNvSpPr>
              <a:spLocks noChangeAspect="1"/>
            </p:cNvSpPr>
            <p:nvPr userDrawn="1"/>
          </p:nvSpPr>
          <p:spPr bwMode="auto">
            <a:xfrm>
              <a:off x="15995299" y="6087662"/>
              <a:ext cx="609685" cy="564343"/>
            </a:xfrm>
            <a:custGeom>
              <a:avLst/>
              <a:gdLst>
                <a:gd name="T0" fmla="*/ 6128 w 12800"/>
                <a:gd name="T1" fmla="*/ 11849 h 11849"/>
                <a:gd name="T2" fmla="*/ 1782 w 12800"/>
                <a:gd name="T3" fmla="*/ 7439 h 11849"/>
                <a:gd name="T4" fmla="*/ 1781 w 12800"/>
                <a:gd name="T5" fmla="*/ 5059 h 11849"/>
                <a:gd name="T6" fmla="*/ 6400 w 12800"/>
                <a:gd name="T7" fmla="*/ 0 h 11849"/>
                <a:gd name="T8" fmla="*/ 11019 w 12800"/>
                <a:gd name="T9" fmla="*/ 5059 h 11849"/>
                <a:gd name="T10" fmla="*/ 11019 w 12800"/>
                <a:gd name="T11" fmla="*/ 7423 h 11849"/>
                <a:gd name="T12" fmla="*/ 10485 w 12800"/>
                <a:gd name="T13" fmla="*/ 7423 h 11849"/>
                <a:gd name="T14" fmla="*/ 10485 w 12800"/>
                <a:gd name="T15" fmla="*/ 5059 h 11849"/>
                <a:gd name="T16" fmla="*/ 6400 w 12800"/>
                <a:gd name="T17" fmla="*/ 534 h 11849"/>
                <a:gd name="T18" fmla="*/ 2314 w 12800"/>
                <a:gd name="T19" fmla="*/ 5059 h 11849"/>
                <a:gd name="T20" fmla="*/ 2314 w 12800"/>
                <a:gd name="T21" fmla="*/ 7423 h 11849"/>
                <a:gd name="T22" fmla="*/ 6139 w 12800"/>
                <a:gd name="T23" fmla="*/ 11316 h 11849"/>
                <a:gd name="T24" fmla="*/ 6128 w 12800"/>
                <a:gd name="T25" fmla="*/ 11849 h 11849"/>
                <a:gd name="T26" fmla="*/ 1628 w 12800"/>
                <a:gd name="T27" fmla="*/ 7690 h 11849"/>
                <a:gd name="T28" fmla="*/ 0 w 12800"/>
                <a:gd name="T29" fmla="*/ 7690 h 11849"/>
                <a:gd name="T30" fmla="*/ 0 w 12800"/>
                <a:gd name="T31" fmla="*/ 4554 h 11849"/>
                <a:gd name="T32" fmla="*/ 1628 w 12800"/>
                <a:gd name="T33" fmla="*/ 4554 h 11849"/>
                <a:gd name="T34" fmla="*/ 1628 w 12800"/>
                <a:gd name="T35" fmla="*/ 7690 h 11849"/>
                <a:gd name="T36" fmla="*/ 533 w 12800"/>
                <a:gd name="T37" fmla="*/ 7156 h 11849"/>
                <a:gd name="T38" fmla="*/ 1094 w 12800"/>
                <a:gd name="T39" fmla="*/ 7156 h 11849"/>
                <a:gd name="T40" fmla="*/ 1094 w 12800"/>
                <a:gd name="T41" fmla="*/ 5087 h 11849"/>
                <a:gd name="T42" fmla="*/ 533 w 12800"/>
                <a:gd name="T43" fmla="*/ 5087 h 11849"/>
                <a:gd name="T44" fmla="*/ 533 w 12800"/>
                <a:gd name="T45" fmla="*/ 7156 h 11849"/>
                <a:gd name="T46" fmla="*/ 12800 w 12800"/>
                <a:gd name="T47" fmla="*/ 7690 h 11849"/>
                <a:gd name="T48" fmla="*/ 11172 w 12800"/>
                <a:gd name="T49" fmla="*/ 7690 h 11849"/>
                <a:gd name="T50" fmla="*/ 11172 w 12800"/>
                <a:gd name="T51" fmla="*/ 4554 h 11849"/>
                <a:gd name="T52" fmla="*/ 12800 w 12800"/>
                <a:gd name="T53" fmla="*/ 4554 h 11849"/>
                <a:gd name="T54" fmla="*/ 12800 w 12800"/>
                <a:gd name="T55" fmla="*/ 7690 h 11849"/>
                <a:gd name="T56" fmla="*/ 11706 w 12800"/>
                <a:gd name="T57" fmla="*/ 7156 h 11849"/>
                <a:gd name="T58" fmla="*/ 12267 w 12800"/>
                <a:gd name="T59" fmla="*/ 7156 h 11849"/>
                <a:gd name="T60" fmla="*/ 12267 w 12800"/>
                <a:gd name="T61" fmla="*/ 5087 h 11849"/>
                <a:gd name="T62" fmla="*/ 11706 w 12800"/>
                <a:gd name="T63" fmla="*/ 5087 h 11849"/>
                <a:gd name="T64" fmla="*/ 11706 w 12800"/>
                <a:gd name="T65" fmla="*/ 7156 h 11849"/>
                <a:gd name="T66" fmla="*/ 6067 w 12800"/>
                <a:gd name="T67" fmla="*/ 11297 h 11849"/>
                <a:gd name="T68" fmla="*/ 4877 w 12800"/>
                <a:gd name="T69" fmla="*/ 10478 h 11849"/>
                <a:gd name="T70" fmla="*/ 6067 w 12800"/>
                <a:gd name="T71" fmla="*/ 9658 h 11849"/>
                <a:gd name="T72" fmla="*/ 7257 w 12800"/>
                <a:gd name="T73" fmla="*/ 10478 h 11849"/>
                <a:gd name="T74" fmla="*/ 6067 w 12800"/>
                <a:gd name="T75" fmla="*/ 11297 h 11849"/>
                <a:gd name="T76" fmla="*/ 6067 w 12800"/>
                <a:gd name="T77" fmla="*/ 10192 h 11849"/>
                <a:gd name="T78" fmla="*/ 5410 w 12800"/>
                <a:gd name="T79" fmla="*/ 10478 h 11849"/>
                <a:gd name="T80" fmla="*/ 6067 w 12800"/>
                <a:gd name="T81" fmla="*/ 10763 h 11849"/>
                <a:gd name="T82" fmla="*/ 6724 w 12800"/>
                <a:gd name="T83" fmla="*/ 10478 h 11849"/>
                <a:gd name="T84" fmla="*/ 6067 w 12800"/>
                <a:gd name="T85" fmla="*/ 10192 h 1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00" h="11849">
                  <a:moveTo>
                    <a:pt x="6128" y="11849"/>
                  </a:moveTo>
                  <a:cubicBezTo>
                    <a:pt x="2093" y="11765"/>
                    <a:pt x="1784" y="7483"/>
                    <a:pt x="1782" y="7439"/>
                  </a:cubicBezTo>
                  <a:lnTo>
                    <a:pt x="1781" y="5059"/>
                  </a:lnTo>
                  <a:cubicBezTo>
                    <a:pt x="1781" y="2270"/>
                    <a:pt x="3853" y="0"/>
                    <a:pt x="6400" y="0"/>
                  </a:cubicBezTo>
                  <a:cubicBezTo>
                    <a:pt x="8947" y="0"/>
                    <a:pt x="11019" y="2270"/>
                    <a:pt x="11019" y="5059"/>
                  </a:cubicBezTo>
                  <a:lnTo>
                    <a:pt x="11019" y="7423"/>
                  </a:lnTo>
                  <a:lnTo>
                    <a:pt x="10485" y="7423"/>
                  </a:lnTo>
                  <a:lnTo>
                    <a:pt x="10485" y="5059"/>
                  </a:lnTo>
                  <a:cubicBezTo>
                    <a:pt x="10485" y="2564"/>
                    <a:pt x="8653" y="534"/>
                    <a:pt x="6400" y="534"/>
                  </a:cubicBezTo>
                  <a:cubicBezTo>
                    <a:pt x="4147" y="534"/>
                    <a:pt x="2314" y="2564"/>
                    <a:pt x="2314" y="5059"/>
                  </a:cubicBezTo>
                  <a:lnTo>
                    <a:pt x="2314" y="7423"/>
                  </a:lnTo>
                  <a:cubicBezTo>
                    <a:pt x="2324" y="7563"/>
                    <a:pt x="2598" y="11242"/>
                    <a:pt x="6139" y="11316"/>
                  </a:cubicBezTo>
                  <a:lnTo>
                    <a:pt x="6128" y="11849"/>
                  </a:lnTo>
                  <a:close/>
                  <a:moveTo>
                    <a:pt x="1628" y="7690"/>
                  </a:moveTo>
                  <a:lnTo>
                    <a:pt x="0" y="7690"/>
                  </a:lnTo>
                  <a:lnTo>
                    <a:pt x="0" y="4554"/>
                  </a:lnTo>
                  <a:lnTo>
                    <a:pt x="1628" y="4554"/>
                  </a:lnTo>
                  <a:lnTo>
                    <a:pt x="1628" y="7690"/>
                  </a:lnTo>
                  <a:close/>
                  <a:moveTo>
                    <a:pt x="533" y="7156"/>
                  </a:moveTo>
                  <a:lnTo>
                    <a:pt x="1094" y="7156"/>
                  </a:lnTo>
                  <a:lnTo>
                    <a:pt x="1094" y="5087"/>
                  </a:lnTo>
                  <a:lnTo>
                    <a:pt x="533" y="5087"/>
                  </a:lnTo>
                  <a:lnTo>
                    <a:pt x="533" y="7156"/>
                  </a:lnTo>
                  <a:close/>
                  <a:moveTo>
                    <a:pt x="12800" y="7690"/>
                  </a:moveTo>
                  <a:lnTo>
                    <a:pt x="11172" y="7690"/>
                  </a:lnTo>
                  <a:lnTo>
                    <a:pt x="11172" y="4554"/>
                  </a:lnTo>
                  <a:lnTo>
                    <a:pt x="12800" y="4554"/>
                  </a:lnTo>
                  <a:lnTo>
                    <a:pt x="12800" y="7690"/>
                  </a:lnTo>
                  <a:close/>
                  <a:moveTo>
                    <a:pt x="11706" y="7156"/>
                  </a:moveTo>
                  <a:lnTo>
                    <a:pt x="12267" y="7156"/>
                  </a:lnTo>
                  <a:lnTo>
                    <a:pt x="12267" y="5087"/>
                  </a:lnTo>
                  <a:lnTo>
                    <a:pt x="11706" y="5087"/>
                  </a:lnTo>
                  <a:lnTo>
                    <a:pt x="11706" y="7156"/>
                  </a:lnTo>
                  <a:close/>
                  <a:moveTo>
                    <a:pt x="6067" y="11297"/>
                  </a:moveTo>
                  <a:cubicBezTo>
                    <a:pt x="5399" y="11297"/>
                    <a:pt x="4877" y="10937"/>
                    <a:pt x="4877" y="10478"/>
                  </a:cubicBezTo>
                  <a:cubicBezTo>
                    <a:pt x="4877" y="10019"/>
                    <a:pt x="5399" y="9658"/>
                    <a:pt x="6067" y="9658"/>
                  </a:cubicBezTo>
                  <a:cubicBezTo>
                    <a:pt x="6734" y="9658"/>
                    <a:pt x="7257" y="10018"/>
                    <a:pt x="7257" y="10478"/>
                  </a:cubicBezTo>
                  <a:cubicBezTo>
                    <a:pt x="7257" y="10937"/>
                    <a:pt x="6734" y="11297"/>
                    <a:pt x="6067" y="11297"/>
                  </a:cubicBezTo>
                  <a:close/>
                  <a:moveTo>
                    <a:pt x="6067" y="10192"/>
                  </a:moveTo>
                  <a:cubicBezTo>
                    <a:pt x="5659" y="10192"/>
                    <a:pt x="5410" y="10377"/>
                    <a:pt x="5410" y="10478"/>
                  </a:cubicBezTo>
                  <a:cubicBezTo>
                    <a:pt x="5410" y="10578"/>
                    <a:pt x="5659" y="10763"/>
                    <a:pt x="6067" y="10763"/>
                  </a:cubicBezTo>
                  <a:cubicBezTo>
                    <a:pt x="6474" y="10763"/>
                    <a:pt x="6724" y="10578"/>
                    <a:pt x="6724" y="10478"/>
                  </a:cubicBezTo>
                  <a:cubicBezTo>
                    <a:pt x="6724" y="10377"/>
                    <a:pt x="6474" y="10192"/>
                    <a:pt x="6067" y="1019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1" name="iconfont-11894-5689857"/>
            <p:cNvSpPr>
              <a:spLocks noChangeAspect="1"/>
            </p:cNvSpPr>
            <p:nvPr userDrawn="1"/>
          </p:nvSpPr>
          <p:spPr bwMode="auto">
            <a:xfrm>
              <a:off x="17214969" y="6064991"/>
              <a:ext cx="609086" cy="609685"/>
            </a:xfrm>
            <a:custGeom>
              <a:avLst/>
              <a:gdLst>
                <a:gd name="T0" fmla="*/ 7990 w 12710"/>
                <a:gd name="T1" fmla="*/ 12720 h 12720"/>
                <a:gd name="T2" fmla="*/ 7800 w 12710"/>
                <a:gd name="T3" fmla="*/ 12580 h 12720"/>
                <a:gd name="T4" fmla="*/ 6050 w 12710"/>
                <a:gd name="T5" fmla="*/ 6670 h 12720"/>
                <a:gd name="T6" fmla="*/ 140 w 12710"/>
                <a:gd name="T7" fmla="*/ 4920 h 12720"/>
                <a:gd name="T8" fmla="*/ 0 w 12710"/>
                <a:gd name="T9" fmla="*/ 4730 h 12720"/>
                <a:gd name="T10" fmla="*/ 130 w 12710"/>
                <a:gd name="T11" fmla="*/ 4540 h 12720"/>
                <a:gd name="T12" fmla="*/ 12430 w 12710"/>
                <a:gd name="T13" fmla="*/ 30 h 12720"/>
                <a:gd name="T14" fmla="*/ 12640 w 12710"/>
                <a:gd name="T15" fmla="*/ 80 h 12720"/>
                <a:gd name="T16" fmla="*/ 12690 w 12710"/>
                <a:gd name="T17" fmla="*/ 290 h 12720"/>
                <a:gd name="T18" fmla="*/ 8180 w 12710"/>
                <a:gd name="T19" fmla="*/ 12590 h 12720"/>
                <a:gd name="T20" fmla="*/ 7990 w 12710"/>
                <a:gd name="T21" fmla="*/ 12720 h 12720"/>
                <a:gd name="T22" fmla="*/ 840 w 12710"/>
                <a:gd name="T23" fmla="*/ 4710 h 12720"/>
                <a:gd name="T24" fmla="*/ 6270 w 12710"/>
                <a:gd name="T25" fmla="*/ 6320 h 12720"/>
                <a:gd name="T26" fmla="*/ 6400 w 12710"/>
                <a:gd name="T27" fmla="*/ 6450 h 12720"/>
                <a:gd name="T28" fmla="*/ 8010 w 12710"/>
                <a:gd name="T29" fmla="*/ 11880 h 12720"/>
                <a:gd name="T30" fmla="*/ 12160 w 12710"/>
                <a:gd name="T31" fmla="*/ 560 h 12720"/>
                <a:gd name="T32" fmla="*/ 840 w 12710"/>
                <a:gd name="T33" fmla="*/ 4710 h 12720"/>
                <a:gd name="T34" fmla="*/ 8120 w 12710"/>
                <a:gd name="T35" fmla="*/ 9090 h 12720"/>
                <a:gd name="T36" fmla="*/ 8080 w 12710"/>
                <a:gd name="T37" fmla="*/ 9080 h 12720"/>
                <a:gd name="T38" fmla="*/ 8030 w 12710"/>
                <a:gd name="T39" fmla="*/ 8950 h 12720"/>
                <a:gd name="T40" fmla="*/ 11080 w 12710"/>
                <a:gd name="T41" fmla="*/ 1520 h 12720"/>
                <a:gd name="T42" fmla="*/ 11210 w 12710"/>
                <a:gd name="T43" fmla="*/ 1470 h 12720"/>
                <a:gd name="T44" fmla="*/ 11260 w 12710"/>
                <a:gd name="T45" fmla="*/ 1600 h 12720"/>
                <a:gd name="T46" fmla="*/ 8210 w 12710"/>
                <a:gd name="T47" fmla="*/ 9030 h 12720"/>
                <a:gd name="T48" fmla="*/ 8120 w 12710"/>
                <a:gd name="T49" fmla="*/ 909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710" h="12720">
                  <a:moveTo>
                    <a:pt x="7990" y="12720"/>
                  </a:moveTo>
                  <a:cubicBezTo>
                    <a:pt x="7900" y="12720"/>
                    <a:pt x="7820" y="12660"/>
                    <a:pt x="7800" y="12580"/>
                  </a:cubicBezTo>
                  <a:lnTo>
                    <a:pt x="6050" y="6670"/>
                  </a:lnTo>
                  <a:lnTo>
                    <a:pt x="140" y="4920"/>
                  </a:lnTo>
                  <a:cubicBezTo>
                    <a:pt x="60" y="4900"/>
                    <a:pt x="0" y="4820"/>
                    <a:pt x="0" y="4730"/>
                  </a:cubicBezTo>
                  <a:cubicBezTo>
                    <a:pt x="0" y="4640"/>
                    <a:pt x="50" y="4570"/>
                    <a:pt x="130" y="4540"/>
                  </a:cubicBezTo>
                  <a:lnTo>
                    <a:pt x="12430" y="30"/>
                  </a:lnTo>
                  <a:cubicBezTo>
                    <a:pt x="12500" y="0"/>
                    <a:pt x="12590" y="20"/>
                    <a:pt x="12640" y="80"/>
                  </a:cubicBezTo>
                  <a:cubicBezTo>
                    <a:pt x="12700" y="140"/>
                    <a:pt x="12710" y="220"/>
                    <a:pt x="12690" y="290"/>
                  </a:cubicBezTo>
                  <a:lnTo>
                    <a:pt x="8180" y="12590"/>
                  </a:lnTo>
                  <a:cubicBezTo>
                    <a:pt x="8150" y="12670"/>
                    <a:pt x="8080" y="12720"/>
                    <a:pt x="7990" y="12720"/>
                  </a:cubicBezTo>
                  <a:close/>
                  <a:moveTo>
                    <a:pt x="840" y="4710"/>
                  </a:moveTo>
                  <a:lnTo>
                    <a:pt x="6270" y="6320"/>
                  </a:lnTo>
                  <a:cubicBezTo>
                    <a:pt x="6330" y="6340"/>
                    <a:pt x="6390" y="6390"/>
                    <a:pt x="6400" y="6450"/>
                  </a:cubicBezTo>
                  <a:lnTo>
                    <a:pt x="8010" y="11880"/>
                  </a:lnTo>
                  <a:lnTo>
                    <a:pt x="12160" y="560"/>
                  </a:lnTo>
                  <a:lnTo>
                    <a:pt x="840" y="4710"/>
                  </a:lnTo>
                  <a:close/>
                  <a:moveTo>
                    <a:pt x="8120" y="9090"/>
                  </a:moveTo>
                  <a:cubicBezTo>
                    <a:pt x="8110" y="9090"/>
                    <a:pt x="8090" y="9090"/>
                    <a:pt x="8080" y="9080"/>
                  </a:cubicBezTo>
                  <a:cubicBezTo>
                    <a:pt x="8030" y="9060"/>
                    <a:pt x="8000" y="9000"/>
                    <a:pt x="8030" y="8950"/>
                  </a:cubicBezTo>
                  <a:lnTo>
                    <a:pt x="11080" y="1520"/>
                  </a:lnTo>
                  <a:cubicBezTo>
                    <a:pt x="11100" y="1470"/>
                    <a:pt x="11160" y="1440"/>
                    <a:pt x="11210" y="1470"/>
                  </a:cubicBezTo>
                  <a:cubicBezTo>
                    <a:pt x="11260" y="1490"/>
                    <a:pt x="11290" y="1550"/>
                    <a:pt x="11260" y="1600"/>
                  </a:cubicBezTo>
                  <a:lnTo>
                    <a:pt x="8210" y="9030"/>
                  </a:lnTo>
                  <a:cubicBezTo>
                    <a:pt x="8190" y="9070"/>
                    <a:pt x="8160" y="9090"/>
                    <a:pt x="8120" y="909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2" name="iconfont-11894-5689857"/>
            <p:cNvSpPr>
              <a:spLocks noChangeAspect="1"/>
            </p:cNvSpPr>
            <p:nvPr userDrawn="1"/>
          </p:nvSpPr>
          <p:spPr bwMode="auto">
            <a:xfrm>
              <a:off x="18434538" y="6064991"/>
              <a:ext cx="608687" cy="609685"/>
            </a:xfrm>
            <a:custGeom>
              <a:avLst/>
              <a:gdLst>
                <a:gd name="T0" fmla="*/ 8180 w 12700"/>
                <a:gd name="T1" fmla="*/ 12650 h 12720"/>
                <a:gd name="T2" fmla="*/ 7510 w 12700"/>
                <a:gd name="T3" fmla="*/ 11830 h 12720"/>
                <a:gd name="T4" fmla="*/ 8070 w 12700"/>
                <a:gd name="T5" fmla="*/ 9910 h 12720"/>
                <a:gd name="T6" fmla="*/ 2060 w 12700"/>
                <a:gd name="T7" fmla="*/ 10700 h 12720"/>
                <a:gd name="T8" fmla="*/ 1750 w 12700"/>
                <a:gd name="T9" fmla="*/ 10720 h 12720"/>
                <a:gd name="T10" fmla="*/ 520 w 12700"/>
                <a:gd name="T11" fmla="*/ 9340 h 12720"/>
                <a:gd name="T12" fmla="*/ 860 w 12700"/>
                <a:gd name="T13" fmla="*/ 3090 h 12720"/>
                <a:gd name="T14" fmla="*/ 280 w 12700"/>
                <a:gd name="T15" fmla="*/ 290 h 12720"/>
                <a:gd name="T16" fmla="*/ 3080 w 12700"/>
                <a:gd name="T17" fmla="*/ 870 h 12720"/>
                <a:gd name="T18" fmla="*/ 9180 w 12700"/>
                <a:gd name="T19" fmla="*/ 390 h 12720"/>
                <a:gd name="T20" fmla="*/ 10720 w 12700"/>
                <a:gd name="T21" fmla="*/ 1770 h 12720"/>
                <a:gd name="T22" fmla="*/ 10700 w 12700"/>
                <a:gd name="T23" fmla="*/ 2080 h 12720"/>
                <a:gd name="T24" fmla="*/ 9890 w 12700"/>
                <a:gd name="T25" fmla="*/ 8060 h 12720"/>
                <a:gd name="T26" fmla="*/ 11950 w 12700"/>
                <a:gd name="T27" fmla="*/ 7500 h 12720"/>
                <a:gd name="T28" fmla="*/ 12700 w 12700"/>
                <a:gd name="T29" fmla="*/ 8350 h 12720"/>
                <a:gd name="T30" fmla="*/ 10170 w 12700"/>
                <a:gd name="T31" fmla="*/ 10190 h 12720"/>
                <a:gd name="T32" fmla="*/ 8330 w 12700"/>
                <a:gd name="T33" fmla="*/ 12720 h 12720"/>
                <a:gd name="T34" fmla="*/ 7930 w 12700"/>
                <a:gd name="T35" fmla="*/ 11840 h 12720"/>
                <a:gd name="T36" fmla="*/ 9870 w 12700"/>
                <a:gd name="T37" fmla="*/ 9930 h 12720"/>
                <a:gd name="T38" fmla="*/ 12190 w 12700"/>
                <a:gd name="T39" fmla="*/ 8300 h 12720"/>
                <a:gd name="T40" fmla="*/ 9890 w 12700"/>
                <a:gd name="T41" fmla="*/ 8470 h 12720"/>
                <a:gd name="T42" fmla="*/ 9620 w 12700"/>
                <a:gd name="T43" fmla="*/ 8350 h 12720"/>
                <a:gd name="T44" fmla="*/ 6330 w 12700"/>
                <a:gd name="T45" fmla="*/ 4770 h 12720"/>
                <a:gd name="T46" fmla="*/ 10260 w 12700"/>
                <a:gd name="T47" fmla="*/ 1880 h 12720"/>
                <a:gd name="T48" fmla="*/ 4330 w 12700"/>
                <a:gd name="T49" fmla="*/ 2580 h 12720"/>
                <a:gd name="T50" fmla="*/ 2790 w 12700"/>
                <a:gd name="T51" fmla="*/ 1140 h 12720"/>
                <a:gd name="T52" fmla="*/ 560 w 12700"/>
                <a:gd name="T53" fmla="*/ 570 h 12720"/>
                <a:gd name="T54" fmla="*/ 1130 w 12700"/>
                <a:gd name="T55" fmla="*/ 2790 h 12720"/>
                <a:gd name="T56" fmla="*/ 2600 w 12700"/>
                <a:gd name="T57" fmla="*/ 4360 h 12720"/>
                <a:gd name="T58" fmla="*/ 1870 w 12700"/>
                <a:gd name="T59" fmla="*/ 10280 h 12720"/>
                <a:gd name="T60" fmla="*/ 4760 w 12700"/>
                <a:gd name="T61" fmla="*/ 6350 h 12720"/>
                <a:gd name="T62" fmla="*/ 8340 w 12700"/>
                <a:gd name="T63" fmla="*/ 9640 h 12720"/>
                <a:gd name="T64" fmla="*/ 8500 w 12700"/>
                <a:gd name="T65" fmla="*/ 9930 h 12720"/>
                <a:gd name="T66" fmla="*/ 1560 w 12700"/>
                <a:gd name="T67" fmla="*/ 2720 h 12720"/>
                <a:gd name="T68" fmla="*/ 1600 w 12700"/>
                <a:gd name="T69" fmla="*/ 2140 h 12720"/>
                <a:gd name="T70" fmla="*/ 1780 w 12700"/>
                <a:gd name="T71" fmla="*/ 2240 h 12720"/>
                <a:gd name="T72" fmla="*/ 1560 w 12700"/>
                <a:gd name="T73" fmla="*/ 2720 h 12720"/>
                <a:gd name="T74" fmla="*/ 2030 w 12700"/>
                <a:gd name="T75" fmla="*/ 1810 h 12720"/>
                <a:gd name="T76" fmla="*/ 2540 w 12700"/>
                <a:gd name="T77" fmla="*/ 1530 h 12720"/>
                <a:gd name="T78" fmla="*/ 2560 w 12700"/>
                <a:gd name="T79" fmla="*/ 1730 h 12720"/>
                <a:gd name="T80" fmla="*/ 2120 w 12700"/>
                <a:gd name="T81" fmla="*/ 1860 h 12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700" h="12720">
                  <a:moveTo>
                    <a:pt x="8320" y="12710"/>
                  </a:moveTo>
                  <a:cubicBezTo>
                    <a:pt x="8270" y="12710"/>
                    <a:pt x="8220" y="12690"/>
                    <a:pt x="8180" y="12650"/>
                  </a:cubicBezTo>
                  <a:lnTo>
                    <a:pt x="7560" y="12030"/>
                  </a:lnTo>
                  <a:cubicBezTo>
                    <a:pt x="7510" y="11980"/>
                    <a:pt x="7490" y="11900"/>
                    <a:pt x="7510" y="11830"/>
                  </a:cubicBezTo>
                  <a:lnTo>
                    <a:pt x="8080" y="9920"/>
                  </a:lnTo>
                  <a:lnTo>
                    <a:pt x="8070" y="9910"/>
                  </a:lnTo>
                  <a:lnTo>
                    <a:pt x="4810" y="6840"/>
                  </a:lnTo>
                  <a:lnTo>
                    <a:pt x="2060" y="10700"/>
                  </a:lnTo>
                  <a:cubicBezTo>
                    <a:pt x="2030" y="10750"/>
                    <a:pt x="1970" y="10780"/>
                    <a:pt x="1910" y="10780"/>
                  </a:cubicBezTo>
                  <a:cubicBezTo>
                    <a:pt x="1850" y="10780"/>
                    <a:pt x="1790" y="10760"/>
                    <a:pt x="1750" y="10720"/>
                  </a:cubicBezTo>
                  <a:lnTo>
                    <a:pt x="570" y="9540"/>
                  </a:lnTo>
                  <a:cubicBezTo>
                    <a:pt x="520" y="9490"/>
                    <a:pt x="500" y="9410"/>
                    <a:pt x="520" y="9340"/>
                  </a:cubicBezTo>
                  <a:lnTo>
                    <a:pt x="2180" y="4360"/>
                  </a:lnTo>
                  <a:lnTo>
                    <a:pt x="860" y="3090"/>
                  </a:lnTo>
                  <a:cubicBezTo>
                    <a:pt x="460" y="2710"/>
                    <a:pt x="10" y="1840"/>
                    <a:pt x="0" y="1110"/>
                  </a:cubicBezTo>
                  <a:cubicBezTo>
                    <a:pt x="0" y="760"/>
                    <a:pt x="90" y="480"/>
                    <a:pt x="280" y="290"/>
                  </a:cubicBezTo>
                  <a:cubicBezTo>
                    <a:pt x="470" y="100"/>
                    <a:pt x="750" y="0"/>
                    <a:pt x="1100" y="10"/>
                  </a:cubicBezTo>
                  <a:cubicBezTo>
                    <a:pt x="1830" y="20"/>
                    <a:pt x="2700" y="460"/>
                    <a:pt x="3080" y="870"/>
                  </a:cubicBezTo>
                  <a:lnTo>
                    <a:pt x="4310" y="2160"/>
                  </a:lnTo>
                  <a:lnTo>
                    <a:pt x="9180" y="390"/>
                  </a:lnTo>
                  <a:cubicBezTo>
                    <a:pt x="9250" y="360"/>
                    <a:pt x="9330" y="380"/>
                    <a:pt x="9390" y="440"/>
                  </a:cubicBezTo>
                  <a:lnTo>
                    <a:pt x="10720" y="1770"/>
                  </a:lnTo>
                  <a:cubicBezTo>
                    <a:pt x="10760" y="1810"/>
                    <a:pt x="10780" y="1870"/>
                    <a:pt x="10780" y="1930"/>
                  </a:cubicBezTo>
                  <a:cubicBezTo>
                    <a:pt x="10780" y="1990"/>
                    <a:pt x="10740" y="2040"/>
                    <a:pt x="10700" y="2080"/>
                  </a:cubicBezTo>
                  <a:lnTo>
                    <a:pt x="6830" y="4820"/>
                  </a:lnTo>
                  <a:lnTo>
                    <a:pt x="9890" y="8060"/>
                  </a:lnTo>
                  <a:lnTo>
                    <a:pt x="11750" y="7450"/>
                  </a:lnTo>
                  <a:cubicBezTo>
                    <a:pt x="11820" y="7430"/>
                    <a:pt x="11900" y="7450"/>
                    <a:pt x="11950" y="7500"/>
                  </a:cubicBezTo>
                  <a:lnTo>
                    <a:pt x="12640" y="8190"/>
                  </a:lnTo>
                  <a:cubicBezTo>
                    <a:pt x="12680" y="8230"/>
                    <a:pt x="12700" y="8290"/>
                    <a:pt x="12700" y="8350"/>
                  </a:cubicBezTo>
                  <a:cubicBezTo>
                    <a:pt x="12690" y="8410"/>
                    <a:pt x="12660" y="8460"/>
                    <a:pt x="12610" y="8500"/>
                  </a:cubicBezTo>
                  <a:lnTo>
                    <a:pt x="10170" y="10190"/>
                  </a:lnTo>
                  <a:lnTo>
                    <a:pt x="8480" y="12630"/>
                  </a:lnTo>
                  <a:cubicBezTo>
                    <a:pt x="8450" y="12680"/>
                    <a:pt x="8390" y="12710"/>
                    <a:pt x="8330" y="12720"/>
                  </a:cubicBezTo>
                  <a:cubicBezTo>
                    <a:pt x="8330" y="12710"/>
                    <a:pt x="8320" y="12710"/>
                    <a:pt x="8320" y="12710"/>
                  </a:cubicBezTo>
                  <a:close/>
                  <a:moveTo>
                    <a:pt x="7930" y="11840"/>
                  </a:moveTo>
                  <a:lnTo>
                    <a:pt x="8290" y="12200"/>
                  </a:lnTo>
                  <a:lnTo>
                    <a:pt x="9870" y="9930"/>
                  </a:lnTo>
                  <a:cubicBezTo>
                    <a:pt x="9880" y="9910"/>
                    <a:pt x="9900" y="9890"/>
                    <a:pt x="9920" y="9880"/>
                  </a:cubicBezTo>
                  <a:lnTo>
                    <a:pt x="12190" y="8300"/>
                  </a:lnTo>
                  <a:lnTo>
                    <a:pt x="11750" y="7860"/>
                  </a:lnTo>
                  <a:lnTo>
                    <a:pt x="9890" y="8470"/>
                  </a:lnTo>
                  <a:cubicBezTo>
                    <a:pt x="9810" y="8500"/>
                    <a:pt x="9720" y="8470"/>
                    <a:pt x="9670" y="8410"/>
                  </a:cubicBezTo>
                  <a:cubicBezTo>
                    <a:pt x="9650" y="8390"/>
                    <a:pt x="9640" y="8370"/>
                    <a:pt x="9620" y="8350"/>
                  </a:cubicBezTo>
                  <a:lnTo>
                    <a:pt x="6380" y="4930"/>
                  </a:lnTo>
                  <a:cubicBezTo>
                    <a:pt x="6340" y="4890"/>
                    <a:pt x="6320" y="4830"/>
                    <a:pt x="6330" y="4770"/>
                  </a:cubicBezTo>
                  <a:cubicBezTo>
                    <a:pt x="6340" y="4710"/>
                    <a:pt x="6370" y="4660"/>
                    <a:pt x="6410" y="4630"/>
                  </a:cubicBezTo>
                  <a:lnTo>
                    <a:pt x="10260" y="1880"/>
                  </a:lnTo>
                  <a:lnTo>
                    <a:pt x="9190" y="810"/>
                  </a:lnTo>
                  <a:lnTo>
                    <a:pt x="4330" y="2580"/>
                  </a:lnTo>
                  <a:cubicBezTo>
                    <a:pt x="4260" y="2610"/>
                    <a:pt x="4170" y="2590"/>
                    <a:pt x="4120" y="2530"/>
                  </a:cubicBezTo>
                  <a:lnTo>
                    <a:pt x="2790" y="1140"/>
                  </a:lnTo>
                  <a:cubicBezTo>
                    <a:pt x="2460" y="790"/>
                    <a:pt x="1700" y="410"/>
                    <a:pt x="1100" y="410"/>
                  </a:cubicBezTo>
                  <a:cubicBezTo>
                    <a:pt x="860" y="410"/>
                    <a:pt x="680" y="460"/>
                    <a:pt x="560" y="570"/>
                  </a:cubicBezTo>
                  <a:cubicBezTo>
                    <a:pt x="450" y="690"/>
                    <a:pt x="400" y="870"/>
                    <a:pt x="400" y="1100"/>
                  </a:cubicBezTo>
                  <a:cubicBezTo>
                    <a:pt x="410" y="1710"/>
                    <a:pt x="790" y="2460"/>
                    <a:pt x="1130" y="2790"/>
                  </a:cubicBezTo>
                  <a:lnTo>
                    <a:pt x="2550" y="4150"/>
                  </a:lnTo>
                  <a:cubicBezTo>
                    <a:pt x="2610" y="4200"/>
                    <a:pt x="2630" y="4280"/>
                    <a:pt x="2600" y="4360"/>
                  </a:cubicBezTo>
                  <a:lnTo>
                    <a:pt x="940" y="9350"/>
                  </a:lnTo>
                  <a:lnTo>
                    <a:pt x="1870" y="10280"/>
                  </a:lnTo>
                  <a:lnTo>
                    <a:pt x="4620" y="6430"/>
                  </a:lnTo>
                  <a:cubicBezTo>
                    <a:pt x="4650" y="6380"/>
                    <a:pt x="4710" y="6350"/>
                    <a:pt x="4760" y="6350"/>
                  </a:cubicBezTo>
                  <a:cubicBezTo>
                    <a:pt x="4820" y="6340"/>
                    <a:pt x="4870" y="6360"/>
                    <a:pt x="4920" y="6400"/>
                  </a:cubicBezTo>
                  <a:lnTo>
                    <a:pt x="8340" y="9640"/>
                  </a:lnTo>
                  <a:cubicBezTo>
                    <a:pt x="8360" y="9660"/>
                    <a:pt x="8390" y="9690"/>
                    <a:pt x="8430" y="9710"/>
                  </a:cubicBezTo>
                  <a:cubicBezTo>
                    <a:pt x="8500" y="9760"/>
                    <a:pt x="8520" y="9850"/>
                    <a:pt x="8500" y="9930"/>
                  </a:cubicBezTo>
                  <a:lnTo>
                    <a:pt x="7930" y="11840"/>
                  </a:lnTo>
                  <a:close/>
                  <a:moveTo>
                    <a:pt x="1560" y="2720"/>
                  </a:moveTo>
                  <a:cubicBezTo>
                    <a:pt x="1500" y="2720"/>
                    <a:pt x="1460" y="2670"/>
                    <a:pt x="1460" y="2610"/>
                  </a:cubicBezTo>
                  <a:cubicBezTo>
                    <a:pt x="1470" y="2440"/>
                    <a:pt x="1520" y="2280"/>
                    <a:pt x="1600" y="2140"/>
                  </a:cubicBezTo>
                  <a:cubicBezTo>
                    <a:pt x="1630" y="2090"/>
                    <a:pt x="1690" y="2070"/>
                    <a:pt x="1740" y="2100"/>
                  </a:cubicBezTo>
                  <a:cubicBezTo>
                    <a:pt x="1790" y="2130"/>
                    <a:pt x="1810" y="2190"/>
                    <a:pt x="1780" y="2240"/>
                  </a:cubicBezTo>
                  <a:cubicBezTo>
                    <a:pt x="1710" y="2360"/>
                    <a:pt x="1670" y="2490"/>
                    <a:pt x="1660" y="2630"/>
                  </a:cubicBezTo>
                  <a:cubicBezTo>
                    <a:pt x="1660" y="2690"/>
                    <a:pt x="1610" y="2720"/>
                    <a:pt x="1560" y="2720"/>
                  </a:cubicBezTo>
                  <a:close/>
                  <a:moveTo>
                    <a:pt x="2120" y="1860"/>
                  </a:moveTo>
                  <a:cubicBezTo>
                    <a:pt x="2080" y="1860"/>
                    <a:pt x="2050" y="1840"/>
                    <a:pt x="2030" y="1810"/>
                  </a:cubicBezTo>
                  <a:cubicBezTo>
                    <a:pt x="2000" y="1760"/>
                    <a:pt x="2020" y="1700"/>
                    <a:pt x="2070" y="1670"/>
                  </a:cubicBezTo>
                  <a:cubicBezTo>
                    <a:pt x="2220" y="1590"/>
                    <a:pt x="2380" y="1540"/>
                    <a:pt x="2540" y="1530"/>
                  </a:cubicBezTo>
                  <a:cubicBezTo>
                    <a:pt x="2600" y="1530"/>
                    <a:pt x="2640" y="1570"/>
                    <a:pt x="2650" y="1620"/>
                  </a:cubicBezTo>
                  <a:cubicBezTo>
                    <a:pt x="2650" y="1680"/>
                    <a:pt x="2610" y="1720"/>
                    <a:pt x="2560" y="1730"/>
                  </a:cubicBezTo>
                  <a:cubicBezTo>
                    <a:pt x="2420" y="1740"/>
                    <a:pt x="2290" y="1780"/>
                    <a:pt x="2170" y="1850"/>
                  </a:cubicBezTo>
                  <a:cubicBezTo>
                    <a:pt x="2150" y="1860"/>
                    <a:pt x="2130" y="1860"/>
                    <a:pt x="2120" y="186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3" name="iconfont-11894-5689857"/>
            <p:cNvSpPr>
              <a:spLocks noChangeAspect="1"/>
            </p:cNvSpPr>
            <p:nvPr userDrawn="1"/>
          </p:nvSpPr>
          <p:spPr bwMode="auto">
            <a:xfrm>
              <a:off x="19746077" y="6064991"/>
              <a:ext cx="424349" cy="609685"/>
            </a:xfrm>
            <a:custGeom>
              <a:avLst/>
              <a:gdLst>
                <a:gd name="T0" fmla="*/ 539 w 8910"/>
                <a:gd name="T1" fmla="*/ 11970 h 12800"/>
                <a:gd name="T2" fmla="*/ 2369 w 8910"/>
                <a:gd name="T3" fmla="*/ 7091 h 12800"/>
                <a:gd name="T4" fmla="*/ 2560 w 8910"/>
                <a:gd name="T5" fmla="*/ 6926 h 12800"/>
                <a:gd name="T6" fmla="*/ 3243 w 8910"/>
                <a:gd name="T7" fmla="*/ 6416 h 12800"/>
                <a:gd name="T8" fmla="*/ 2560 w 8910"/>
                <a:gd name="T9" fmla="*/ 5907 h 12800"/>
                <a:gd name="T10" fmla="*/ 2432 w 8910"/>
                <a:gd name="T11" fmla="*/ 5807 h 12800"/>
                <a:gd name="T12" fmla="*/ 1953 w 8910"/>
                <a:gd name="T13" fmla="*/ 5135 h 12800"/>
                <a:gd name="T14" fmla="*/ 539 w 8910"/>
                <a:gd name="T15" fmla="*/ 864 h 12800"/>
                <a:gd name="T16" fmla="*/ 8514 w 8910"/>
                <a:gd name="T17" fmla="*/ 1193 h 12800"/>
                <a:gd name="T18" fmla="*/ 7656 w 8910"/>
                <a:gd name="T19" fmla="*/ 4041 h 12800"/>
                <a:gd name="T20" fmla="*/ 6781 w 8910"/>
                <a:gd name="T21" fmla="*/ 5778 h 12800"/>
                <a:gd name="T22" fmla="*/ 6447 w 8910"/>
                <a:gd name="T23" fmla="*/ 5979 h 12800"/>
                <a:gd name="T24" fmla="*/ 6444 w 8910"/>
                <a:gd name="T25" fmla="*/ 6850 h 12800"/>
                <a:gd name="T26" fmla="*/ 6781 w 8910"/>
                <a:gd name="T27" fmla="*/ 7054 h 12800"/>
                <a:gd name="T28" fmla="*/ 8514 w 8910"/>
                <a:gd name="T29" fmla="*/ 11641 h 12800"/>
                <a:gd name="T30" fmla="*/ 1218 w 8910"/>
                <a:gd name="T31" fmla="*/ 11436 h 12800"/>
                <a:gd name="T32" fmla="*/ 6288 w 8910"/>
                <a:gd name="T33" fmla="*/ 7379 h 12800"/>
                <a:gd name="T34" fmla="*/ 6177 w 8910"/>
                <a:gd name="T35" fmla="*/ 7313 h 12800"/>
                <a:gd name="T36" fmla="*/ 6181 w 8910"/>
                <a:gd name="T37" fmla="*/ 5518 h 12800"/>
                <a:gd name="T38" fmla="*/ 6288 w 8910"/>
                <a:gd name="T39" fmla="*/ 5454 h 12800"/>
                <a:gd name="T40" fmla="*/ 7437 w 8910"/>
                <a:gd name="T41" fmla="*/ 3043 h 12800"/>
                <a:gd name="T42" fmla="*/ 1220 w 8910"/>
                <a:gd name="T43" fmla="*/ 1397 h 12800"/>
                <a:gd name="T44" fmla="*/ 2656 w 8910"/>
                <a:gd name="T45" fmla="*/ 5261 h 12800"/>
                <a:gd name="T46" fmla="*/ 2860 w 8910"/>
                <a:gd name="T47" fmla="*/ 5465 h 12800"/>
                <a:gd name="T48" fmla="*/ 3777 w 8910"/>
                <a:gd name="T49" fmla="*/ 6417 h 12800"/>
                <a:gd name="T50" fmla="*/ 2873 w 8910"/>
                <a:gd name="T51" fmla="*/ 7360 h 12800"/>
                <a:gd name="T52" fmla="*/ 1218 w 8910"/>
                <a:gd name="T53" fmla="*/ 11436 h 12800"/>
                <a:gd name="T54" fmla="*/ 2455 w 8910"/>
                <a:gd name="T55" fmla="*/ 3773 h 12800"/>
                <a:gd name="T56" fmla="*/ 2988 w 8910"/>
                <a:gd name="T57" fmla="*/ 3773 h 12800"/>
                <a:gd name="T58" fmla="*/ 8910 w 8910"/>
                <a:gd name="T59" fmla="*/ 1397 h 12800"/>
                <a:gd name="T60" fmla="*/ 0 w 8910"/>
                <a:gd name="T61" fmla="*/ 0 h 12800"/>
                <a:gd name="T62" fmla="*/ 8910 w 8910"/>
                <a:gd name="T63" fmla="*/ 1397 h 12800"/>
                <a:gd name="T64" fmla="*/ 8377 w 8910"/>
                <a:gd name="T65" fmla="*/ 863 h 12800"/>
                <a:gd name="T66" fmla="*/ 533 w 8910"/>
                <a:gd name="T67" fmla="*/ 533 h 12800"/>
                <a:gd name="T68" fmla="*/ 8910 w 8910"/>
                <a:gd name="T69" fmla="*/ 12800 h 12800"/>
                <a:gd name="T70" fmla="*/ 0 w 8910"/>
                <a:gd name="T71" fmla="*/ 11404 h 12800"/>
                <a:gd name="T72" fmla="*/ 8910 w 8910"/>
                <a:gd name="T73" fmla="*/ 12800 h 12800"/>
                <a:gd name="T74" fmla="*/ 8377 w 8910"/>
                <a:gd name="T75" fmla="*/ 12267 h 12800"/>
                <a:gd name="T76" fmla="*/ 533 w 8910"/>
                <a:gd name="T77" fmla="*/ 11937 h 12800"/>
                <a:gd name="T78" fmla="*/ 7364 w 8910"/>
                <a:gd name="T79" fmla="*/ 11011 h 12800"/>
                <a:gd name="T80" fmla="*/ 1868 w 8910"/>
                <a:gd name="T81" fmla="*/ 10670 h 12800"/>
                <a:gd name="T82" fmla="*/ 3107 w 8910"/>
                <a:gd name="T83" fmla="*/ 7715 h 12800"/>
                <a:gd name="T84" fmla="*/ 4201 w 8910"/>
                <a:gd name="T85" fmla="*/ 6416 h 12800"/>
                <a:gd name="T86" fmla="*/ 3047 w 8910"/>
                <a:gd name="T87" fmla="*/ 5068 h 12800"/>
                <a:gd name="T88" fmla="*/ 2748 w 8910"/>
                <a:gd name="T89" fmla="*/ 4685 h 12800"/>
                <a:gd name="T90" fmla="*/ 6552 w 8910"/>
                <a:gd name="T91" fmla="*/ 4223 h 12800"/>
                <a:gd name="T92" fmla="*/ 5970 w 8910"/>
                <a:gd name="T93" fmla="*/ 5149 h 12800"/>
                <a:gd name="T94" fmla="*/ 5359 w 8910"/>
                <a:gd name="T95" fmla="*/ 5566 h 12800"/>
                <a:gd name="T96" fmla="*/ 5302 w 8910"/>
                <a:gd name="T97" fmla="*/ 7213 h 12800"/>
                <a:gd name="T98" fmla="*/ 5967 w 8910"/>
                <a:gd name="T99" fmla="*/ 7682 h 12800"/>
                <a:gd name="T100" fmla="*/ 7265 w 8910"/>
                <a:gd name="T101" fmla="*/ 10670 h 12800"/>
                <a:gd name="T102" fmla="*/ 2481 w 8910"/>
                <a:gd name="T103" fmla="*/ 10478 h 12800"/>
                <a:gd name="T104" fmla="*/ 5720 w 8910"/>
                <a:gd name="T105" fmla="*/ 8155 h 12800"/>
                <a:gd name="T106" fmla="*/ 5113 w 8910"/>
                <a:gd name="T107" fmla="*/ 7757 h 12800"/>
                <a:gd name="T108" fmla="*/ 4777 w 8910"/>
                <a:gd name="T109" fmla="*/ 7430 h 12800"/>
                <a:gd name="T110" fmla="*/ 3432 w 8910"/>
                <a:gd name="T111" fmla="*/ 8143 h 12800"/>
                <a:gd name="T112" fmla="*/ 2481 w 8910"/>
                <a:gd name="T113" fmla="*/ 10478 h 12800"/>
                <a:gd name="T114" fmla="*/ 4566 w 8910"/>
                <a:gd name="T115" fmla="*/ 5720 h 12800"/>
                <a:gd name="T116" fmla="*/ 4825 w 8910"/>
                <a:gd name="T117" fmla="*/ 5283 h 12800"/>
                <a:gd name="T118" fmla="*/ 5700 w 8910"/>
                <a:gd name="T119" fmla="*/ 4689 h 12800"/>
                <a:gd name="T120" fmla="*/ 5823 w 8910"/>
                <a:gd name="T121" fmla="*/ 4506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10" h="12800">
                  <a:moveTo>
                    <a:pt x="8593" y="11970"/>
                  </a:moveTo>
                  <a:lnTo>
                    <a:pt x="539" y="11970"/>
                  </a:lnTo>
                  <a:lnTo>
                    <a:pt x="618" y="11641"/>
                  </a:lnTo>
                  <a:cubicBezTo>
                    <a:pt x="712" y="11250"/>
                    <a:pt x="1508" y="8013"/>
                    <a:pt x="2369" y="7091"/>
                  </a:cubicBezTo>
                  <a:lnTo>
                    <a:pt x="2350" y="7054"/>
                  </a:lnTo>
                  <a:lnTo>
                    <a:pt x="2560" y="6926"/>
                  </a:lnTo>
                  <a:cubicBezTo>
                    <a:pt x="2597" y="6903"/>
                    <a:pt x="2640" y="6878"/>
                    <a:pt x="2687" y="6851"/>
                  </a:cubicBezTo>
                  <a:cubicBezTo>
                    <a:pt x="3050" y="6641"/>
                    <a:pt x="3237" y="6495"/>
                    <a:pt x="3243" y="6416"/>
                  </a:cubicBezTo>
                  <a:cubicBezTo>
                    <a:pt x="3238" y="6338"/>
                    <a:pt x="3050" y="6191"/>
                    <a:pt x="2686" y="5981"/>
                  </a:cubicBezTo>
                  <a:cubicBezTo>
                    <a:pt x="2640" y="5954"/>
                    <a:pt x="2597" y="5929"/>
                    <a:pt x="2560" y="5907"/>
                  </a:cubicBezTo>
                  <a:lnTo>
                    <a:pt x="2432" y="5829"/>
                  </a:lnTo>
                  <a:lnTo>
                    <a:pt x="2432" y="5807"/>
                  </a:lnTo>
                  <a:cubicBezTo>
                    <a:pt x="2358" y="5739"/>
                    <a:pt x="2291" y="5663"/>
                    <a:pt x="2230" y="5582"/>
                  </a:cubicBezTo>
                  <a:cubicBezTo>
                    <a:pt x="2127" y="5441"/>
                    <a:pt x="2034" y="5291"/>
                    <a:pt x="1953" y="5135"/>
                  </a:cubicBezTo>
                  <a:cubicBezTo>
                    <a:pt x="1254" y="3823"/>
                    <a:pt x="644" y="1300"/>
                    <a:pt x="618" y="1193"/>
                  </a:cubicBezTo>
                  <a:lnTo>
                    <a:pt x="539" y="864"/>
                  </a:lnTo>
                  <a:lnTo>
                    <a:pt x="8593" y="864"/>
                  </a:lnTo>
                  <a:lnTo>
                    <a:pt x="8514" y="1193"/>
                  </a:lnTo>
                  <a:cubicBezTo>
                    <a:pt x="8512" y="1202"/>
                    <a:pt x="8279" y="2169"/>
                    <a:pt x="7944" y="3207"/>
                  </a:cubicBezTo>
                  <a:cubicBezTo>
                    <a:pt x="7854" y="3487"/>
                    <a:pt x="7758" y="3765"/>
                    <a:pt x="7656" y="4041"/>
                  </a:cubicBezTo>
                  <a:cubicBezTo>
                    <a:pt x="7341" y="4885"/>
                    <a:pt x="7048" y="5446"/>
                    <a:pt x="6764" y="5743"/>
                  </a:cubicBezTo>
                  <a:lnTo>
                    <a:pt x="6781" y="5778"/>
                  </a:lnTo>
                  <a:lnTo>
                    <a:pt x="6572" y="5906"/>
                  </a:lnTo>
                  <a:cubicBezTo>
                    <a:pt x="6535" y="5928"/>
                    <a:pt x="6493" y="5953"/>
                    <a:pt x="6447" y="5979"/>
                  </a:cubicBezTo>
                  <a:cubicBezTo>
                    <a:pt x="6082" y="6190"/>
                    <a:pt x="5894" y="6337"/>
                    <a:pt x="5888" y="6416"/>
                  </a:cubicBezTo>
                  <a:cubicBezTo>
                    <a:pt x="5894" y="6494"/>
                    <a:pt x="6082" y="6641"/>
                    <a:pt x="6444" y="6850"/>
                  </a:cubicBezTo>
                  <a:cubicBezTo>
                    <a:pt x="6491" y="6878"/>
                    <a:pt x="6535" y="6903"/>
                    <a:pt x="6572" y="6926"/>
                  </a:cubicBezTo>
                  <a:lnTo>
                    <a:pt x="6781" y="7054"/>
                  </a:lnTo>
                  <a:lnTo>
                    <a:pt x="6763" y="7091"/>
                  </a:lnTo>
                  <a:cubicBezTo>
                    <a:pt x="7624" y="8012"/>
                    <a:pt x="8420" y="11250"/>
                    <a:pt x="8514" y="11641"/>
                  </a:cubicBezTo>
                  <a:lnTo>
                    <a:pt x="8593" y="11970"/>
                  </a:lnTo>
                  <a:close/>
                  <a:moveTo>
                    <a:pt x="1218" y="11436"/>
                  </a:moveTo>
                  <a:lnTo>
                    <a:pt x="7914" y="11436"/>
                  </a:lnTo>
                  <a:cubicBezTo>
                    <a:pt x="7527" y="9923"/>
                    <a:pt x="6814" y="7722"/>
                    <a:pt x="6288" y="7379"/>
                  </a:cubicBezTo>
                  <a:lnTo>
                    <a:pt x="6264" y="7363"/>
                  </a:lnTo>
                  <a:cubicBezTo>
                    <a:pt x="6237" y="7347"/>
                    <a:pt x="6208" y="7330"/>
                    <a:pt x="6177" y="7313"/>
                  </a:cubicBezTo>
                  <a:cubicBezTo>
                    <a:pt x="5830" y="7111"/>
                    <a:pt x="5355" y="6837"/>
                    <a:pt x="5355" y="6416"/>
                  </a:cubicBezTo>
                  <a:cubicBezTo>
                    <a:pt x="5355" y="5994"/>
                    <a:pt x="5832" y="5719"/>
                    <a:pt x="6181" y="5518"/>
                  </a:cubicBezTo>
                  <a:cubicBezTo>
                    <a:pt x="6212" y="5500"/>
                    <a:pt x="6242" y="5483"/>
                    <a:pt x="6269" y="5467"/>
                  </a:cubicBezTo>
                  <a:lnTo>
                    <a:pt x="6288" y="5454"/>
                  </a:lnTo>
                  <a:cubicBezTo>
                    <a:pt x="6396" y="5384"/>
                    <a:pt x="6697" y="5087"/>
                    <a:pt x="7156" y="3855"/>
                  </a:cubicBezTo>
                  <a:cubicBezTo>
                    <a:pt x="7255" y="3587"/>
                    <a:pt x="7349" y="3316"/>
                    <a:pt x="7437" y="3043"/>
                  </a:cubicBezTo>
                  <a:cubicBezTo>
                    <a:pt x="7610" y="2499"/>
                    <a:pt x="7769" y="1950"/>
                    <a:pt x="7912" y="1397"/>
                  </a:cubicBezTo>
                  <a:lnTo>
                    <a:pt x="1220" y="1397"/>
                  </a:lnTo>
                  <a:cubicBezTo>
                    <a:pt x="1410" y="2129"/>
                    <a:pt x="1901" y="3902"/>
                    <a:pt x="2424" y="4885"/>
                  </a:cubicBezTo>
                  <a:cubicBezTo>
                    <a:pt x="2504" y="5036"/>
                    <a:pt x="2582" y="5163"/>
                    <a:pt x="2656" y="5261"/>
                  </a:cubicBezTo>
                  <a:cubicBezTo>
                    <a:pt x="2743" y="5376"/>
                    <a:pt x="2807" y="5430"/>
                    <a:pt x="2845" y="5455"/>
                  </a:cubicBezTo>
                  <a:lnTo>
                    <a:pt x="2860" y="5465"/>
                  </a:lnTo>
                  <a:cubicBezTo>
                    <a:pt x="2888" y="5481"/>
                    <a:pt x="2920" y="5499"/>
                    <a:pt x="2953" y="5519"/>
                  </a:cubicBezTo>
                  <a:cubicBezTo>
                    <a:pt x="3301" y="5719"/>
                    <a:pt x="3777" y="5995"/>
                    <a:pt x="3777" y="6417"/>
                  </a:cubicBezTo>
                  <a:cubicBezTo>
                    <a:pt x="3777" y="6837"/>
                    <a:pt x="3301" y="7112"/>
                    <a:pt x="2954" y="7313"/>
                  </a:cubicBezTo>
                  <a:cubicBezTo>
                    <a:pt x="2926" y="7330"/>
                    <a:pt x="2898" y="7345"/>
                    <a:pt x="2873" y="7360"/>
                  </a:cubicBezTo>
                  <a:lnTo>
                    <a:pt x="2845" y="7379"/>
                  </a:lnTo>
                  <a:cubicBezTo>
                    <a:pt x="2318" y="7722"/>
                    <a:pt x="1605" y="9923"/>
                    <a:pt x="1218" y="11436"/>
                  </a:cubicBezTo>
                  <a:close/>
                  <a:moveTo>
                    <a:pt x="2722" y="4040"/>
                  </a:moveTo>
                  <a:cubicBezTo>
                    <a:pt x="2574" y="4040"/>
                    <a:pt x="2455" y="3921"/>
                    <a:pt x="2455" y="3773"/>
                  </a:cubicBezTo>
                  <a:cubicBezTo>
                    <a:pt x="2455" y="3626"/>
                    <a:pt x="2574" y="3507"/>
                    <a:pt x="2722" y="3507"/>
                  </a:cubicBezTo>
                  <a:cubicBezTo>
                    <a:pt x="2869" y="3507"/>
                    <a:pt x="2988" y="3626"/>
                    <a:pt x="2988" y="3773"/>
                  </a:cubicBezTo>
                  <a:cubicBezTo>
                    <a:pt x="2988" y="3921"/>
                    <a:pt x="2869" y="4040"/>
                    <a:pt x="2722" y="4040"/>
                  </a:cubicBezTo>
                  <a:close/>
                  <a:moveTo>
                    <a:pt x="8910" y="1397"/>
                  </a:moveTo>
                  <a:lnTo>
                    <a:pt x="0" y="1397"/>
                  </a:lnTo>
                  <a:lnTo>
                    <a:pt x="0" y="0"/>
                  </a:lnTo>
                  <a:lnTo>
                    <a:pt x="8910" y="0"/>
                  </a:lnTo>
                  <a:lnTo>
                    <a:pt x="8910" y="1397"/>
                  </a:lnTo>
                  <a:close/>
                  <a:moveTo>
                    <a:pt x="533" y="863"/>
                  </a:moveTo>
                  <a:lnTo>
                    <a:pt x="8377" y="863"/>
                  </a:lnTo>
                  <a:lnTo>
                    <a:pt x="8377" y="533"/>
                  </a:lnTo>
                  <a:lnTo>
                    <a:pt x="533" y="533"/>
                  </a:lnTo>
                  <a:lnTo>
                    <a:pt x="533" y="863"/>
                  </a:lnTo>
                  <a:close/>
                  <a:moveTo>
                    <a:pt x="8910" y="12800"/>
                  </a:moveTo>
                  <a:lnTo>
                    <a:pt x="0" y="12800"/>
                  </a:lnTo>
                  <a:lnTo>
                    <a:pt x="0" y="11404"/>
                  </a:lnTo>
                  <a:lnTo>
                    <a:pt x="8910" y="11404"/>
                  </a:lnTo>
                  <a:lnTo>
                    <a:pt x="8910" y="12800"/>
                  </a:lnTo>
                  <a:close/>
                  <a:moveTo>
                    <a:pt x="533" y="12267"/>
                  </a:moveTo>
                  <a:lnTo>
                    <a:pt x="8377" y="12267"/>
                  </a:lnTo>
                  <a:lnTo>
                    <a:pt x="8377" y="11937"/>
                  </a:lnTo>
                  <a:lnTo>
                    <a:pt x="533" y="11937"/>
                  </a:lnTo>
                  <a:lnTo>
                    <a:pt x="533" y="12267"/>
                  </a:lnTo>
                  <a:close/>
                  <a:moveTo>
                    <a:pt x="7364" y="11011"/>
                  </a:moveTo>
                  <a:lnTo>
                    <a:pt x="1768" y="11011"/>
                  </a:lnTo>
                  <a:lnTo>
                    <a:pt x="1868" y="10670"/>
                  </a:lnTo>
                  <a:cubicBezTo>
                    <a:pt x="2194" y="9551"/>
                    <a:pt x="2700" y="8117"/>
                    <a:pt x="3053" y="7758"/>
                  </a:cubicBezTo>
                  <a:lnTo>
                    <a:pt x="3107" y="7715"/>
                  </a:lnTo>
                  <a:lnTo>
                    <a:pt x="3155" y="7687"/>
                  </a:lnTo>
                  <a:cubicBezTo>
                    <a:pt x="3666" y="7393"/>
                    <a:pt x="4201" y="7033"/>
                    <a:pt x="4201" y="6416"/>
                  </a:cubicBezTo>
                  <a:cubicBezTo>
                    <a:pt x="4201" y="5750"/>
                    <a:pt x="3554" y="5375"/>
                    <a:pt x="3167" y="5151"/>
                  </a:cubicBezTo>
                  <a:lnTo>
                    <a:pt x="3047" y="5068"/>
                  </a:lnTo>
                  <a:cubicBezTo>
                    <a:pt x="3031" y="5050"/>
                    <a:pt x="3016" y="5031"/>
                    <a:pt x="3001" y="5012"/>
                  </a:cubicBezTo>
                  <a:lnTo>
                    <a:pt x="2748" y="4685"/>
                  </a:lnTo>
                  <a:lnTo>
                    <a:pt x="6761" y="3736"/>
                  </a:lnTo>
                  <a:lnTo>
                    <a:pt x="6552" y="4223"/>
                  </a:lnTo>
                  <a:cubicBezTo>
                    <a:pt x="6305" y="4794"/>
                    <a:pt x="6144" y="5004"/>
                    <a:pt x="6085" y="5068"/>
                  </a:cubicBezTo>
                  <a:lnTo>
                    <a:pt x="5970" y="5149"/>
                  </a:lnTo>
                  <a:cubicBezTo>
                    <a:pt x="5820" y="5235"/>
                    <a:pt x="5621" y="5350"/>
                    <a:pt x="5436" y="5500"/>
                  </a:cubicBezTo>
                  <a:lnTo>
                    <a:pt x="5359" y="5566"/>
                  </a:lnTo>
                  <a:cubicBezTo>
                    <a:pt x="5070" y="5826"/>
                    <a:pt x="4930" y="6104"/>
                    <a:pt x="4930" y="6417"/>
                  </a:cubicBezTo>
                  <a:cubicBezTo>
                    <a:pt x="4930" y="6708"/>
                    <a:pt x="5052" y="6969"/>
                    <a:pt x="5302" y="7213"/>
                  </a:cubicBezTo>
                  <a:lnTo>
                    <a:pt x="5439" y="7334"/>
                  </a:lnTo>
                  <a:cubicBezTo>
                    <a:pt x="5622" y="7483"/>
                    <a:pt x="5821" y="7598"/>
                    <a:pt x="5967" y="7682"/>
                  </a:cubicBezTo>
                  <a:lnTo>
                    <a:pt x="6080" y="7758"/>
                  </a:lnTo>
                  <a:cubicBezTo>
                    <a:pt x="6433" y="8117"/>
                    <a:pt x="6939" y="9551"/>
                    <a:pt x="7265" y="10670"/>
                  </a:cubicBezTo>
                  <a:lnTo>
                    <a:pt x="7364" y="11011"/>
                  </a:lnTo>
                  <a:close/>
                  <a:moveTo>
                    <a:pt x="2481" y="10478"/>
                  </a:moveTo>
                  <a:lnTo>
                    <a:pt x="6650" y="10478"/>
                  </a:lnTo>
                  <a:cubicBezTo>
                    <a:pt x="6267" y="9226"/>
                    <a:pt x="5900" y="8374"/>
                    <a:pt x="5720" y="8155"/>
                  </a:cubicBezTo>
                  <a:lnTo>
                    <a:pt x="5701" y="8144"/>
                  </a:lnTo>
                  <a:cubicBezTo>
                    <a:pt x="5542" y="8052"/>
                    <a:pt x="5326" y="7927"/>
                    <a:pt x="5113" y="7757"/>
                  </a:cubicBezTo>
                  <a:lnTo>
                    <a:pt x="4726" y="7505"/>
                  </a:lnTo>
                  <a:lnTo>
                    <a:pt x="4777" y="7430"/>
                  </a:lnTo>
                  <a:cubicBezTo>
                    <a:pt x="4696" y="7332"/>
                    <a:pt x="4625" y="7226"/>
                    <a:pt x="4566" y="7113"/>
                  </a:cubicBezTo>
                  <a:cubicBezTo>
                    <a:pt x="4290" y="7649"/>
                    <a:pt x="3739" y="7966"/>
                    <a:pt x="3432" y="8143"/>
                  </a:cubicBezTo>
                  <a:lnTo>
                    <a:pt x="3412" y="8154"/>
                  </a:lnTo>
                  <a:cubicBezTo>
                    <a:pt x="3232" y="8373"/>
                    <a:pt x="2865" y="9225"/>
                    <a:pt x="2481" y="10478"/>
                  </a:cubicBezTo>
                  <a:close/>
                  <a:moveTo>
                    <a:pt x="3873" y="4966"/>
                  </a:moveTo>
                  <a:cubicBezTo>
                    <a:pt x="4128" y="5149"/>
                    <a:pt x="4397" y="5394"/>
                    <a:pt x="4566" y="5720"/>
                  </a:cubicBezTo>
                  <a:cubicBezTo>
                    <a:pt x="4637" y="5581"/>
                    <a:pt x="4731" y="5449"/>
                    <a:pt x="4847" y="5322"/>
                  </a:cubicBezTo>
                  <a:lnTo>
                    <a:pt x="4825" y="5283"/>
                  </a:lnTo>
                  <a:lnTo>
                    <a:pt x="5121" y="5070"/>
                  </a:lnTo>
                  <a:cubicBezTo>
                    <a:pt x="5317" y="4909"/>
                    <a:pt x="5548" y="4777"/>
                    <a:pt x="5700" y="4689"/>
                  </a:cubicBezTo>
                  <a:lnTo>
                    <a:pt x="5712" y="4682"/>
                  </a:lnTo>
                  <a:cubicBezTo>
                    <a:pt x="5733" y="4654"/>
                    <a:pt x="5770" y="4599"/>
                    <a:pt x="5823" y="4506"/>
                  </a:cubicBezTo>
                  <a:lnTo>
                    <a:pt x="3873" y="49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4" name="iconfont-11894-5689857"/>
            <p:cNvSpPr>
              <a:spLocks noChangeAspect="1"/>
            </p:cNvSpPr>
            <p:nvPr userDrawn="1"/>
          </p:nvSpPr>
          <p:spPr bwMode="auto">
            <a:xfrm>
              <a:off x="20872779" y="6066472"/>
              <a:ext cx="609685" cy="606723"/>
            </a:xfrm>
            <a:custGeom>
              <a:avLst/>
              <a:gdLst>
                <a:gd name="T0" fmla="*/ 6432 w 12864"/>
                <a:gd name="T1" fmla="*/ 12800 h 12800"/>
                <a:gd name="T2" fmla="*/ 6211 w 12864"/>
                <a:gd name="T3" fmla="*/ 12682 h 12800"/>
                <a:gd name="T4" fmla="*/ 77 w 12864"/>
                <a:gd name="T5" fmla="*/ 3566 h 12800"/>
                <a:gd name="T6" fmla="*/ 131 w 12864"/>
                <a:gd name="T7" fmla="*/ 3209 h 12800"/>
                <a:gd name="T8" fmla="*/ 4039 w 12864"/>
                <a:gd name="T9" fmla="*/ 59 h 12800"/>
                <a:gd name="T10" fmla="*/ 4207 w 12864"/>
                <a:gd name="T11" fmla="*/ 0 h 12800"/>
                <a:gd name="T12" fmla="*/ 8658 w 12864"/>
                <a:gd name="T13" fmla="*/ 0 h 12800"/>
                <a:gd name="T14" fmla="*/ 8825 w 12864"/>
                <a:gd name="T15" fmla="*/ 59 h 12800"/>
                <a:gd name="T16" fmla="*/ 12733 w 12864"/>
                <a:gd name="T17" fmla="*/ 3209 h 12800"/>
                <a:gd name="T18" fmla="*/ 12787 w 12864"/>
                <a:gd name="T19" fmla="*/ 3566 h 12800"/>
                <a:gd name="T20" fmla="*/ 6653 w 12864"/>
                <a:gd name="T21" fmla="*/ 12682 h 12800"/>
                <a:gd name="T22" fmla="*/ 6432 w 12864"/>
                <a:gd name="T23" fmla="*/ 12800 h 12800"/>
                <a:gd name="T24" fmla="*/ 657 w 12864"/>
                <a:gd name="T25" fmla="*/ 3471 h 12800"/>
                <a:gd name="T26" fmla="*/ 6432 w 12864"/>
                <a:gd name="T27" fmla="*/ 12056 h 12800"/>
                <a:gd name="T28" fmla="*/ 12208 w 12864"/>
                <a:gd name="T29" fmla="*/ 3471 h 12800"/>
                <a:gd name="T30" fmla="*/ 8564 w 12864"/>
                <a:gd name="T31" fmla="*/ 533 h 12800"/>
                <a:gd name="T32" fmla="*/ 4301 w 12864"/>
                <a:gd name="T33" fmla="*/ 533 h 12800"/>
                <a:gd name="T34" fmla="*/ 657 w 12864"/>
                <a:gd name="T35" fmla="*/ 3471 h 12800"/>
                <a:gd name="T36" fmla="*/ 9025 w 12864"/>
                <a:gd name="T37" fmla="*/ 4510 h 12800"/>
                <a:gd name="T38" fmla="*/ 4439 w 12864"/>
                <a:gd name="T39" fmla="*/ 4510 h 12800"/>
                <a:gd name="T40" fmla="*/ 4389 w 12864"/>
                <a:gd name="T41" fmla="*/ 4506 h 12800"/>
                <a:gd name="T42" fmla="*/ 488 w 12864"/>
                <a:gd name="T43" fmla="*/ 3754 h 12800"/>
                <a:gd name="T44" fmla="*/ 589 w 12864"/>
                <a:gd name="T45" fmla="*/ 3231 h 12800"/>
                <a:gd name="T46" fmla="*/ 4464 w 12864"/>
                <a:gd name="T47" fmla="*/ 3977 h 12800"/>
                <a:gd name="T48" fmla="*/ 8997 w 12864"/>
                <a:gd name="T49" fmla="*/ 3977 h 12800"/>
                <a:gd name="T50" fmla="*/ 12482 w 12864"/>
                <a:gd name="T51" fmla="*/ 3232 h 12800"/>
                <a:gd name="T52" fmla="*/ 12594 w 12864"/>
                <a:gd name="T53" fmla="*/ 3753 h 12800"/>
                <a:gd name="T54" fmla="*/ 9081 w 12864"/>
                <a:gd name="T55" fmla="*/ 4505 h 12800"/>
                <a:gd name="T56" fmla="*/ 9025 w 12864"/>
                <a:gd name="T57" fmla="*/ 4510 h 12800"/>
                <a:gd name="T58" fmla="*/ 6374 w 12864"/>
                <a:gd name="T59" fmla="*/ 12713 h 12800"/>
                <a:gd name="T60" fmla="*/ 6370 w 12864"/>
                <a:gd name="T61" fmla="*/ 12713 h 12800"/>
                <a:gd name="T62" fmla="*/ 6116 w 12864"/>
                <a:gd name="T63" fmla="*/ 12514 h 12800"/>
                <a:gd name="T64" fmla="*/ 3967 w 12864"/>
                <a:gd name="T65" fmla="*/ 4311 h 12800"/>
                <a:gd name="T66" fmla="*/ 4023 w 12864"/>
                <a:gd name="T67" fmla="*/ 4070 h 12800"/>
                <a:gd name="T68" fmla="*/ 6022 w 12864"/>
                <a:gd name="T69" fmla="*/ 1747 h 12800"/>
                <a:gd name="T70" fmla="*/ 6207 w 12864"/>
                <a:gd name="T71" fmla="*/ 1655 h 12800"/>
                <a:gd name="T72" fmla="*/ 6401 w 12864"/>
                <a:gd name="T73" fmla="*/ 1722 h 12800"/>
                <a:gd name="T74" fmla="*/ 9010 w 12864"/>
                <a:gd name="T75" fmla="*/ 4035 h 12800"/>
                <a:gd name="T76" fmla="*/ 8813 w 12864"/>
                <a:gd name="T77" fmla="*/ 4257 h 12800"/>
                <a:gd name="T78" fmla="*/ 9025 w 12864"/>
                <a:gd name="T79" fmla="*/ 4319 h 12800"/>
                <a:gd name="T80" fmla="*/ 6630 w 12864"/>
                <a:gd name="T81" fmla="*/ 12521 h 12800"/>
                <a:gd name="T82" fmla="*/ 6374 w 12864"/>
                <a:gd name="T83" fmla="*/ 12713 h 12800"/>
                <a:gd name="T84" fmla="*/ 4518 w 12864"/>
                <a:gd name="T85" fmla="*/ 4311 h 12800"/>
                <a:gd name="T86" fmla="*/ 6388 w 12864"/>
                <a:gd name="T87" fmla="*/ 11447 h 12800"/>
                <a:gd name="T88" fmla="*/ 8481 w 12864"/>
                <a:gd name="T89" fmla="*/ 4279 h 12800"/>
                <a:gd name="T90" fmla="*/ 6250 w 12864"/>
                <a:gd name="T91" fmla="*/ 2300 h 12800"/>
                <a:gd name="T92" fmla="*/ 4518 w 12864"/>
                <a:gd name="T93" fmla="*/ 4311 h 12800"/>
                <a:gd name="T94" fmla="*/ 6529 w 12864"/>
                <a:gd name="T95" fmla="*/ 2187 h 12800"/>
                <a:gd name="T96" fmla="*/ 6017 w 12864"/>
                <a:gd name="T97" fmla="*/ 2187 h 12800"/>
                <a:gd name="T98" fmla="*/ 5910 w 12864"/>
                <a:gd name="T99" fmla="*/ 2165 h 12800"/>
                <a:gd name="T100" fmla="*/ 3406 w 12864"/>
                <a:gd name="T101" fmla="*/ 1070 h 12800"/>
                <a:gd name="T102" fmla="*/ 3620 w 12864"/>
                <a:gd name="T103" fmla="*/ 581 h 12800"/>
                <a:gd name="T104" fmla="*/ 6073 w 12864"/>
                <a:gd name="T105" fmla="*/ 1654 h 12800"/>
                <a:gd name="T106" fmla="*/ 6478 w 12864"/>
                <a:gd name="T107" fmla="*/ 1654 h 12800"/>
                <a:gd name="T108" fmla="*/ 9193 w 12864"/>
                <a:gd name="T109" fmla="*/ 578 h 12800"/>
                <a:gd name="T110" fmla="*/ 9390 w 12864"/>
                <a:gd name="T111" fmla="*/ 1073 h 12800"/>
                <a:gd name="T112" fmla="*/ 6627 w 12864"/>
                <a:gd name="T113" fmla="*/ 2169 h 12800"/>
                <a:gd name="T114" fmla="*/ 6529 w 12864"/>
                <a:gd name="T115" fmla="*/ 2187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864" h="12800">
                  <a:moveTo>
                    <a:pt x="6432" y="12800"/>
                  </a:moveTo>
                  <a:cubicBezTo>
                    <a:pt x="6343" y="12800"/>
                    <a:pt x="6260" y="12756"/>
                    <a:pt x="6211" y="12682"/>
                  </a:cubicBezTo>
                  <a:lnTo>
                    <a:pt x="77" y="3566"/>
                  </a:lnTo>
                  <a:cubicBezTo>
                    <a:pt x="0" y="3451"/>
                    <a:pt x="23" y="3296"/>
                    <a:pt x="131" y="3209"/>
                  </a:cubicBezTo>
                  <a:lnTo>
                    <a:pt x="4039" y="59"/>
                  </a:lnTo>
                  <a:cubicBezTo>
                    <a:pt x="4087" y="21"/>
                    <a:pt x="4146" y="0"/>
                    <a:pt x="4207" y="0"/>
                  </a:cubicBezTo>
                  <a:lnTo>
                    <a:pt x="8658" y="0"/>
                  </a:lnTo>
                  <a:cubicBezTo>
                    <a:pt x="8719" y="0"/>
                    <a:pt x="8778" y="21"/>
                    <a:pt x="8825" y="59"/>
                  </a:cubicBezTo>
                  <a:lnTo>
                    <a:pt x="12733" y="3209"/>
                  </a:lnTo>
                  <a:cubicBezTo>
                    <a:pt x="12840" y="3296"/>
                    <a:pt x="12864" y="3451"/>
                    <a:pt x="12787" y="3566"/>
                  </a:cubicBezTo>
                  <a:lnTo>
                    <a:pt x="6653" y="12682"/>
                  </a:lnTo>
                  <a:cubicBezTo>
                    <a:pt x="6604" y="12756"/>
                    <a:pt x="6521" y="12800"/>
                    <a:pt x="6432" y="12800"/>
                  </a:cubicBezTo>
                  <a:close/>
                  <a:moveTo>
                    <a:pt x="657" y="3471"/>
                  </a:moveTo>
                  <a:lnTo>
                    <a:pt x="6432" y="12056"/>
                  </a:lnTo>
                  <a:lnTo>
                    <a:pt x="12208" y="3471"/>
                  </a:lnTo>
                  <a:lnTo>
                    <a:pt x="8564" y="533"/>
                  </a:lnTo>
                  <a:lnTo>
                    <a:pt x="4301" y="533"/>
                  </a:lnTo>
                  <a:lnTo>
                    <a:pt x="657" y="3471"/>
                  </a:lnTo>
                  <a:close/>
                  <a:moveTo>
                    <a:pt x="9025" y="4510"/>
                  </a:moveTo>
                  <a:lnTo>
                    <a:pt x="4439" y="4510"/>
                  </a:lnTo>
                  <a:cubicBezTo>
                    <a:pt x="4422" y="4510"/>
                    <a:pt x="4405" y="4509"/>
                    <a:pt x="4389" y="4506"/>
                  </a:cubicBezTo>
                  <a:lnTo>
                    <a:pt x="488" y="3754"/>
                  </a:lnTo>
                  <a:lnTo>
                    <a:pt x="589" y="3231"/>
                  </a:lnTo>
                  <a:lnTo>
                    <a:pt x="4464" y="3977"/>
                  </a:lnTo>
                  <a:lnTo>
                    <a:pt x="8997" y="3977"/>
                  </a:lnTo>
                  <a:lnTo>
                    <a:pt x="12482" y="3232"/>
                  </a:lnTo>
                  <a:lnTo>
                    <a:pt x="12594" y="3753"/>
                  </a:lnTo>
                  <a:lnTo>
                    <a:pt x="9081" y="4505"/>
                  </a:lnTo>
                  <a:cubicBezTo>
                    <a:pt x="9063" y="4508"/>
                    <a:pt x="9044" y="4510"/>
                    <a:pt x="9025" y="4510"/>
                  </a:cubicBezTo>
                  <a:close/>
                  <a:moveTo>
                    <a:pt x="6374" y="12713"/>
                  </a:moveTo>
                  <a:lnTo>
                    <a:pt x="6370" y="12713"/>
                  </a:lnTo>
                  <a:cubicBezTo>
                    <a:pt x="6250" y="12711"/>
                    <a:pt x="6146" y="12630"/>
                    <a:pt x="6116" y="12514"/>
                  </a:cubicBezTo>
                  <a:lnTo>
                    <a:pt x="3967" y="4311"/>
                  </a:lnTo>
                  <a:cubicBezTo>
                    <a:pt x="3945" y="4227"/>
                    <a:pt x="3966" y="4136"/>
                    <a:pt x="4023" y="4070"/>
                  </a:cubicBezTo>
                  <a:lnTo>
                    <a:pt x="6022" y="1747"/>
                  </a:lnTo>
                  <a:cubicBezTo>
                    <a:pt x="6069" y="1693"/>
                    <a:pt x="6135" y="1660"/>
                    <a:pt x="6207" y="1655"/>
                  </a:cubicBezTo>
                  <a:cubicBezTo>
                    <a:pt x="6277" y="1651"/>
                    <a:pt x="6348" y="1674"/>
                    <a:pt x="6401" y="1722"/>
                  </a:cubicBezTo>
                  <a:lnTo>
                    <a:pt x="9010" y="4035"/>
                  </a:lnTo>
                  <a:lnTo>
                    <a:pt x="8813" y="4257"/>
                  </a:lnTo>
                  <a:lnTo>
                    <a:pt x="9025" y="4319"/>
                  </a:lnTo>
                  <a:lnTo>
                    <a:pt x="6630" y="12521"/>
                  </a:lnTo>
                  <a:cubicBezTo>
                    <a:pt x="6596" y="12635"/>
                    <a:pt x="6492" y="12713"/>
                    <a:pt x="6374" y="12713"/>
                  </a:cubicBezTo>
                  <a:close/>
                  <a:moveTo>
                    <a:pt x="4518" y="4311"/>
                  </a:moveTo>
                  <a:lnTo>
                    <a:pt x="6388" y="11447"/>
                  </a:lnTo>
                  <a:lnTo>
                    <a:pt x="8481" y="4279"/>
                  </a:lnTo>
                  <a:lnTo>
                    <a:pt x="6250" y="2300"/>
                  </a:lnTo>
                  <a:lnTo>
                    <a:pt x="4518" y="4311"/>
                  </a:lnTo>
                  <a:close/>
                  <a:moveTo>
                    <a:pt x="6529" y="2187"/>
                  </a:moveTo>
                  <a:lnTo>
                    <a:pt x="6017" y="2187"/>
                  </a:lnTo>
                  <a:cubicBezTo>
                    <a:pt x="5980" y="2188"/>
                    <a:pt x="5944" y="2180"/>
                    <a:pt x="5910" y="2165"/>
                  </a:cubicBezTo>
                  <a:lnTo>
                    <a:pt x="3406" y="1070"/>
                  </a:lnTo>
                  <a:lnTo>
                    <a:pt x="3620" y="581"/>
                  </a:lnTo>
                  <a:lnTo>
                    <a:pt x="6073" y="1654"/>
                  </a:lnTo>
                  <a:lnTo>
                    <a:pt x="6478" y="1654"/>
                  </a:lnTo>
                  <a:lnTo>
                    <a:pt x="9193" y="578"/>
                  </a:lnTo>
                  <a:lnTo>
                    <a:pt x="9390" y="1073"/>
                  </a:lnTo>
                  <a:lnTo>
                    <a:pt x="6627" y="2169"/>
                  </a:lnTo>
                  <a:cubicBezTo>
                    <a:pt x="6596" y="2181"/>
                    <a:pt x="6562" y="2187"/>
                    <a:pt x="6529" y="218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5" name="iconfont-11894-5689857"/>
            <p:cNvSpPr>
              <a:spLocks noChangeAspect="1"/>
            </p:cNvSpPr>
            <p:nvPr userDrawn="1"/>
          </p:nvSpPr>
          <p:spPr bwMode="auto">
            <a:xfrm>
              <a:off x="22092150" y="6071390"/>
              <a:ext cx="609685" cy="596886"/>
            </a:xfrm>
            <a:custGeom>
              <a:avLst/>
              <a:gdLst>
                <a:gd name="T0" fmla="*/ 0 w 12800"/>
                <a:gd name="T1" fmla="*/ 7567 h 12533"/>
                <a:gd name="T2" fmla="*/ 5024 w 12800"/>
                <a:gd name="T3" fmla="*/ 7301 h 12533"/>
                <a:gd name="T4" fmla="*/ 2512 w 12800"/>
                <a:gd name="T5" fmla="*/ 10123 h 12533"/>
                <a:gd name="T6" fmla="*/ 2512 w 12800"/>
                <a:gd name="T7" fmla="*/ 9590 h 12533"/>
                <a:gd name="T8" fmla="*/ 550 w 12800"/>
                <a:gd name="T9" fmla="*/ 7834 h 12533"/>
                <a:gd name="T10" fmla="*/ 6675 w 12800"/>
                <a:gd name="T11" fmla="*/ 0 h 12533"/>
                <a:gd name="T12" fmla="*/ 6142 w 12800"/>
                <a:gd name="T13" fmla="*/ 12266 h 12533"/>
                <a:gd name="T14" fmla="*/ 3998 w 12800"/>
                <a:gd name="T15" fmla="*/ 11999 h 12533"/>
                <a:gd name="T16" fmla="*/ 8819 w 12800"/>
                <a:gd name="T17" fmla="*/ 12533 h 12533"/>
                <a:gd name="T18" fmla="*/ 3998 w 12800"/>
                <a:gd name="T19" fmla="*/ 11999 h 12533"/>
                <a:gd name="T20" fmla="*/ 6453 w 12800"/>
                <a:gd name="T21" fmla="*/ 1142 h 12533"/>
                <a:gd name="T22" fmla="*/ 1299 w 12800"/>
                <a:gd name="T23" fmla="*/ 1471 h 12533"/>
                <a:gd name="T24" fmla="*/ 525 w 12800"/>
                <a:gd name="T25" fmla="*/ 7557 h 12533"/>
                <a:gd name="T26" fmla="*/ 2263 w 12800"/>
                <a:gd name="T27" fmla="*/ 1510 h 12533"/>
                <a:gd name="T28" fmla="*/ 4998 w 12800"/>
                <a:gd name="T29" fmla="*/ 7366 h 12533"/>
                <a:gd name="T30" fmla="*/ 2512 w 12800"/>
                <a:gd name="T31" fmla="*/ 2352 h 12533"/>
                <a:gd name="T32" fmla="*/ 2246 w 12800"/>
                <a:gd name="T33" fmla="*/ 2045 h 12533"/>
                <a:gd name="T34" fmla="*/ 2779 w 12800"/>
                <a:gd name="T35" fmla="*/ 7567 h 12533"/>
                <a:gd name="T36" fmla="*/ 2246 w 12800"/>
                <a:gd name="T37" fmla="*/ 2045 h 12533"/>
                <a:gd name="T38" fmla="*/ 7776 w 12800"/>
                <a:gd name="T39" fmla="*/ 7567 h 12533"/>
                <a:gd name="T40" fmla="*/ 12800 w 12800"/>
                <a:gd name="T41" fmla="*/ 7301 h 12533"/>
                <a:gd name="T42" fmla="*/ 10288 w 12800"/>
                <a:gd name="T43" fmla="*/ 10123 h 12533"/>
                <a:gd name="T44" fmla="*/ 10288 w 12800"/>
                <a:gd name="T45" fmla="*/ 9590 h 12533"/>
                <a:gd name="T46" fmla="*/ 8327 w 12800"/>
                <a:gd name="T47" fmla="*/ 7834 h 12533"/>
                <a:gd name="T48" fmla="*/ 10288 w 12800"/>
                <a:gd name="T49" fmla="*/ 2352 h 12533"/>
                <a:gd name="T50" fmla="*/ 7802 w 12800"/>
                <a:gd name="T51" fmla="*/ 7366 h 12533"/>
                <a:gd name="T52" fmla="*/ 10537 w 12800"/>
                <a:gd name="T53" fmla="*/ 1510 h 12533"/>
                <a:gd name="T54" fmla="*/ 12275 w 12800"/>
                <a:gd name="T55" fmla="*/ 7557 h 12533"/>
                <a:gd name="T56" fmla="*/ 10554 w 12800"/>
                <a:gd name="T57" fmla="*/ 2045 h 12533"/>
                <a:gd name="T58" fmla="*/ 10021 w 12800"/>
                <a:gd name="T59" fmla="*/ 7567 h 12533"/>
                <a:gd name="T60" fmla="*/ 6453 w 12800"/>
                <a:gd name="T61" fmla="*/ 617 h 12533"/>
                <a:gd name="T62" fmla="*/ 11429 w 12800"/>
                <a:gd name="T63" fmla="*/ 1997 h 12533"/>
                <a:gd name="T64" fmla="*/ 6453 w 12800"/>
                <a:gd name="T65" fmla="*/ 617 h 1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0" h="12533">
                  <a:moveTo>
                    <a:pt x="2512" y="10123"/>
                  </a:moveTo>
                  <a:cubicBezTo>
                    <a:pt x="1127" y="10123"/>
                    <a:pt x="0" y="8976"/>
                    <a:pt x="0" y="7567"/>
                  </a:cubicBezTo>
                  <a:lnTo>
                    <a:pt x="0" y="7301"/>
                  </a:lnTo>
                  <a:lnTo>
                    <a:pt x="5024" y="7301"/>
                  </a:lnTo>
                  <a:lnTo>
                    <a:pt x="5024" y="7567"/>
                  </a:lnTo>
                  <a:cubicBezTo>
                    <a:pt x="5024" y="8976"/>
                    <a:pt x="3897" y="10123"/>
                    <a:pt x="2512" y="10123"/>
                  </a:cubicBezTo>
                  <a:close/>
                  <a:moveTo>
                    <a:pt x="550" y="7834"/>
                  </a:moveTo>
                  <a:cubicBezTo>
                    <a:pt x="678" y="8823"/>
                    <a:pt x="1509" y="9590"/>
                    <a:pt x="2512" y="9590"/>
                  </a:cubicBezTo>
                  <a:cubicBezTo>
                    <a:pt x="3514" y="9590"/>
                    <a:pt x="4345" y="8823"/>
                    <a:pt x="4473" y="7834"/>
                  </a:cubicBezTo>
                  <a:lnTo>
                    <a:pt x="550" y="7834"/>
                  </a:lnTo>
                  <a:close/>
                  <a:moveTo>
                    <a:pt x="6142" y="0"/>
                  </a:moveTo>
                  <a:lnTo>
                    <a:pt x="6675" y="0"/>
                  </a:lnTo>
                  <a:lnTo>
                    <a:pt x="6675" y="12266"/>
                  </a:lnTo>
                  <a:lnTo>
                    <a:pt x="6142" y="12266"/>
                  </a:lnTo>
                  <a:lnTo>
                    <a:pt x="6142" y="0"/>
                  </a:lnTo>
                  <a:close/>
                  <a:moveTo>
                    <a:pt x="3998" y="11999"/>
                  </a:moveTo>
                  <a:lnTo>
                    <a:pt x="8819" y="11999"/>
                  </a:lnTo>
                  <a:lnTo>
                    <a:pt x="8819" y="12533"/>
                  </a:lnTo>
                  <a:lnTo>
                    <a:pt x="3998" y="12533"/>
                  </a:lnTo>
                  <a:lnTo>
                    <a:pt x="3998" y="11999"/>
                  </a:lnTo>
                  <a:close/>
                  <a:moveTo>
                    <a:pt x="6364" y="616"/>
                  </a:moveTo>
                  <a:lnTo>
                    <a:pt x="6453" y="1142"/>
                  </a:lnTo>
                  <a:lnTo>
                    <a:pt x="1388" y="1997"/>
                  </a:lnTo>
                  <a:lnTo>
                    <a:pt x="1299" y="1471"/>
                  </a:lnTo>
                  <a:lnTo>
                    <a:pt x="6364" y="616"/>
                  </a:lnTo>
                  <a:close/>
                  <a:moveTo>
                    <a:pt x="525" y="7557"/>
                  </a:moveTo>
                  <a:lnTo>
                    <a:pt x="27" y="7366"/>
                  </a:lnTo>
                  <a:lnTo>
                    <a:pt x="2263" y="1510"/>
                  </a:lnTo>
                  <a:cubicBezTo>
                    <a:pt x="2351" y="1281"/>
                    <a:pt x="2674" y="1281"/>
                    <a:pt x="2761" y="1510"/>
                  </a:cubicBezTo>
                  <a:lnTo>
                    <a:pt x="4998" y="7366"/>
                  </a:lnTo>
                  <a:lnTo>
                    <a:pt x="4499" y="7556"/>
                  </a:lnTo>
                  <a:lnTo>
                    <a:pt x="2512" y="2352"/>
                  </a:lnTo>
                  <a:lnTo>
                    <a:pt x="525" y="7557"/>
                  </a:lnTo>
                  <a:close/>
                  <a:moveTo>
                    <a:pt x="2246" y="2045"/>
                  </a:moveTo>
                  <a:lnTo>
                    <a:pt x="2779" y="2045"/>
                  </a:lnTo>
                  <a:lnTo>
                    <a:pt x="2779" y="7567"/>
                  </a:lnTo>
                  <a:lnTo>
                    <a:pt x="2246" y="7567"/>
                  </a:lnTo>
                  <a:lnTo>
                    <a:pt x="2246" y="2045"/>
                  </a:lnTo>
                  <a:close/>
                  <a:moveTo>
                    <a:pt x="10288" y="10123"/>
                  </a:moveTo>
                  <a:cubicBezTo>
                    <a:pt x="8903" y="10123"/>
                    <a:pt x="7776" y="8976"/>
                    <a:pt x="7776" y="7567"/>
                  </a:cubicBezTo>
                  <a:lnTo>
                    <a:pt x="7776" y="7301"/>
                  </a:lnTo>
                  <a:lnTo>
                    <a:pt x="12800" y="7301"/>
                  </a:lnTo>
                  <a:lnTo>
                    <a:pt x="12800" y="7567"/>
                  </a:lnTo>
                  <a:cubicBezTo>
                    <a:pt x="12800" y="8976"/>
                    <a:pt x="11673" y="10123"/>
                    <a:pt x="10288" y="10123"/>
                  </a:cubicBezTo>
                  <a:close/>
                  <a:moveTo>
                    <a:pt x="8327" y="7834"/>
                  </a:moveTo>
                  <a:cubicBezTo>
                    <a:pt x="8455" y="8823"/>
                    <a:pt x="9286" y="9590"/>
                    <a:pt x="10288" y="9590"/>
                  </a:cubicBezTo>
                  <a:cubicBezTo>
                    <a:pt x="11290" y="9590"/>
                    <a:pt x="12121" y="8823"/>
                    <a:pt x="12249" y="7834"/>
                  </a:cubicBezTo>
                  <a:lnTo>
                    <a:pt x="8327" y="7834"/>
                  </a:lnTo>
                  <a:close/>
                  <a:moveTo>
                    <a:pt x="12275" y="7557"/>
                  </a:moveTo>
                  <a:lnTo>
                    <a:pt x="10288" y="2352"/>
                  </a:lnTo>
                  <a:lnTo>
                    <a:pt x="8301" y="7556"/>
                  </a:lnTo>
                  <a:lnTo>
                    <a:pt x="7802" y="7366"/>
                  </a:lnTo>
                  <a:lnTo>
                    <a:pt x="10039" y="1510"/>
                  </a:lnTo>
                  <a:cubicBezTo>
                    <a:pt x="10126" y="1281"/>
                    <a:pt x="10450" y="1281"/>
                    <a:pt x="10537" y="1510"/>
                  </a:cubicBezTo>
                  <a:lnTo>
                    <a:pt x="12774" y="7366"/>
                  </a:lnTo>
                  <a:lnTo>
                    <a:pt x="12275" y="7557"/>
                  </a:lnTo>
                  <a:close/>
                  <a:moveTo>
                    <a:pt x="10021" y="2045"/>
                  </a:moveTo>
                  <a:lnTo>
                    <a:pt x="10554" y="2045"/>
                  </a:lnTo>
                  <a:lnTo>
                    <a:pt x="10554" y="7567"/>
                  </a:lnTo>
                  <a:lnTo>
                    <a:pt x="10021" y="7567"/>
                  </a:lnTo>
                  <a:lnTo>
                    <a:pt x="10021" y="2045"/>
                  </a:lnTo>
                  <a:close/>
                  <a:moveTo>
                    <a:pt x="6453" y="617"/>
                  </a:moveTo>
                  <a:lnTo>
                    <a:pt x="11518" y="1471"/>
                  </a:lnTo>
                  <a:lnTo>
                    <a:pt x="11429" y="1997"/>
                  </a:lnTo>
                  <a:lnTo>
                    <a:pt x="6364" y="1143"/>
                  </a:lnTo>
                  <a:lnTo>
                    <a:pt x="6453" y="6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6" name="iconfont-11894-5689857"/>
            <p:cNvSpPr>
              <a:spLocks noChangeAspect="1"/>
            </p:cNvSpPr>
            <p:nvPr userDrawn="1"/>
          </p:nvSpPr>
          <p:spPr bwMode="auto">
            <a:xfrm>
              <a:off x="23401954" y="6064991"/>
              <a:ext cx="428814" cy="609685"/>
            </a:xfrm>
            <a:custGeom>
              <a:avLst/>
              <a:gdLst>
                <a:gd name="T0" fmla="*/ 2133 w 9004"/>
                <a:gd name="T1" fmla="*/ 12800 h 12800"/>
                <a:gd name="T2" fmla="*/ 0 w 9004"/>
                <a:gd name="T3" fmla="*/ 2133 h 12800"/>
                <a:gd name="T4" fmla="*/ 6871 w 9004"/>
                <a:gd name="T5" fmla="*/ 0 h 12800"/>
                <a:gd name="T6" fmla="*/ 9004 w 9004"/>
                <a:gd name="T7" fmla="*/ 10667 h 12800"/>
                <a:gd name="T8" fmla="*/ 2133 w 9004"/>
                <a:gd name="T9" fmla="*/ 533 h 12800"/>
                <a:gd name="T10" fmla="*/ 533 w 9004"/>
                <a:gd name="T11" fmla="*/ 10667 h 12800"/>
                <a:gd name="T12" fmla="*/ 6871 w 9004"/>
                <a:gd name="T13" fmla="*/ 12267 h 12800"/>
                <a:gd name="T14" fmla="*/ 8471 w 9004"/>
                <a:gd name="T15" fmla="*/ 2133 h 12800"/>
                <a:gd name="T16" fmla="*/ 2133 w 9004"/>
                <a:gd name="T17" fmla="*/ 533 h 12800"/>
                <a:gd name="T18" fmla="*/ 1202 w 9004"/>
                <a:gd name="T19" fmla="*/ 4097 h 12800"/>
                <a:gd name="T20" fmla="*/ 7802 w 9004"/>
                <a:gd name="T21" fmla="*/ 1340 h 12800"/>
                <a:gd name="T22" fmla="*/ 1735 w 9004"/>
                <a:gd name="T23" fmla="*/ 3564 h 12800"/>
                <a:gd name="T24" fmla="*/ 7269 w 9004"/>
                <a:gd name="T25" fmla="*/ 1873 h 12800"/>
                <a:gd name="T26" fmla="*/ 1735 w 9004"/>
                <a:gd name="T27" fmla="*/ 3564 h 12800"/>
                <a:gd name="T28" fmla="*/ 1202 w 9004"/>
                <a:gd name="T29" fmla="*/ 6766 h 12800"/>
                <a:gd name="T30" fmla="*/ 2973 w 9004"/>
                <a:gd name="T31" fmla="*/ 5047 h 12800"/>
                <a:gd name="T32" fmla="*/ 1735 w 9004"/>
                <a:gd name="T33" fmla="*/ 6233 h 12800"/>
                <a:gd name="T34" fmla="*/ 2440 w 9004"/>
                <a:gd name="T35" fmla="*/ 5580 h 12800"/>
                <a:gd name="T36" fmla="*/ 1735 w 9004"/>
                <a:gd name="T37" fmla="*/ 6233 h 12800"/>
                <a:gd name="T38" fmla="*/ 3616 w 9004"/>
                <a:gd name="T39" fmla="*/ 6766 h 12800"/>
                <a:gd name="T40" fmla="*/ 5388 w 9004"/>
                <a:gd name="T41" fmla="*/ 5047 h 12800"/>
                <a:gd name="T42" fmla="*/ 4149 w 9004"/>
                <a:gd name="T43" fmla="*/ 6233 h 12800"/>
                <a:gd name="T44" fmla="*/ 4855 w 9004"/>
                <a:gd name="T45" fmla="*/ 5580 h 12800"/>
                <a:gd name="T46" fmla="*/ 4149 w 9004"/>
                <a:gd name="T47" fmla="*/ 6233 h 12800"/>
                <a:gd name="T48" fmla="*/ 6031 w 9004"/>
                <a:gd name="T49" fmla="*/ 6766 h 12800"/>
                <a:gd name="T50" fmla="*/ 7802 w 9004"/>
                <a:gd name="T51" fmla="*/ 5047 h 12800"/>
                <a:gd name="T52" fmla="*/ 6564 w 9004"/>
                <a:gd name="T53" fmla="*/ 6233 h 12800"/>
                <a:gd name="T54" fmla="*/ 7269 w 9004"/>
                <a:gd name="T55" fmla="*/ 5580 h 12800"/>
                <a:gd name="T56" fmla="*/ 6564 w 9004"/>
                <a:gd name="T57" fmla="*/ 6233 h 12800"/>
                <a:gd name="T58" fmla="*/ 1202 w 9004"/>
                <a:gd name="T59" fmla="*/ 8871 h 12800"/>
                <a:gd name="T60" fmla="*/ 2973 w 9004"/>
                <a:gd name="T61" fmla="*/ 7152 h 12800"/>
                <a:gd name="T62" fmla="*/ 1735 w 9004"/>
                <a:gd name="T63" fmla="*/ 8338 h 12800"/>
                <a:gd name="T64" fmla="*/ 2440 w 9004"/>
                <a:gd name="T65" fmla="*/ 7685 h 12800"/>
                <a:gd name="T66" fmla="*/ 1735 w 9004"/>
                <a:gd name="T67" fmla="*/ 8338 h 12800"/>
                <a:gd name="T68" fmla="*/ 3616 w 9004"/>
                <a:gd name="T69" fmla="*/ 8871 h 12800"/>
                <a:gd name="T70" fmla="*/ 5388 w 9004"/>
                <a:gd name="T71" fmla="*/ 7152 h 12800"/>
                <a:gd name="T72" fmla="*/ 4149 w 9004"/>
                <a:gd name="T73" fmla="*/ 8338 h 12800"/>
                <a:gd name="T74" fmla="*/ 4855 w 9004"/>
                <a:gd name="T75" fmla="*/ 7685 h 12800"/>
                <a:gd name="T76" fmla="*/ 4149 w 9004"/>
                <a:gd name="T77" fmla="*/ 8338 h 12800"/>
                <a:gd name="T78" fmla="*/ 6031 w 9004"/>
                <a:gd name="T79" fmla="*/ 8871 h 12800"/>
                <a:gd name="T80" fmla="*/ 7802 w 9004"/>
                <a:gd name="T81" fmla="*/ 7152 h 12800"/>
                <a:gd name="T82" fmla="*/ 6564 w 9004"/>
                <a:gd name="T83" fmla="*/ 8338 h 12800"/>
                <a:gd name="T84" fmla="*/ 7269 w 9004"/>
                <a:gd name="T85" fmla="*/ 7685 h 12800"/>
                <a:gd name="T86" fmla="*/ 6564 w 9004"/>
                <a:gd name="T87" fmla="*/ 8338 h 12800"/>
                <a:gd name="T88" fmla="*/ 1202 w 9004"/>
                <a:gd name="T89" fmla="*/ 10976 h 12800"/>
                <a:gd name="T90" fmla="*/ 2973 w 9004"/>
                <a:gd name="T91" fmla="*/ 9257 h 12800"/>
                <a:gd name="T92" fmla="*/ 1735 w 9004"/>
                <a:gd name="T93" fmla="*/ 10443 h 12800"/>
                <a:gd name="T94" fmla="*/ 2440 w 9004"/>
                <a:gd name="T95" fmla="*/ 9790 h 12800"/>
                <a:gd name="T96" fmla="*/ 1735 w 9004"/>
                <a:gd name="T97" fmla="*/ 10443 h 12800"/>
                <a:gd name="T98" fmla="*/ 3616 w 9004"/>
                <a:gd name="T99" fmla="*/ 10976 h 12800"/>
                <a:gd name="T100" fmla="*/ 5388 w 9004"/>
                <a:gd name="T101" fmla="*/ 9257 h 12800"/>
                <a:gd name="T102" fmla="*/ 4149 w 9004"/>
                <a:gd name="T103" fmla="*/ 10443 h 12800"/>
                <a:gd name="T104" fmla="*/ 4855 w 9004"/>
                <a:gd name="T105" fmla="*/ 9790 h 12800"/>
                <a:gd name="T106" fmla="*/ 4149 w 9004"/>
                <a:gd name="T107" fmla="*/ 10443 h 12800"/>
                <a:gd name="T108" fmla="*/ 6031 w 9004"/>
                <a:gd name="T109" fmla="*/ 10976 h 12800"/>
                <a:gd name="T110" fmla="*/ 7802 w 9004"/>
                <a:gd name="T111" fmla="*/ 9257 h 12800"/>
                <a:gd name="T112" fmla="*/ 6564 w 9004"/>
                <a:gd name="T113" fmla="*/ 10443 h 12800"/>
                <a:gd name="T114" fmla="*/ 7269 w 9004"/>
                <a:gd name="T115" fmla="*/ 9790 h 12800"/>
                <a:gd name="T116" fmla="*/ 6564 w 9004"/>
                <a:gd name="T117" fmla="*/ 10443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04" h="12800">
                  <a:moveTo>
                    <a:pt x="6871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2133"/>
                  </a:lnTo>
                  <a:cubicBezTo>
                    <a:pt x="0" y="957"/>
                    <a:pt x="957" y="0"/>
                    <a:pt x="2133" y="0"/>
                  </a:cubicBezTo>
                  <a:lnTo>
                    <a:pt x="6871" y="0"/>
                  </a:lnTo>
                  <a:cubicBezTo>
                    <a:pt x="8047" y="0"/>
                    <a:pt x="9004" y="957"/>
                    <a:pt x="9004" y="2133"/>
                  </a:cubicBezTo>
                  <a:lnTo>
                    <a:pt x="9004" y="10667"/>
                  </a:lnTo>
                  <a:cubicBezTo>
                    <a:pt x="9004" y="11843"/>
                    <a:pt x="8047" y="12800"/>
                    <a:pt x="6871" y="12800"/>
                  </a:cubicBezTo>
                  <a:close/>
                  <a:moveTo>
                    <a:pt x="2133" y="533"/>
                  </a:moveTo>
                  <a:cubicBezTo>
                    <a:pt x="1251" y="533"/>
                    <a:pt x="533" y="1251"/>
                    <a:pt x="533" y="213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6871" y="12267"/>
                  </a:lnTo>
                  <a:cubicBezTo>
                    <a:pt x="7753" y="12267"/>
                    <a:pt x="8471" y="11549"/>
                    <a:pt x="8471" y="10667"/>
                  </a:cubicBezTo>
                  <a:lnTo>
                    <a:pt x="8471" y="2133"/>
                  </a:lnTo>
                  <a:cubicBezTo>
                    <a:pt x="8471" y="1251"/>
                    <a:pt x="7753" y="533"/>
                    <a:pt x="6871" y="533"/>
                  </a:cubicBezTo>
                  <a:lnTo>
                    <a:pt x="2133" y="533"/>
                  </a:lnTo>
                  <a:close/>
                  <a:moveTo>
                    <a:pt x="7802" y="4097"/>
                  </a:moveTo>
                  <a:lnTo>
                    <a:pt x="1202" y="4097"/>
                  </a:lnTo>
                  <a:lnTo>
                    <a:pt x="1202" y="1340"/>
                  </a:lnTo>
                  <a:lnTo>
                    <a:pt x="7802" y="1340"/>
                  </a:lnTo>
                  <a:lnTo>
                    <a:pt x="7802" y="4097"/>
                  </a:lnTo>
                  <a:close/>
                  <a:moveTo>
                    <a:pt x="1735" y="3564"/>
                  </a:moveTo>
                  <a:lnTo>
                    <a:pt x="7269" y="3564"/>
                  </a:lnTo>
                  <a:lnTo>
                    <a:pt x="7269" y="1873"/>
                  </a:lnTo>
                  <a:lnTo>
                    <a:pt x="1735" y="1873"/>
                  </a:lnTo>
                  <a:lnTo>
                    <a:pt x="1735" y="3564"/>
                  </a:lnTo>
                  <a:close/>
                  <a:moveTo>
                    <a:pt x="2973" y="6766"/>
                  </a:moveTo>
                  <a:lnTo>
                    <a:pt x="1202" y="6766"/>
                  </a:lnTo>
                  <a:lnTo>
                    <a:pt x="1202" y="5047"/>
                  </a:lnTo>
                  <a:lnTo>
                    <a:pt x="2973" y="5047"/>
                  </a:lnTo>
                  <a:lnTo>
                    <a:pt x="2973" y="6766"/>
                  </a:lnTo>
                  <a:close/>
                  <a:moveTo>
                    <a:pt x="1735" y="6233"/>
                  </a:moveTo>
                  <a:lnTo>
                    <a:pt x="2440" y="6233"/>
                  </a:lnTo>
                  <a:lnTo>
                    <a:pt x="2440" y="5580"/>
                  </a:lnTo>
                  <a:lnTo>
                    <a:pt x="1735" y="5580"/>
                  </a:lnTo>
                  <a:lnTo>
                    <a:pt x="1735" y="6233"/>
                  </a:lnTo>
                  <a:close/>
                  <a:moveTo>
                    <a:pt x="5388" y="6766"/>
                  </a:moveTo>
                  <a:lnTo>
                    <a:pt x="3616" y="6766"/>
                  </a:lnTo>
                  <a:lnTo>
                    <a:pt x="3616" y="5047"/>
                  </a:lnTo>
                  <a:lnTo>
                    <a:pt x="5388" y="5047"/>
                  </a:lnTo>
                  <a:lnTo>
                    <a:pt x="5388" y="6766"/>
                  </a:lnTo>
                  <a:close/>
                  <a:moveTo>
                    <a:pt x="4149" y="6233"/>
                  </a:moveTo>
                  <a:lnTo>
                    <a:pt x="4855" y="6233"/>
                  </a:lnTo>
                  <a:lnTo>
                    <a:pt x="4855" y="5580"/>
                  </a:lnTo>
                  <a:lnTo>
                    <a:pt x="4149" y="5580"/>
                  </a:lnTo>
                  <a:lnTo>
                    <a:pt x="4149" y="6233"/>
                  </a:lnTo>
                  <a:close/>
                  <a:moveTo>
                    <a:pt x="7802" y="6766"/>
                  </a:moveTo>
                  <a:lnTo>
                    <a:pt x="6031" y="6766"/>
                  </a:lnTo>
                  <a:lnTo>
                    <a:pt x="6031" y="5047"/>
                  </a:lnTo>
                  <a:lnTo>
                    <a:pt x="7802" y="5047"/>
                  </a:lnTo>
                  <a:lnTo>
                    <a:pt x="7802" y="6766"/>
                  </a:lnTo>
                  <a:close/>
                  <a:moveTo>
                    <a:pt x="6564" y="6233"/>
                  </a:moveTo>
                  <a:lnTo>
                    <a:pt x="7269" y="6233"/>
                  </a:lnTo>
                  <a:lnTo>
                    <a:pt x="7269" y="5580"/>
                  </a:lnTo>
                  <a:lnTo>
                    <a:pt x="6564" y="5580"/>
                  </a:lnTo>
                  <a:lnTo>
                    <a:pt x="6564" y="6233"/>
                  </a:lnTo>
                  <a:close/>
                  <a:moveTo>
                    <a:pt x="2973" y="8871"/>
                  </a:moveTo>
                  <a:lnTo>
                    <a:pt x="1202" y="8871"/>
                  </a:lnTo>
                  <a:lnTo>
                    <a:pt x="1202" y="7152"/>
                  </a:lnTo>
                  <a:lnTo>
                    <a:pt x="2973" y="7152"/>
                  </a:lnTo>
                  <a:lnTo>
                    <a:pt x="2973" y="8871"/>
                  </a:lnTo>
                  <a:close/>
                  <a:moveTo>
                    <a:pt x="1735" y="8338"/>
                  </a:moveTo>
                  <a:lnTo>
                    <a:pt x="2440" y="8338"/>
                  </a:lnTo>
                  <a:lnTo>
                    <a:pt x="2440" y="7685"/>
                  </a:lnTo>
                  <a:lnTo>
                    <a:pt x="1735" y="7685"/>
                  </a:lnTo>
                  <a:lnTo>
                    <a:pt x="1735" y="8338"/>
                  </a:lnTo>
                  <a:close/>
                  <a:moveTo>
                    <a:pt x="5388" y="8871"/>
                  </a:moveTo>
                  <a:lnTo>
                    <a:pt x="3616" y="8871"/>
                  </a:lnTo>
                  <a:lnTo>
                    <a:pt x="3616" y="7152"/>
                  </a:lnTo>
                  <a:lnTo>
                    <a:pt x="5388" y="7152"/>
                  </a:lnTo>
                  <a:lnTo>
                    <a:pt x="5388" y="8871"/>
                  </a:lnTo>
                  <a:close/>
                  <a:moveTo>
                    <a:pt x="4149" y="8338"/>
                  </a:moveTo>
                  <a:lnTo>
                    <a:pt x="4855" y="8338"/>
                  </a:lnTo>
                  <a:lnTo>
                    <a:pt x="4855" y="7685"/>
                  </a:lnTo>
                  <a:lnTo>
                    <a:pt x="4149" y="7685"/>
                  </a:lnTo>
                  <a:lnTo>
                    <a:pt x="4149" y="8338"/>
                  </a:lnTo>
                  <a:close/>
                  <a:moveTo>
                    <a:pt x="7802" y="8871"/>
                  </a:moveTo>
                  <a:lnTo>
                    <a:pt x="6031" y="8871"/>
                  </a:lnTo>
                  <a:lnTo>
                    <a:pt x="6031" y="7152"/>
                  </a:lnTo>
                  <a:lnTo>
                    <a:pt x="7802" y="7152"/>
                  </a:lnTo>
                  <a:lnTo>
                    <a:pt x="7802" y="8871"/>
                  </a:lnTo>
                  <a:close/>
                  <a:moveTo>
                    <a:pt x="6564" y="8338"/>
                  </a:moveTo>
                  <a:lnTo>
                    <a:pt x="7269" y="8338"/>
                  </a:lnTo>
                  <a:lnTo>
                    <a:pt x="7269" y="7685"/>
                  </a:lnTo>
                  <a:lnTo>
                    <a:pt x="6564" y="7685"/>
                  </a:lnTo>
                  <a:lnTo>
                    <a:pt x="6564" y="8338"/>
                  </a:lnTo>
                  <a:close/>
                  <a:moveTo>
                    <a:pt x="2973" y="10976"/>
                  </a:moveTo>
                  <a:lnTo>
                    <a:pt x="1202" y="10976"/>
                  </a:lnTo>
                  <a:lnTo>
                    <a:pt x="1202" y="9257"/>
                  </a:lnTo>
                  <a:lnTo>
                    <a:pt x="2973" y="9257"/>
                  </a:lnTo>
                  <a:lnTo>
                    <a:pt x="2973" y="10976"/>
                  </a:lnTo>
                  <a:close/>
                  <a:moveTo>
                    <a:pt x="1735" y="10443"/>
                  </a:moveTo>
                  <a:lnTo>
                    <a:pt x="2440" y="10443"/>
                  </a:lnTo>
                  <a:lnTo>
                    <a:pt x="2440" y="9790"/>
                  </a:lnTo>
                  <a:lnTo>
                    <a:pt x="1735" y="9790"/>
                  </a:lnTo>
                  <a:lnTo>
                    <a:pt x="1735" y="10443"/>
                  </a:lnTo>
                  <a:close/>
                  <a:moveTo>
                    <a:pt x="5388" y="10976"/>
                  </a:moveTo>
                  <a:lnTo>
                    <a:pt x="3616" y="10976"/>
                  </a:lnTo>
                  <a:lnTo>
                    <a:pt x="3616" y="9257"/>
                  </a:lnTo>
                  <a:lnTo>
                    <a:pt x="5388" y="9257"/>
                  </a:lnTo>
                  <a:lnTo>
                    <a:pt x="5388" y="10976"/>
                  </a:lnTo>
                  <a:close/>
                  <a:moveTo>
                    <a:pt x="4149" y="10443"/>
                  </a:moveTo>
                  <a:lnTo>
                    <a:pt x="4855" y="10443"/>
                  </a:lnTo>
                  <a:lnTo>
                    <a:pt x="4855" y="9790"/>
                  </a:lnTo>
                  <a:lnTo>
                    <a:pt x="4149" y="9790"/>
                  </a:lnTo>
                  <a:lnTo>
                    <a:pt x="4149" y="10443"/>
                  </a:lnTo>
                  <a:close/>
                  <a:moveTo>
                    <a:pt x="7802" y="10976"/>
                  </a:moveTo>
                  <a:lnTo>
                    <a:pt x="6031" y="10976"/>
                  </a:lnTo>
                  <a:lnTo>
                    <a:pt x="6031" y="9257"/>
                  </a:lnTo>
                  <a:lnTo>
                    <a:pt x="7802" y="9257"/>
                  </a:lnTo>
                  <a:lnTo>
                    <a:pt x="7802" y="10976"/>
                  </a:lnTo>
                  <a:close/>
                  <a:moveTo>
                    <a:pt x="6564" y="10443"/>
                  </a:moveTo>
                  <a:lnTo>
                    <a:pt x="7269" y="10443"/>
                  </a:lnTo>
                  <a:lnTo>
                    <a:pt x="7269" y="9790"/>
                  </a:lnTo>
                  <a:lnTo>
                    <a:pt x="6564" y="9790"/>
                  </a:lnTo>
                  <a:lnTo>
                    <a:pt x="6564" y="104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397" name="iconfont-11894-5689857"/>
            <p:cNvSpPr>
              <a:spLocks noChangeAspect="1"/>
            </p:cNvSpPr>
            <p:nvPr userDrawn="1"/>
          </p:nvSpPr>
          <p:spPr bwMode="auto">
            <a:xfrm>
              <a:off x="24530889" y="6064991"/>
              <a:ext cx="609685" cy="609685"/>
            </a:xfrm>
            <a:custGeom>
              <a:avLst/>
              <a:gdLst>
                <a:gd name="T0" fmla="*/ 10667 w 12800"/>
                <a:gd name="T1" fmla="*/ 12800 h 12800"/>
                <a:gd name="T2" fmla="*/ 2133 w 12800"/>
                <a:gd name="T3" fmla="*/ 12800 h 12800"/>
                <a:gd name="T4" fmla="*/ 0 w 12800"/>
                <a:gd name="T5" fmla="*/ 10667 h 12800"/>
                <a:gd name="T6" fmla="*/ 0 w 12800"/>
                <a:gd name="T7" fmla="*/ 4303 h 12800"/>
                <a:gd name="T8" fmla="*/ 2133 w 12800"/>
                <a:gd name="T9" fmla="*/ 2170 h 12800"/>
                <a:gd name="T10" fmla="*/ 10667 w 12800"/>
                <a:gd name="T11" fmla="*/ 2170 h 12800"/>
                <a:gd name="T12" fmla="*/ 12800 w 12800"/>
                <a:gd name="T13" fmla="*/ 4303 h 12800"/>
                <a:gd name="T14" fmla="*/ 12800 w 12800"/>
                <a:gd name="T15" fmla="*/ 10667 h 12800"/>
                <a:gd name="T16" fmla="*/ 10667 w 12800"/>
                <a:gd name="T17" fmla="*/ 12800 h 12800"/>
                <a:gd name="T18" fmla="*/ 2133 w 12800"/>
                <a:gd name="T19" fmla="*/ 2703 h 12800"/>
                <a:gd name="T20" fmla="*/ 533 w 12800"/>
                <a:gd name="T21" fmla="*/ 4303 h 12800"/>
                <a:gd name="T22" fmla="*/ 533 w 12800"/>
                <a:gd name="T23" fmla="*/ 10667 h 12800"/>
                <a:gd name="T24" fmla="*/ 2133 w 12800"/>
                <a:gd name="T25" fmla="*/ 12267 h 12800"/>
                <a:gd name="T26" fmla="*/ 10667 w 12800"/>
                <a:gd name="T27" fmla="*/ 12267 h 12800"/>
                <a:gd name="T28" fmla="*/ 12267 w 12800"/>
                <a:gd name="T29" fmla="*/ 10667 h 12800"/>
                <a:gd name="T30" fmla="*/ 12267 w 12800"/>
                <a:gd name="T31" fmla="*/ 4303 h 12800"/>
                <a:gd name="T32" fmla="*/ 10667 w 12800"/>
                <a:gd name="T33" fmla="*/ 2703 h 12800"/>
                <a:gd name="T34" fmla="*/ 2133 w 12800"/>
                <a:gd name="T35" fmla="*/ 2703 h 12800"/>
                <a:gd name="T36" fmla="*/ 9890 w 12800"/>
                <a:gd name="T37" fmla="*/ 2493 h 12800"/>
                <a:gd name="T38" fmla="*/ 9357 w 12800"/>
                <a:gd name="T39" fmla="*/ 2493 h 12800"/>
                <a:gd name="T40" fmla="*/ 9357 w 12800"/>
                <a:gd name="T41" fmla="*/ 1786 h 12800"/>
                <a:gd name="T42" fmla="*/ 8282 w 12800"/>
                <a:gd name="T43" fmla="*/ 533 h 12800"/>
                <a:gd name="T44" fmla="*/ 4518 w 12800"/>
                <a:gd name="T45" fmla="*/ 533 h 12800"/>
                <a:gd name="T46" fmla="*/ 3443 w 12800"/>
                <a:gd name="T47" fmla="*/ 1786 h 12800"/>
                <a:gd name="T48" fmla="*/ 3443 w 12800"/>
                <a:gd name="T49" fmla="*/ 2493 h 12800"/>
                <a:gd name="T50" fmla="*/ 2909 w 12800"/>
                <a:gd name="T51" fmla="*/ 2493 h 12800"/>
                <a:gd name="T52" fmla="*/ 2909 w 12800"/>
                <a:gd name="T53" fmla="*/ 1786 h 12800"/>
                <a:gd name="T54" fmla="*/ 4518 w 12800"/>
                <a:gd name="T55" fmla="*/ 0 h 12800"/>
                <a:gd name="T56" fmla="*/ 8282 w 12800"/>
                <a:gd name="T57" fmla="*/ 0 h 12800"/>
                <a:gd name="T58" fmla="*/ 9890 w 12800"/>
                <a:gd name="T59" fmla="*/ 1786 h 12800"/>
                <a:gd name="T60" fmla="*/ 9890 w 12800"/>
                <a:gd name="T61" fmla="*/ 2493 h 12800"/>
                <a:gd name="T62" fmla="*/ 328 w 12800"/>
                <a:gd name="T63" fmla="*/ 6276 h 12800"/>
                <a:gd name="T64" fmla="*/ 12472 w 12800"/>
                <a:gd name="T65" fmla="*/ 6276 h 12800"/>
                <a:gd name="T66" fmla="*/ 12472 w 12800"/>
                <a:gd name="T67" fmla="*/ 6809 h 12800"/>
                <a:gd name="T68" fmla="*/ 328 w 12800"/>
                <a:gd name="T69" fmla="*/ 6809 h 12800"/>
                <a:gd name="T70" fmla="*/ 328 w 12800"/>
                <a:gd name="T71" fmla="*/ 6276 h 12800"/>
                <a:gd name="T72" fmla="*/ 7966 w 12800"/>
                <a:gd name="T73" fmla="*/ 9995 h 12800"/>
                <a:gd name="T74" fmla="*/ 4834 w 12800"/>
                <a:gd name="T75" fmla="*/ 9995 h 12800"/>
                <a:gd name="T76" fmla="*/ 4834 w 12800"/>
                <a:gd name="T77" fmla="*/ 6276 h 12800"/>
                <a:gd name="T78" fmla="*/ 7966 w 12800"/>
                <a:gd name="T79" fmla="*/ 6276 h 12800"/>
                <a:gd name="T80" fmla="*/ 7966 w 12800"/>
                <a:gd name="T81" fmla="*/ 9995 h 12800"/>
                <a:gd name="T82" fmla="*/ 5368 w 12800"/>
                <a:gd name="T83" fmla="*/ 9462 h 12800"/>
                <a:gd name="T84" fmla="*/ 7432 w 12800"/>
                <a:gd name="T85" fmla="*/ 9462 h 12800"/>
                <a:gd name="T86" fmla="*/ 7432 w 12800"/>
                <a:gd name="T87" fmla="*/ 6809 h 12800"/>
                <a:gd name="T88" fmla="*/ 5368 w 12800"/>
                <a:gd name="T89" fmla="*/ 6809 h 12800"/>
                <a:gd name="T90" fmla="*/ 5368 w 12800"/>
                <a:gd name="T91" fmla="*/ 9462 h 12800"/>
                <a:gd name="T92" fmla="*/ 2015 w 12800"/>
                <a:gd name="T93" fmla="*/ 4278 h 12800"/>
                <a:gd name="T94" fmla="*/ 3898 w 12800"/>
                <a:gd name="T95" fmla="*/ 4278 h 12800"/>
                <a:gd name="T96" fmla="*/ 3898 w 12800"/>
                <a:gd name="T97" fmla="*/ 4812 h 12800"/>
                <a:gd name="T98" fmla="*/ 2015 w 12800"/>
                <a:gd name="T99" fmla="*/ 4812 h 12800"/>
                <a:gd name="T100" fmla="*/ 2015 w 12800"/>
                <a:gd name="T101" fmla="*/ 4278 h 12800"/>
                <a:gd name="T102" fmla="*/ 8902 w 12800"/>
                <a:gd name="T103" fmla="*/ 4278 h 12800"/>
                <a:gd name="T104" fmla="*/ 10785 w 12800"/>
                <a:gd name="T105" fmla="*/ 4278 h 12800"/>
                <a:gd name="T106" fmla="*/ 10785 w 12800"/>
                <a:gd name="T107" fmla="*/ 4812 h 12800"/>
                <a:gd name="T108" fmla="*/ 8902 w 12800"/>
                <a:gd name="T109" fmla="*/ 4812 h 12800"/>
                <a:gd name="T110" fmla="*/ 8902 w 12800"/>
                <a:gd name="T111" fmla="*/ 4278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800" h="12800">
                  <a:moveTo>
                    <a:pt x="10667" y="12800"/>
                  </a:moveTo>
                  <a:lnTo>
                    <a:pt x="2133" y="12800"/>
                  </a:lnTo>
                  <a:cubicBezTo>
                    <a:pt x="957" y="12800"/>
                    <a:pt x="0" y="11843"/>
                    <a:pt x="0" y="10667"/>
                  </a:cubicBezTo>
                  <a:lnTo>
                    <a:pt x="0" y="4303"/>
                  </a:lnTo>
                  <a:cubicBezTo>
                    <a:pt x="0" y="3127"/>
                    <a:pt x="957" y="2170"/>
                    <a:pt x="2133" y="2170"/>
                  </a:cubicBezTo>
                  <a:lnTo>
                    <a:pt x="10667" y="2170"/>
                  </a:lnTo>
                  <a:cubicBezTo>
                    <a:pt x="11843" y="2170"/>
                    <a:pt x="12800" y="3127"/>
                    <a:pt x="12800" y="4303"/>
                  </a:cubicBezTo>
                  <a:lnTo>
                    <a:pt x="12800" y="10667"/>
                  </a:lnTo>
                  <a:cubicBezTo>
                    <a:pt x="12800" y="11843"/>
                    <a:pt x="11843" y="12800"/>
                    <a:pt x="10667" y="12800"/>
                  </a:cubicBezTo>
                  <a:close/>
                  <a:moveTo>
                    <a:pt x="2133" y="2703"/>
                  </a:moveTo>
                  <a:cubicBezTo>
                    <a:pt x="1251" y="2703"/>
                    <a:pt x="533" y="3421"/>
                    <a:pt x="533" y="4303"/>
                  </a:cubicBezTo>
                  <a:lnTo>
                    <a:pt x="533" y="10667"/>
                  </a:lnTo>
                  <a:cubicBezTo>
                    <a:pt x="533" y="11549"/>
                    <a:pt x="1251" y="12267"/>
                    <a:pt x="2133" y="12267"/>
                  </a:cubicBezTo>
                  <a:lnTo>
                    <a:pt x="10667" y="12267"/>
                  </a:lnTo>
                  <a:cubicBezTo>
                    <a:pt x="11549" y="12267"/>
                    <a:pt x="12267" y="11549"/>
                    <a:pt x="12267" y="10667"/>
                  </a:cubicBezTo>
                  <a:lnTo>
                    <a:pt x="12267" y="4303"/>
                  </a:lnTo>
                  <a:cubicBezTo>
                    <a:pt x="12267" y="3421"/>
                    <a:pt x="11549" y="2703"/>
                    <a:pt x="10667" y="2703"/>
                  </a:cubicBezTo>
                  <a:lnTo>
                    <a:pt x="2133" y="2703"/>
                  </a:lnTo>
                  <a:close/>
                  <a:moveTo>
                    <a:pt x="9890" y="2493"/>
                  </a:moveTo>
                  <a:lnTo>
                    <a:pt x="9357" y="2493"/>
                  </a:lnTo>
                  <a:lnTo>
                    <a:pt x="9357" y="1786"/>
                  </a:lnTo>
                  <a:cubicBezTo>
                    <a:pt x="9357" y="1095"/>
                    <a:pt x="8875" y="533"/>
                    <a:pt x="8282" y="533"/>
                  </a:cubicBezTo>
                  <a:lnTo>
                    <a:pt x="4518" y="533"/>
                  </a:lnTo>
                  <a:cubicBezTo>
                    <a:pt x="3925" y="533"/>
                    <a:pt x="3443" y="1095"/>
                    <a:pt x="3443" y="1786"/>
                  </a:cubicBezTo>
                  <a:lnTo>
                    <a:pt x="3443" y="2493"/>
                  </a:lnTo>
                  <a:lnTo>
                    <a:pt x="2909" y="2493"/>
                  </a:lnTo>
                  <a:lnTo>
                    <a:pt x="2909" y="1786"/>
                  </a:lnTo>
                  <a:cubicBezTo>
                    <a:pt x="2909" y="801"/>
                    <a:pt x="3631" y="0"/>
                    <a:pt x="4518" y="0"/>
                  </a:cubicBezTo>
                  <a:lnTo>
                    <a:pt x="8282" y="0"/>
                  </a:lnTo>
                  <a:cubicBezTo>
                    <a:pt x="9169" y="0"/>
                    <a:pt x="9890" y="801"/>
                    <a:pt x="9890" y="1786"/>
                  </a:cubicBezTo>
                  <a:lnTo>
                    <a:pt x="9890" y="2493"/>
                  </a:lnTo>
                  <a:close/>
                  <a:moveTo>
                    <a:pt x="328" y="6276"/>
                  </a:moveTo>
                  <a:lnTo>
                    <a:pt x="12472" y="6276"/>
                  </a:lnTo>
                  <a:lnTo>
                    <a:pt x="12472" y="6809"/>
                  </a:lnTo>
                  <a:lnTo>
                    <a:pt x="328" y="6809"/>
                  </a:lnTo>
                  <a:lnTo>
                    <a:pt x="328" y="6276"/>
                  </a:lnTo>
                  <a:close/>
                  <a:moveTo>
                    <a:pt x="7966" y="9995"/>
                  </a:moveTo>
                  <a:lnTo>
                    <a:pt x="4834" y="9995"/>
                  </a:lnTo>
                  <a:lnTo>
                    <a:pt x="4834" y="6276"/>
                  </a:lnTo>
                  <a:lnTo>
                    <a:pt x="7966" y="6276"/>
                  </a:lnTo>
                  <a:lnTo>
                    <a:pt x="7966" y="9995"/>
                  </a:lnTo>
                  <a:close/>
                  <a:moveTo>
                    <a:pt x="5368" y="9462"/>
                  </a:moveTo>
                  <a:lnTo>
                    <a:pt x="7432" y="9462"/>
                  </a:lnTo>
                  <a:lnTo>
                    <a:pt x="7432" y="6809"/>
                  </a:lnTo>
                  <a:lnTo>
                    <a:pt x="5368" y="6809"/>
                  </a:lnTo>
                  <a:lnTo>
                    <a:pt x="5368" y="9462"/>
                  </a:lnTo>
                  <a:close/>
                  <a:moveTo>
                    <a:pt x="2015" y="4278"/>
                  </a:moveTo>
                  <a:lnTo>
                    <a:pt x="3898" y="4278"/>
                  </a:lnTo>
                  <a:lnTo>
                    <a:pt x="3898" y="4812"/>
                  </a:lnTo>
                  <a:lnTo>
                    <a:pt x="2015" y="4812"/>
                  </a:lnTo>
                  <a:lnTo>
                    <a:pt x="2015" y="4278"/>
                  </a:lnTo>
                  <a:close/>
                  <a:moveTo>
                    <a:pt x="8902" y="4278"/>
                  </a:moveTo>
                  <a:lnTo>
                    <a:pt x="10785" y="4278"/>
                  </a:lnTo>
                  <a:lnTo>
                    <a:pt x="10785" y="4812"/>
                  </a:lnTo>
                  <a:lnTo>
                    <a:pt x="8902" y="4812"/>
                  </a:lnTo>
                  <a:lnTo>
                    <a:pt x="8902" y="4278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398" name="iconfont-11894-5689857"/>
            <p:cNvSpPr>
              <a:spLocks noChangeAspect="1"/>
            </p:cNvSpPr>
            <p:nvPr userDrawn="1"/>
          </p:nvSpPr>
          <p:spPr bwMode="auto">
            <a:xfrm>
              <a:off x="25750260" y="6134244"/>
              <a:ext cx="609685" cy="471179"/>
            </a:xfrm>
            <a:custGeom>
              <a:avLst/>
              <a:gdLst>
                <a:gd name="T0" fmla="*/ 8482 w 12800"/>
                <a:gd name="T1" fmla="*/ 8316 h 9894"/>
                <a:gd name="T2" fmla="*/ 4165 w 12800"/>
                <a:gd name="T3" fmla="*/ 5409 h 9894"/>
                <a:gd name="T4" fmla="*/ 4214 w 12800"/>
                <a:gd name="T5" fmla="*/ 4965 h 9894"/>
                <a:gd name="T6" fmla="*/ 8482 w 12800"/>
                <a:gd name="T7" fmla="*/ 2504 h 9894"/>
                <a:gd name="T8" fmla="*/ 12800 w 12800"/>
                <a:gd name="T9" fmla="*/ 5409 h 9894"/>
                <a:gd name="T10" fmla="*/ 8482 w 12800"/>
                <a:gd name="T11" fmla="*/ 8316 h 9894"/>
                <a:gd name="T12" fmla="*/ 8482 w 12800"/>
                <a:gd name="T13" fmla="*/ 3037 h 9894"/>
                <a:gd name="T14" fmla="*/ 4734 w 12800"/>
                <a:gd name="T15" fmla="*/ 5082 h 9894"/>
                <a:gd name="T16" fmla="*/ 4698 w 12800"/>
                <a:gd name="T17" fmla="*/ 5409 h 9894"/>
                <a:gd name="T18" fmla="*/ 8482 w 12800"/>
                <a:gd name="T19" fmla="*/ 7782 h 9894"/>
                <a:gd name="T20" fmla="*/ 12267 w 12800"/>
                <a:gd name="T21" fmla="*/ 5409 h 9894"/>
                <a:gd name="T22" fmla="*/ 8482 w 12800"/>
                <a:gd name="T23" fmla="*/ 3037 h 9894"/>
                <a:gd name="T24" fmla="*/ 2725 w 12800"/>
                <a:gd name="T25" fmla="*/ 4233 h 9894"/>
                <a:gd name="T26" fmla="*/ 4682 w 12800"/>
                <a:gd name="T27" fmla="*/ 4233 h 9894"/>
                <a:gd name="T28" fmla="*/ 4682 w 12800"/>
                <a:gd name="T29" fmla="*/ 4766 h 9894"/>
                <a:gd name="T30" fmla="*/ 2725 w 12800"/>
                <a:gd name="T31" fmla="*/ 4766 h 9894"/>
                <a:gd name="T32" fmla="*/ 2725 w 12800"/>
                <a:gd name="T33" fmla="*/ 4233 h 9894"/>
                <a:gd name="T34" fmla="*/ 1496 w 12800"/>
                <a:gd name="T35" fmla="*/ 5995 h 9894"/>
                <a:gd name="T36" fmla="*/ 0 w 12800"/>
                <a:gd name="T37" fmla="*/ 4499 h 9894"/>
                <a:gd name="T38" fmla="*/ 1496 w 12800"/>
                <a:gd name="T39" fmla="*/ 3003 h 9894"/>
                <a:gd name="T40" fmla="*/ 2992 w 12800"/>
                <a:gd name="T41" fmla="*/ 4499 h 9894"/>
                <a:gd name="T42" fmla="*/ 1496 w 12800"/>
                <a:gd name="T43" fmla="*/ 5995 h 9894"/>
                <a:gd name="T44" fmla="*/ 1496 w 12800"/>
                <a:gd name="T45" fmla="*/ 3536 h 9894"/>
                <a:gd name="T46" fmla="*/ 533 w 12800"/>
                <a:gd name="T47" fmla="*/ 4499 h 9894"/>
                <a:gd name="T48" fmla="*/ 1496 w 12800"/>
                <a:gd name="T49" fmla="*/ 5462 h 9894"/>
                <a:gd name="T50" fmla="*/ 2459 w 12800"/>
                <a:gd name="T51" fmla="*/ 4499 h 9894"/>
                <a:gd name="T52" fmla="*/ 1496 w 12800"/>
                <a:gd name="T53" fmla="*/ 3536 h 9894"/>
                <a:gd name="T54" fmla="*/ 7811 w 12800"/>
                <a:gd name="T55" fmla="*/ 267 h 9894"/>
                <a:gd name="T56" fmla="*/ 8344 w 12800"/>
                <a:gd name="T57" fmla="*/ 267 h 9894"/>
                <a:gd name="T58" fmla="*/ 8344 w 12800"/>
                <a:gd name="T59" fmla="*/ 2770 h 9894"/>
                <a:gd name="T60" fmla="*/ 7811 w 12800"/>
                <a:gd name="T61" fmla="*/ 2770 h 9894"/>
                <a:gd name="T62" fmla="*/ 7811 w 12800"/>
                <a:gd name="T63" fmla="*/ 267 h 9894"/>
                <a:gd name="T64" fmla="*/ 3662 w 12800"/>
                <a:gd name="T65" fmla="*/ 0 h 9894"/>
                <a:gd name="T66" fmla="*/ 12493 w 12800"/>
                <a:gd name="T67" fmla="*/ 0 h 9894"/>
                <a:gd name="T68" fmla="*/ 12493 w 12800"/>
                <a:gd name="T69" fmla="*/ 533 h 9894"/>
                <a:gd name="T70" fmla="*/ 3662 w 12800"/>
                <a:gd name="T71" fmla="*/ 533 h 9894"/>
                <a:gd name="T72" fmla="*/ 3662 w 12800"/>
                <a:gd name="T73" fmla="*/ 0 h 9894"/>
                <a:gd name="T74" fmla="*/ 11498 w 12800"/>
                <a:gd name="T75" fmla="*/ 6316 h 9894"/>
                <a:gd name="T76" fmla="*/ 8221 w 12800"/>
                <a:gd name="T77" fmla="*/ 6316 h 9894"/>
                <a:gd name="T78" fmla="*/ 7957 w 12800"/>
                <a:gd name="T79" fmla="*/ 6086 h 9894"/>
                <a:gd name="T80" fmla="*/ 7600 w 12800"/>
                <a:gd name="T81" fmla="*/ 3545 h 9894"/>
                <a:gd name="T82" fmla="*/ 7842 w 12800"/>
                <a:gd name="T83" fmla="*/ 3242 h 9894"/>
                <a:gd name="T84" fmla="*/ 11031 w 12800"/>
                <a:gd name="T85" fmla="*/ 4145 h 9894"/>
                <a:gd name="T86" fmla="*/ 11764 w 12800"/>
                <a:gd name="T87" fmla="*/ 6063 h 9894"/>
                <a:gd name="T88" fmla="*/ 11498 w 12800"/>
                <a:gd name="T89" fmla="*/ 6316 h 9894"/>
                <a:gd name="T90" fmla="*/ 8453 w 12800"/>
                <a:gd name="T91" fmla="*/ 5782 h 9894"/>
                <a:gd name="T92" fmla="*/ 11217 w 12800"/>
                <a:gd name="T93" fmla="*/ 5782 h 9894"/>
                <a:gd name="T94" fmla="*/ 10639 w 12800"/>
                <a:gd name="T95" fmla="*/ 4507 h 9894"/>
                <a:gd name="T96" fmla="*/ 8168 w 12800"/>
                <a:gd name="T97" fmla="*/ 3756 h 9894"/>
                <a:gd name="T98" fmla="*/ 8453 w 12800"/>
                <a:gd name="T99" fmla="*/ 5782 h 9894"/>
                <a:gd name="T100" fmla="*/ 11746 w 12800"/>
                <a:gd name="T101" fmla="*/ 9894 h 9894"/>
                <a:gd name="T102" fmla="*/ 5067 w 12800"/>
                <a:gd name="T103" fmla="*/ 9894 h 9894"/>
                <a:gd name="T104" fmla="*/ 4801 w 12800"/>
                <a:gd name="T105" fmla="*/ 9615 h 9894"/>
                <a:gd name="T106" fmla="*/ 5669 w 12800"/>
                <a:gd name="T107" fmla="*/ 7326 h 9894"/>
                <a:gd name="T108" fmla="*/ 6061 w 12800"/>
                <a:gd name="T109" fmla="*/ 7688 h 9894"/>
                <a:gd name="T110" fmla="*/ 5865 w 12800"/>
                <a:gd name="T111" fmla="*/ 7507 h 9894"/>
                <a:gd name="T112" fmla="*/ 6062 w 12800"/>
                <a:gd name="T113" fmla="*/ 7687 h 9894"/>
                <a:gd name="T114" fmla="*/ 5358 w 12800"/>
                <a:gd name="T115" fmla="*/ 9361 h 9894"/>
                <a:gd name="T116" fmla="*/ 11417 w 12800"/>
                <a:gd name="T117" fmla="*/ 9361 h 9894"/>
                <a:gd name="T118" fmla="*/ 10473 w 12800"/>
                <a:gd name="T119" fmla="*/ 7751 h 9894"/>
                <a:gd name="T120" fmla="*/ 10833 w 12800"/>
                <a:gd name="T121" fmla="*/ 7357 h 9894"/>
                <a:gd name="T122" fmla="*/ 12010 w 12800"/>
                <a:gd name="T123" fmla="*/ 9595 h 9894"/>
                <a:gd name="T124" fmla="*/ 11746 w 12800"/>
                <a:gd name="T125" fmla="*/ 9894 h 9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00" h="9894">
                  <a:moveTo>
                    <a:pt x="8482" y="8316"/>
                  </a:moveTo>
                  <a:cubicBezTo>
                    <a:pt x="6102" y="8316"/>
                    <a:pt x="4165" y="7012"/>
                    <a:pt x="4165" y="5409"/>
                  </a:cubicBezTo>
                  <a:cubicBezTo>
                    <a:pt x="4165" y="5259"/>
                    <a:pt x="4182" y="5110"/>
                    <a:pt x="4214" y="4965"/>
                  </a:cubicBezTo>
                  <a:cubicBezTo>
                    <a:pt x="4535" y="3539"/>
                    <a:pt x="6330" y="2504"/>
                    <a:pt x="8482" y="2504"/>
                  </a:cubicBezTo>
                  <a:cubicBezTo>
                    <a:pt x="10863" y="2503"/>
                    <a:pt x="12800" y="3807"/>
                    <a:pt x="12800" y="5409"/>
                  </a:cubicBezTo>
                  <a:cubicBezTo>
                    <a:pt x="12800" y="7012"/>
                    <a:pt x="10863" y="8316"/>
                    <a:pt x="8482" y="8316"/>
                  </a:cubicBezTo>
                  <a:close/>
                  <a:moveTo>
                    <a:pt x="8482" y="3037"/>
                  </a:moveTo>
                  <a:cubicBezTo>
                    <a:pt x="6608" y="3037"/>
                    <a:pt x="4997" y="3916"/>
                    <a:pt x="4734" y="5082"/>
                  </a:cubicBezTo>
                  <a:cubicBezTo>
                    <a:pt x="4710" y="5189"/>
                    <a:pt x="4698" y="5299"/>
                    <a:pt x="4698" y="5409"/>
                  </a:cubicBezTo>
                  <a:cubicBezTo>
                    <a:pt x="4698" y="6718"/>
                    <a:pt x="6396" y="7782"/>
                    <a:pt x="8482" y="7782"/>
                  </a:cubicBezTo>
                  <a:cubicBezTo>
                    <a:pt x="10569" y="7782"/>
                    <a:pt x="12267" y="6718"/>
                    <a:pt x="12267" y="5409"/>
                  </a:cubicBezTo>
                  <a:cubicBezTo>
                    <a:pt x="12267" y="4101"/>
                    <a:pt x="10569" y="3037"/>
                    <a:pt x="8482" y="3037"/>
                  </a:cubicBezTo>
                  <a:close/>
                  <a:moveTo>
                    <a:pt x="2725" y="4233"/>
                  </a:moveTo>
                  <a:lnTo>
                    <a:pt x="4682" y="4233"/>
                  </a:lnTo>
                  <a:lnTo>
                    <a:pt x="4682" y="4766"/>
                  </a:lnTo>
                  <a:lnTo>
                    <a:pt x="2725" y="4766"/>
                  </a:lnTo>
                  <a:lnTo>
                    <a:pt x="2725" y="4233"/>
                  </a:lnTo>
                  <a:close/>
                  <a:moveTo>
                    <a:pt x="1496" y="5995"/>
                  </a:moveTo>
                  <a:cubicBezTo>
                    <a:pt x="671" y="5995"/>
                    <a:pt x="0" y="5324"/>
                    <a:pt x="0" y="4499"/>
                  </a:cubicBezTo>
                  <a:cubicBezTo>
                    <a:pt x="0" y="3674"/>
                    <a:pt x="671" y="3003"/>
                    <a:pt x="1496" y="3003"/>
                  </a:cubicBezTo>
                  <a:cubicBezTo>
                    <a:pt x="2321" y="3003"/>
                    <a:pt x="2992" y="3674"/>
                    <a:pt x="2992" y="4499"/>
                  </a:cubicBezTo>
                  <a:cubicBezTo>
                    <a:pt x="2992" y="5324"/>
                    <a:pt x="2321" y="5995"/>
                    <a:pt x="1496" y="5995"/>
                  </a:cubicBezTo>
                  <a:close/>
                  <a:moveTo>
                    <a:pt x="1496" y="3536"/>
                  </a:moveTo>
                  <a:cubicBezTo>
                    <a:pt x="965" y="3536"/>
                    <a:pt x="533" y="3968"/>
                    <a:pt x="533" y="4499"/>
                  </a:cubicBezTo>
                  <a:cubicBezTo>
                    <a:pt x="533" y="5030"/>
                    <a:pt x="965" y="5462"/>
                    <a:pt x="1496" y="5462"/>
                  </a:cubicBezTo>
                  <a:cubicBezTo>
                    <a:pt x="2027" y="5462"/>
                    <a:pt x="2459" y="5030"/>
                    <a:pt x="2459" y="4499"/>
                  </a:cubicBezTo>
                  <a:cubicBezTo>
                    <a:pt x="2459" y="3968"/>
                    <a:pt x="2027" y="3536"/>
                    <a:pt x="1496" y="3536"/>
                  </a:cubicBezTo>
                  <a:close/>
                  <a:moveTo>
                    <a:pt x="7811" y="267"/>
                  </a:moveTo>
                  <a:lnTo>
                    <a:pt x="8344" y="267"/>
                  </a:lnTo>
                  <a:lnTo>
                    <a:pt x="8344" y="2770"/>
                  </a:lnTo>
                  <a:lnTo>
                    <a:pt x="7811" y="2770"/>
                  </a:lnTo>
                  <a:lnTo>
                    <a:pt x="7811" y="267"/>
                  </a:lnTo>
                  <a:close/>
                  <a:moveTo>
                    <a:pt x="3662" y="0"/>
                  </a:moveTo>
                  <a:lnTo>
                    <a:pt x="12493" y="0"/>
                  </a:lnTo>
                  <a:lnTo>
                    <a:pt x="12493" y="533"/>
                  </a:lnTo>
                  <a:lnTo>
                    <a:pt x="3662" y="533"/>
                  </a:lnTo>
                  <a:lnTo>
                    <a:pt x="3662" y="0"/>
                  </a:lnTo>
                  <a:close/>
                  <a:moveTo>
                    <a:pt x="11498" y="6316"/>
                  </a:moveTo>
                  <a:lnTo>
                    <a:pt x="8221" y="6316"/>
                  </a:lnTo>
                  <a:cubicBezTo>
                    <a:pt x="8088" y="6316"/>
                    <a:pt x="7976" y="6218"/>
                    <a:pt x="7957" y="6086"/>
                  </a:cubicBezTo>
                  <a:lnTo>
                    <a:pt x="7600" y="3545"/>
                  </a:lnTo>
                  <a:cubicBezTo>
                    <a:pt x="7579" y="3393"/>
                    <a:pt x="7689" y="3255"/>
                    <a:pt x="7842" y="3242"/>
                  </a:cubicBezTo>
                  <a:cubicBezTo>
                    <a:pt x="9270" y="3124"/>
                    <a:pt x="10350" y="3429"/>
                    <a:pt x="11031" y="4145"/>
                  </a:cubicBezTo>
                  <a:cubicBezTo>
                    <a:pt x="11811" y="4966"/>
                    <a:pt x="11766" y="6018"/>
                    <a:pt x="11764" y="6063"/>
                  </a:cubicBezTo>
                  <a:cubicBezTo>
                    <a:pt x="11757" y="6205"/>
                    <a:pt x="11640" y="6316"/>
                    <a:pt x="11498" y="6316"/>
                  </a:cubicBezTo>
                  <a:close/>
                  <a:moveTo>
                    <a:pt x="8453" y="5782"/>
                  </a:moveTo>
                  <a:lnTo>
                    <a:pt x="11217" y="5782"/>
                  </a:lnTo>
                  <a:cubicBezTo>
                    <a:pt x="11180" y="5474"/>
                    <a:pt x="11055" y="4942"/>
                    <a:pt x="10639" y="4507"/>
                  </a:cubicBezTo>
                  <a:cubicBezTo>
                    <a:pt x="10118" y="3962"/>
                    <a:pt x="9287" y="3710"/>
                    <a:pt x="8168" y="3756"/>
                  </a:cubicBezTo>
                  <a:lnTo>
                    <a:pt x="8453" y="5782"/>
                  </a:lnTo>
                  <a:close/>
                  <a:moveTo>
                    <a:pt x="11746" y="9894"/>
                  </a:moveTo>
                  <a:lnTo>
                    <a:pt x="5067" y="9894"/>
                  </a:lnTo>
                  <a:cubicBezTo>
                    <a:pt x="4915" y="9894"/>
                    <a:pt x="4793" y="9767"/>
                    <a:pt x="4801" y="9615"/>
                  </a:cubicBezTo>
                  <a:cubicBezTo>
                    <a:pt x="4869" y="8211"/>
                    <a:pt x="5636" y="7362"/>
                    <a:pt x="5669" y="7326"/>
                  </a:cubicBezTo>
                  <a:lnTo>
                    <a:pt x="6061" y="7688"/>
                  </a:lnTo>
                  <a:lnTo>
                    <a:pt x="5865" y="7507"/>
                  </a:lnTo>
                  <a:lnTo>
                    <a:pt x="6062" y="7687"/>
                  </a:lnTo>
                  <a:cubicBezTo>
                    <a:pt x="6056" y="7694"/>
                    <a:pt x="5494" y="8324"/>
                    <a:pt x="5358" y="9361"/>
                  </a:cubicBezTo>
                  <a:lnTo>
                    <a:pt x="11417" y="9361"/>
                  </a:lnTo>
                  <a:cubicBezTo>
                    <a:pt x="11313" y="8973"/>
                    <a:pt x="11058" y="8283"/>
                    <a:pt x="10473" y="7751"/>
                  </a:cubicBezTo>
                  <a:lnTo>
                    <a:pt x="10833" y="7357"/>
                  </a:lnTo>
                  <a:cubicBezTo>
                    <a:pt x="11839" y="8273"/>
                    <a:pt x="12004" y="9541"/>
                    <a:pt x="12010" y="9595"/>
                  </a:cubicBezTo>
                  <a:cubicBezTo>
                    <a:pt x="12029" y="9754"/>
                    <a:pt x="11906" y="9894"/>
                    <a:pt x="11746" y="989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  <p:sp>
          <p:nvSpPr>
            <p:cNvPr id="399" name="iconfont-11894-5689857"/>
            <p:cNvSpPr>
              <a:spLocks noChangeAspect="1"/>
            </p:cNvSpPr>
            <p:nvPr userDrawn="1"/>
          </p:nvSpPr>
          <p:spPr bwMode="auto">
            <a:xfrm>
              <a:off x="26969630" y="6071093"/>
              <a:ext cx="609685" cy="597481"/>
            </a:xfrm>
            <a:custGeom>
              <a:avLst/>
              <a:gdLst>
                <a:gd name="T0" fmla="*/ 10667 w 12800"/>
                <a:gd name="T1" fmla="*/ 12545 h 12545"/>
                <a:gd name="T2" fmla="*/ 2133 w 12800"/>
                <a:gd name="T3" fmla="*/ 12545 h 12545"/>
                <a:gd name="T4" fmla="*/ 0 w 12800"/>
                <a:gd name="T5" fmla="*/ 10450 h 12545"/>
                <a:gd name="T6" fmla="*/ 0 w 12800"/>
                <a:gd name="T7" fmla="*/ 8622 h 12545"/>
                <a:gd name="T8" fmla="*/ 533 w 12800"/>
                <a:gd name="T9" fmla="*/ 8622 h 12545"/>
                <a:gd name="T10" fmla="*/ 533 w 12800"/>
                <a:gd name="T11" fmla="*/ 10450 h 12545"/>
                <a:gd name="T12" fmla="*/ 2133 w 12800"/>
                <a:gd name="T13" fmla="*/ 12012 h 12545"/>
                <a:gd name="T14" fmla="*/ 10667 w 12800"/>
                <a:gd name="T15" fmla="*/ 12012 h 12545"/>
                <a:gd name="T16" fmla="*/ 12267 w 12800"/>
                <a:gd name="T17" fmla="*/ 10450 h 12545"/>
                <a:gd name="T18" fmla="*/ 12267 w 12800"/>
                <a:gd name="T19" fmla="*/ 8622 h 12545"/>
                <a:gd name="T20" fmla="*/ 12800 w 12800"/>
                <a:gd name="T21" fmla="*/ 8622 h 12545"/>
                <a:gd name="T22" fmla="*/ 12800 w 12800"/>
                <a:gd name="T23" fmla="*/ 10450 h 12545"/>
                <a:gd name="T24" fmla="*/ 10667 w 12800"/>
                <a:gd name="T25" fmla="*/ 12545 h 12545"/>
                <a:gd name="T26" fmla="*/ 6400 w 12800"/>
                <a:gd name="T27" fmla="*/ 11361 h 12545"/>
                <a:gd name="T28" fmla="*/ 6211 w 12800"/>
                <a:gd name="T29" fmla="*/ 11283 h 12545"/>
                <a:gd name="T30" fmla="*/ 1485 w 12800"/>
                <a:gd name="T31" fmla="*/ 6556 h 12545"/>
                <a:gd name="T32" fmla="*/ 1673 w 12800"/>
                <a:gd name="T33" fmla="*/ 6101 h 12545"/>
                <a:gd name="T34" fmla="*/ 3626 w 12800"/>
                <a:gd name="T35" fmla="*/ 6101 h 12545"/>
                <a:gd name="T36" fmla="*/ 3626 w 12800"/>
                <a:gd name="T37" fmla="*/ 3576 h 12545"/>
                <a:gd name="T38" fmla="*/ 3893 w 12800"/>
                <a:gd name="T39" fmla="*/ 3309 h 12545"/>
                <a:gd name="T40" fmla="*/ 8907 w 12800"/>
                <a:gd name="T41" fmla="*/ 3309 h 12545"/>
                <a:gd name="T42" fmla="*/ 9173 w 12800"/>
                <a:gd name="T43" fmla="*/ 3576 h 12545"/>
                <a:gd name="T44" fmla="*/ 9173 w 12800"/>
                <a:gd name="T45" fmla="*/ 6101 h 12545"/>
                <a:gd name="T46" fmla="*/ 11126 w 12800"/>
                <a:gd name="T47" fmla="*/ 6101 h 12545"/>
                <a:gd name="T48" fmla="*/ 11315 w 12800"/>
                <a:gd name="T49" fmla="*/ 6556 h 12545"/>
                <a:gd name="T50" fmla="*/ 6589 w 12800"/>
                <a:gd name="T51" fmla="*/ 11283 h 12545"/>
                <a:gd name="T52" fmla="*/ 6400 w 12800"/>
                <a:gd name="T53" fmla="*/ 11361 h 12545"/>
                <a:gd name="T54" fmla="*/ 2317 w 12800"/>
                <a:gd name="T55" fmla="*/ 6635 h 12545"/>
                <a:gd name="T56" fmla="*/ 6400 w 12800"/>
                <a:gd name="T57" fmla="*/ 10717 h 12545"/>
                <a:gd name="T58" fmla="*/ 10483 w 12800"/>
                <a:gd name="T59" fmla="*/ 6635 h 12545"/>
                <a:gd name="T60" fmla="*/ 8907 w 12800"/>
                <a:gd name="T61" fmla="*/ 6635 h 12545"/>
                <a:gd name="T62" fmla="*/ 8640 w 12800"/>
                <a:gd name="T63" fmla="*/ 6368 h 12545"/>
                <a:gd name="T64" fmla="*/ 8640 w 12800"/>
                <a:gd name="T65" fmla="*/ 3843 h 12545"/>
                <a:gd name="T66" fmla="*/ 4159 w 12800"/>
                <a:gd name="T67" fmla="*/ 3843 h 12545"/>
                <a:gd name="T68" fmla="*/ 4159 w 12800"/>
                <a:gd name="T69" fmla="*/ 6368 h 12545"/>
                <a:gd name="T70" fmla="*/ 3893 w 12800"/>
                <a:gd name="T71" fmla="*/ 6635 h 12545"/>
                <a:gd name="T72" fmla="*/ 2317 w 12800"/>
                <a:gd name="T73" fmla="*/ 6635 h 12545"/>
                <a:gd name="T74" fmla="*/ 3865 w 12800"/>
                <a:gd name="T75" fmla="*/ 2198 h 12545"/>
                <a:gd name="T76" fmla="*/ 8948 w 12800"/>
                <a:gd name="T77" fmla="*/ 2198 h 12545"/>
                <a:gd name="T78" fmla="*/ 8948 w 12800"/>
                <a:gd name="T79" fmla="*/ 2731 h 12545"/>
                <a:gd name="T80" fmla="*/ 3865 w 12800"/>
                <a:gd name="T81" fmla="*/ 2731 h 12545"/>
                <a:gd name="T82" fmla="*/ 3865 w 12800"/>
                <a:gd name="T83" fmla="*/ 2198 h 12545"/>
                <a:gd name="T84" fmla="*/ 3865 w 12800"/>
                <a:gd name="T85" fmla="*/ 1099 h 12545"/>
                <a:gd name="T86" fmla="*/ 8948 w 12800"/>
                <a:gd name="T87" fmla="*/ 1099 h 12545"/>
                <a:gd name="T88" fmla="*/ 8948 w 12800"/>
                <a:gd name="T89" fmla="*/ 1632 h 12545"/>
                <a:gd name="T90" fmla="*/ 3865 w 12800"/>
                <a:gd name="T91" fmla="*/ 1632 h 12545"/>
                <a:gd name="T92" fmla="*/ 3865 w 12800"/>
                <a:gd name="T93" fmla="*/ 1099 h 12545"/>
                <a:gd name="T94" fmla="*/ 3865 w 12800"/>
                <a:gd name="T95" fmla="*/ 0 h 12545"/>
                <a:gd name="T96" fmla="*/ 8948 w 12800"/>
                <a:gd name="T97" fmla="*/ 0 h 12545"/>
                <a:gd name="T98" fmla="*/ 8948 w 12800"/>
                <a:gd name="T99" fmla="*/ 534 h 12545"/>
                <a:gd name="T100" fmla="*/ 3865 w 12800"/>
                <a:gd name="T101" fmla="*/ 534 h 12545"/>
                <a:gd name="T102" fmla="*/ 3865 w 12800"/>
                <a:gd name="T103" fmla="*/ 0 h 1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545">
                  <a:moveTo>
                    <a:pt x="10667" y="12545"/>
                  </a:moveTo>
                  <a:lnTo>
                    <a:pt x="2133" y="12545"/>
                  </a:lnTo>
                  <a:cubicBezTo>
                    <a:pt x="957" y="12545"/>
                    <a:pt x="0" y="11606"/>
                    <a:pt x="0" y="10450"/>
                  </a:cubicBezTo>
                  <a:lnTo>
                    <a:pt x="0" y="8622"/>
                  </a:lnTo>
                  <a:lnTo>
                    <a:pt x="533" y="8622"/>
                  </a:lnTo>
                  <a:lnTo>
                    <a:pt x="533" y="10450"/>
                  </a:lnTo>
                  <a:cubicBezTo>
                    <a:pt x="533" y="11311"/>
                    <a:pt x="1251" y="12012"/>
                    <a:pt x="2133" y="12012"/>
                  </a:cubicBezTo>
                  <a:lnTo>
                    <a:pt x="10667" y="12012"/>
                  </a:lnTo>
                  <a:cubicBezTo>
                    <a:pt x="11549" y="12012"/>
                    <a:pt x="12267" y="11311"/>
                    <a:pt x="12267" y="10450"/>
                  </a:cubicBezTo>
                  <a:lnTo>
                    <a:pt x="12267" y="8622"/>
                  </a:lnTo>
                  <a:lnTo>
                    <a:pt x="12800" y="8622"/>
                  </a:lnTo>
                  <a:lnTo>
                    <a:pt x="12800" y="10450"/>
                  </a:lnTo>
                  <a:cubicBezTo>
                    <a:pt x="12800" y="11606"/>
                    <a:pt x="11843" y="12545"/>
                    <a:pt x="10667" y="12545"/>
                  </a:cubicBezTo>
                  <a:close/>
                  <a:moveTo>
                    <a:pt x="6400" y="11361"/>
                  </a:moveTo>
                  <a:cubicBezTo>
                    <a:pt x="6329" y="11361"/>
                    <a:pt x="6261" y="11333"/>
                    <a:pt x="6211" y="11283"/>
                  </a:cubicBezTo>
                  <a:lnTo>
                    <a:pt x="1485" y="6556"/>
                  </a:lnTo>
                  <a:cubicBezTo>
                    <a:pt x="1317" y="6388"/>
                    <a:pt x="1436" y="6101"/>
                    <a:pt x="1673" y="6101"/>
                  </a:cubicBezTo>
                  <a:lnTo>
                    <a:pt x="3626" y="6101"/>
                  </a:lnTo>
                  <a:lnTo>
                    <a:pt x="3626" y="3576"/>
                  </a:lnTo>
                  <a:cubicBezTo>
                    <a:pt x="3626" y="3429"/>
                    <a:pt x="3746" y="3309"/>
                    <a:pt x="3893" y="3309"/>
                  </a:cubicBezTo>
                  <a:lnTo>
                    <a:pt x="8907" y="3309"/>
                  </a:lnTo>
                  <a:cubicBezTo>
                    <a:pt x="9054" y="3309"/>
                    <a:pt x="9173" y="3429"/>
                    <a:pt x="9173" y="3576"/>
                  </a:cubicBezTo>
                  <a:lnTo>
                    <a:pt x="9173" y="6101"/>
                  </a:lnTo>
                  <a:lnTo>
                    <a:pt x="11126" y="6101"/>
                  </a:lnTo>
                  <a:cubicBezTo>
                    <a:pt x="11364" y="6101"/>
                    <a:pt x="11483" y="6388"/>
                    <a:pt x="11315" y="6556"/>
                  </a:cubicBezTo>
                  <a:lnTo>
                    <a:pt x="6589" y="11283"/>
                  </a:lnTo>
                  <a:cubicBezTo>
                    <a:pt x="6539" y="11333"/>
                    <a:pt x="6471" y="11361"/>
                    <a:pt x="6400" y="11361"/>
                  </a:cubicBezTo>
                  <a:close/>
                  <a:moveTo>
                    <a:pt x="2317" y="6635"/>
                  </a:moveTo>
                  <a:lnTo>
                    <a:pt x="6400" y="10717"/>
                  </a:lnTo>
                  <a:lnTo>
                    <a:pt x="10483" y="6635"/>
                  </a:lnTo>
                  <a:lnTo>
                    <a:pt x="8907" y="6635"/>
                  </a:lnTo>
                  <a:cubicBezTo>
                    <a:pt x="8759" y="6635"/>
                    <a:pt x="8640" y="6515"/>
                    <a:pt x="8640" y="6368"/>
                  </a:cubicBezTo>
                  <a:lnTo>
                    <a:pt x="8640" y="3843"/>
                  </a:lnTo>
                  <a:lnTo>
                    <a:pt x="4159" y="3843"/>
                  </a:lnTo>
                  <a:lnTo>
                    <a:pt x="4159" y="6368"/>
                  </a:lnTo>
                  <a:cubicBezTo>
                    <a:pt x="4159" y="6515"/>
                    <a:pt x="4040" y="6635"/>
                    <a:pt x="3893" y="6635"/>
                  </a:cubicBezTo>
                  <a:lnTo>
                    <a:pt x="2317" y="6635"/>
                  </a:lnTo>
                  <a:close/>
                  <a:moveTo>
                    <a:pt x="3865" y="2198"/>
                  </a:moveTo>
                  <a:lnTo>
                    <a:pt x="8948" y="2198"/>
                  </a:lnTo>
                  <a:lnTo>
                    <a:pt x="8948" y="2731"/>
                  </a:lnTo>
                  <a:lnTo>
                    <a:pt x="3865" y="2731"/>
                  </a:lnTo>
                  <a:lnTo>
                    <a:pt x="3865" y="2198"/>
                  </a:lnTo>
                  <a:close/>
                  <a:moveTo>
                    <a:pt x="3865" y="1099"/>
                  </a:moveTo>
                  <a:lnTo>
                    <a:pt x="8948" y="1099"/>
                  </a:lnTo>
                  <a:lnTo>
                    <a:pt x="8948" y="1632"/>
                  </a:lnTo>
                  <a:lnTo>
                    <a:pt x="3865" y="1632"/>
                  </a:lnTo>
                  <a:lnTo>
                    <a:pt x="3865" y="1099"/>
                  </a:lnTo>
                  <a:close/>
                  <a:moveTo>
                    <a:pt x="3865" y="0"/>
                  </a:moveTo>
                  <a:lnTo>
                    <a:pt x="8948" y="0"/>
                  </a:lnTo>
                  <a:lnTo>
                    <a:pt x="8948" y="534"/>
                  </a:lnTo>
                  <a:lnTo>
                    <a:pt x="3865" y="534"/>
                  </a:lnTo>
                  <a:lnTo>
                    <a:pt x="386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00" name="iconfont-11894-5689857"/>
            <p:cNvSpPr>
              <a:spLocks noChangeAspect="1"/>
            </p:cNvSpPr>
            <p:nvPr userDrawn="1"/>
          </p:nvSpPr>
          <p:spPr bwMode="auto">
            <a:xfrm>
              <a:off x="28188999" y="6064991"/>
              <a:ext cx="609685" cy="609685"/>
            </a:xfrm>
            <a:custGeom>
              <a:avLst/>
              <a:gdLst>
                <a:gd name="T0" fmla="*/ 7136 w 12800"/>
                <a:gd name="T1" fmla="*/ 12800 h 12800"/>
                <a:gd name="T2" fmla="*/ 0 w 12800"/>
                <a:gd name="T3" fmla="*/ 5665 h 12800"/>
                <a:gd name="T4" fmla="*/ 409 w 12800"/>
                <a:gd name="T5" fmla="*/ 409 h 12800"/>
                <a:gd name="T6" fmla="*/ 5665 w 12800"/>
                <a:gd name="T7" fmla="*/ 0 h 12800"/>
                <a:gd name="T8" fmla="*/ 12800 w 12800"/>
                <a:gd name="T9" fmla="*/ 7135 h 12800"/>
                <a:gd name="T10" fmla="*/ 7136 w 12800"/>
                <a:gd name="T11" fmla="*/ 12800 h 12800"/>
                <a:gd name="T12" fmla="*/ 546 w 12800"/>
                <a:gd name="T13" fmla="*/ 5463 h 12800"/>
                <a:gd name="T14" fmla="*/ 7136 w 12800"/>
                <a:gd name="T15" fmla="*/ 12053 h 12800"/>
                <a:gd name="T16" fmla="*/ 12053 w 12800"/>
                <a:gd name="T17" fmla="*/ 7136 h 12800"/>
                <a:gd name="T18" fmla="*/ 5464 w 12800"/>
                <a:gd name="T19" fmla="*/ 546 h 12800"/>
                <a:gd name="T20" fmla="*/ 900 w 12800"/>
                <a:gd name="T21" fmla="*/ 900 h 12800"/>
                <a:gd name="T22" fmla="*/ 546 w 12800"/>
                <a:gd name="T23" fmla="*/ 5463 h 12800"/>
                <a:gd name="T24" fmla="*/ 5877 w 12800"/>
                <a:gd name="T25" fmla="*/ 2503 h 12800"/>
                <a:gd name="T26" fmla="*/ 6250 w 12800"/>
                <a:gd name="T27" fmla="*/ 2876 h 12800"/>
                <a:gd name="T28" fmla="*/ 2876 w 12800"/>
                <a:gd name="T29" fmla="*/ 6250 h 12800"/>
                <a:gd name="T30" fmla="*/ 2503 w 12800"/>
                <a:gd name="T31" fmla="*/ 5876 h 12800"/>
                <a:gd name="T32" fmla="*/ 5877 w 12800"/>
                <a:gd name="T33" fmla="*/ 2503 h 12800"/>
                <a:gd name="T34" fmla="*/ 6718 w 12800"/>
                <a:gd name="T35" fmla="*/ 3344 h 12800"/>
                <a:gd name="T36" fmla="*/ 7091 w 12800"/>
                <a:gd name="T37" fmla="*/ 3717 h 12800"/>
                <a:gd name="T38" fmla="*/ 3717 w 12800"/>
                <a:gd name="T39" fmla="*/ 7091 h 12800"/>
                <a:gd name="T40" fmla="*/ 3344 w 12800"/>
                <a:gd name="T41" fmla="*/ 6717 h 12800"/>
                <a:gd name="T42" fmla="*/ 6718 w 12800"/>
                <a:gd name="T43" fmla="*/ 3344 h 12800"/>
                <a:gd name="T44" fmla="*/ 7560 w 12800"/>
                <a:gd name="T45" fmla="*/ 4185 h 12800"/>
                <a:gd name="T46" fmla="*/ 7933 w 12800"/>
                <a:gd name="T47" fmla="*/ 4559 h 12800"/>
                <a:gd name="T48" fmla="*/ 4559 w 12800"/>
                <a:gd name="T49" fmla="*/ 7933 h 12800"/>
                <a:gd name="T50" fmla="*/ 4185 w 12800"/>
                <a:gd name="T51" fmla="*/ 7559 h 12800"/>
                <a:gd name="T52" fmla="*/ 7560 w 12800"/>
                <a:gd name="T53" fmla="*/ 4185 h 12800"/>
                <a:gd name="T54" fmla="*/ 8401 w 12800"/>
                <a:gd name="T55" fmla="*/ 5027 h 12800"/>
                <a:gd name="T56" fmla="*/ 8775 w 12800"/>
                <a:gd name="T57" fmla="*/ 5401 h 12800"/>
                <a:gd name="T58" fmla="*/ 5401 w 12800"/>
                <a:gd name="T59" fmla="*/ 8775 h 12800"/>
                <a:gd name="T60" fmla="*/ 5027 w 12800"/>
                <a:gd name="T61" fmla="*/ 8401 h 12800"/>
                <a:gd name="T62" fmla="*/ 8401 w 12800"/>
                <a:gd name="T63" fmla="*/ 5027 h 12800"/>
                <a:gd name="T64" fmla="*/ 9242 w 12800"/>
                <a:gd name="T65" fmla="*/ 5869 h 12800"/>
                <a:gd name="T66" fmla="*/ 9616 w 12800"/>
                <a:gd name="T67" fmla="*/ 6242 h 12800"/>
                <a:gd name="T68" fmla="*/ 6242 w 12800"/>
                <a:gd name="T69" fmla="*/ 9616 h 12800"/>
                <a:gd name="T70" fmla="*/ 5869 w 12800"/>
                <a:gd name="T71" fmla="*/ 9242 h 12800"/>
                <a:gd name="T72" fmla="*/ 9242 w 12800"/>
                <a:gd name="T73" fmla="*/ 5869 h 12800"/>
                <a:gd name="T74" fmla="*/ 10084 w 12800"/>
                <a:gd name="T75" fmla="*/ 6710 h 12800"/>
                <a:gd name="T76" fmla="*/ 10458 w 12800"/>
                <a:gd name="T77" fmla="*/ 7083 h 12800"/>
                <a:gd name="T78" fmla="*/ 7084 w 12800"/>
                <a:gd name="T79" fmla="*/ 10457 h 12800"/>
                <a:gd name="T80" fmla="*/ 6710 w 12800"/>
                <a:gd name="T81" fmla="*/ 10084 h 12800"/>
                <a:gd name="T82" fmla="*/ 10084 w 12800"/>
                <a:gd name="T83" fmla="*/ 6710 h 12800"/>
                <a:gd name="T84" fmla="*/ 2681 w 12800"/>
                <a:gd name="T85" fmla="*/ 3781 h 12800"/>
                <a:gd name="T86" fmla="*/ 1581 w 12800"/>
                <a:gd name="T87" fmla="*/ 2681 h 12800"/>
                <a:gd name="T88" fmla="*/ 2681 w 12800"/>
                <a:gd name="T89" fmla="*/ 1582 h 12800"/>
                <a:gd name="T90" fmla="*/ 3781 w 12800"/>
                <a:gd name="T91" fmla="*/ 2681 h 12800"/>
                <a:gd name="T92" fmla="*/ 2681 w 12800"/>
                <a:gd name="T93" fmla="*/ 3781 h 12800"/>
                <a:gd name="T94" fmla="*/ 2681 w 12800"/>
                <a:gd name="T95" fmla="*/ 2110 h 12800"/>
                <a:gd name="T96" fmla="*/ 2110 w 12800"/>
                <a:gd name="T97" fmla="*/ 2681 h 12800"/>
                <a:gd name="T98" fmla="*/ 2681 w 12800"/>
                <a:gd name="T99" fmla="*/ 3253 h 12800"/>
                <a:gd name="T100" fmla="*/ 3253 w 12800"/>
                <a:gd name="T101" fmla="*/ 2681 h 12800"/>
                <a:gd name="T102" fmla="*/ 2681 w 12800"/>
                <a:gd name="T103" fmla="*/ 2110 h 1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800" h="12800">
                  <a:moveTo>
                    <a:pt x="7136" y="12800"/>
                  </a:moveTo>
                  <a:lnTo>
                    <a:pt x="0" y="5665"/>
                  </a:lnTo>
                  <a:lnTo>
                    <a:pt x="409" y="409"/>
                  </a:lnTo>
                  <a:lnTo>
                    <a:pt x="5665" y="0"/>
                  </a:lnTo>
                  <a:lnTo>
                    <a:pt x="12800" y="7135"/>
                  </a:lnTo>
                  <a:lnTo>
                    <a:pt x="7136" y="12800"/>
                  </a:lnTo>
                  <a:close/>
                  <a:moveTo>
                    <a:pt x="546" y="5463"/>
                  </a:moveTo>
                  <a:lnTo>
                    <a:pt x="7136" y="12053"/>
                  </a:lnTo>
                  <a:lnTo>
                    <a:pt x="12053" y="7136"/>
                  </a:lnTo>
                  <a:lnTo>
                    <a:pt x="5464" y="546"/>
                  </a:lnTo>
                  <a:lnTo>
                    <a:pt x="900" y="900"/>
                  </a:lnTo>
                  <a:lnTo>
                    <a:pt x="546" y="5463"/>
                  </a:lnTo>
                  <a:close/>
                  <a:moveTo>
                    <a:pt x="5877" y="2503"/>
                  </a:moveTo>
                  <a:lnTo>
                    <a:pt x="6250" y="2876"/>
                  </a:lnTo>
                  <a:lnTo>
                    <a:pt x="2876" y="6250"/>
                  </a:lnTo>
                  <a:lnTo>
                    <a:pt x="2503" y="5876"/>
                  </a:lnTo>
                  <a:lnTo>
                    <a:pt x="5877" y="2503"/>
                  </a:lnTo>
                  <a:close/>
                  <a:moveTo>
                    <a:pt x="6718" y="3344"/>
                  </a:moveTo>
                  <a:lnTo>
                    <a:pt x="7091" y="3717"/>
                  </a:lnTo>
                  <a:lnTo>
                    <a:pt x="3717" y="7091"/>
                  </a:lnTo>
                  <a:lnTo>
                    <a:pt x="3344" y="6717"/>
                  </a:lnTo>
                  <a:lnTo>
                    <a:pt x="6718" y="3344"/>
                  </a:lnTo>
                  <a:close/>
                  <a:moveTo>
                    <a:pt x="7560" y="4185"/>
                  </a:moveTo>
                  <a:lnTo>
                    <a:pt x="7933" y="4559"/>
                  </a:lnTo>
                  <a:lnTo>
                    <a:pt x="4559" y="7933"/>
                  </a:lnTo>
                  <a:lnTo>
                    <a:pt x="4185" y="7559"/>
                  </a:lnTo>
                  <a:lnTo>
                    <a:pt x="7560" y="4185"/>
                  </a:lnTo>
                  <a:close/>
                  <a:moveTo>
                    <a:pt x="8401" y="5027"/>
                  </a:moveTo>
                  <a:lnTo>
                    <a:pt x="8775" y="5401"/>
                  </a:lnTo>
                  <a:lnTo>
                    <a:pt x="5401" y="8775"/>
                  </a:lnTo>
                  <a:lnTo>
                    <a:pt x="5027" y="8401"/>
                  </a:lnTo>
                  <a:lnTo>
                    <a:pt x="8401" y="5027"/>
                  </a:lnTo>
                  <a:close/>
                  <a:moveTo>
                    <a:pt x="9242" y="5869"/>
                  </a:moveTo>
                  <a:lnTo>
                    <a:pt x="9616" y="6242"/>
                  </a:lnTo>
                  <a:lnTo>
                    <a:pt x="6242" y="9616"/>
                  </a:lnTo>
                  <a:lnTo>
                    <a:pt x="5869" y="9242"/>
                  </a:lnTo>
                  <a:lnTo>
                    <a:pt x="9242" y="5869"/>
                  </a:lnTo>
                  <a:close/>
                  <a:moveTo>
                    <a:pt x="10084" y="6710"/>
                  </a:moveTo>
                  <a:lnTo>
                    <a:pt x="10458" y="7083"/>
                  </a:lnTo>
                  <a:lnTo>
                    <a:pt x="7084" y="10457"/>
                  </a:lnTo>
                  <a:lnTo>
                    <a:pt x="6710" y="10084"/>
                  </a:lnTo>
                  <a:lnTo>
                    <a:pt x="10084" y="6710"/>
                  </a:lnTo>
                  <a:close/>
                  <a:moveTo>
                    <a:pt x="2681" y="3781"/>
                  </a:moveTo>
                  <a:cubicBezTo>
                    <a:pt x="2075" y="3781"/>
                    <a:pt x="1581" y="3288"/>
                    <a:pt x="1581" y="2681"/>
                  </a:cubicBezTo>
                  <a:cubicBezTo>
                    <a:pt x="1581" y="2075"/>
                    <a:pt x="2075" y="1582"/>
                    <a:pt x="2681" y="1582"/>
                  </a:cubicBezTo>
                  <a:cubicBezTo>
                    <a:pt x="3288" y="1582"/>
                    <a:pt x="3781" y="2075"/>
                    <a:pt x="3781" y="2681"/>
                  </a:cubicBezTo>
                  <a:cubicBezTo>
                    <a:pt x="3781" y="3288"/>
                    <a:pt x="3288" y="3781"/>
                    <a:pt x="2681" y="3781"/>
                  </a:cubicBezTo>
                  <a:close/>
                  <a:moveTo>
                    <a:pt x="2681" y="2110"/>
                  </a:moveTo>
                  <a:cubicBezTo>
                    <a:pt x="2366" y="2110"/>
                    <a:pt x="2110" y="2366"/>
                    <a:pt x="2110" y="2681"/>
                  </a:cubicBezTo>
                  <a:cubicBezTo>
                    <a:pt x="2110" y="2996"/>
                    <a:pt x="2366" y="3253"/>
                    <a:pt x="2681" y="3253"/>
                  </a:cubicBezTo>
                  <a:cubicBezTo>
                    <a:pt x="2996" y="3253"/>
                    <a:pt x="3253" y="2997"/>
                    <a:pt x="3253" y="2681"/>
                  </a:cubicBezTo>
                  <a:cubicBezTo>
                    <a:pt x="3253" y="2366"/>
                    <a:pt x="2996" y="2110"/>
                    <a:pt x="2681" y="21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2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/>
          <p:cNvSpPr txBox="1"/>
          <p:nvPr userDrawn="1"/>
        </p:nvSpPr>
        <p:spPr>
          <a:xfrm>
            <a:off x="2378578" y="-107935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9" name="文本框 8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10" name="文本框 9"/>
          <p:cNvSpPr txBox="1"/>
          <p:nvPr userDrawn="1"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rgbClr val="E6E6E6"/>
              </a:solidFill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-401932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E6E6E6"/>
                </a:solidFill>
              </a:rPr>
              <a:t>8435759</a:t>
            </a:r>
            <a:endParaRPr lang="zh-CN" altLang="en-US" dirty="0">
              <a:solidFill>
                <a:srgbClr val="E6E6E6"/>
              </a:solidFill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414124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E6E6E6"/>
                </a:solidFill>
              </a:rPr>
              <a:t>8435759</a:t>
            </a:r>
            <a:endParaRPr lang="zh-CN" altLang="en-US" dirty="0">
              <a:solidFill>
                <a:srgbClr val="E6E6E6"/>
              </a:solidFill>
            </a:endParaRPr>
          </a:p>
        </p:txBody>
      </p:sp>
      <p:sp>
        <p:nvSpPr>
          <p:cNvPr id="13" name="文本框 12"/>
          <p:cNvSpPr txBox="1"/>
          <p:nvPr userDrawn="1"/>
        </p:nvSpPr>
        <p:spPr>
          <a:xfrm>
            <a:off x="48555921" y="-20510500"/>
            <a:ext cx="30568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zh-CN" altLang="en-US" sz="800" b="0" i="0" u="none" strike="noStrike" kern="1200" dirty="0">
                <a:solidFill>
                  <a:srgbClr val="E6E6E6"/>
                </a:solidFill>
                <a:effectLst/>
                <a:latin typeface="+mn-lt"/>
                <a:ea typeface="+mn-ea"/>
                <a:cs typeface="+mn-cs"/>
              </a:rPr>
              <a:t>千图</a:t>
            </a:r>
            <a:r>
              <a:rPr lang="en-US" altLang="zh-CN" sz="800" b="0" i="0" u="none" strike="noStrike" kern="1200" dirty="0">
                <a:solidFill>
                  <a:srgbClr val="E6E6E6"/>
                </a:solidFill>
                <a:effectLst/>
                <a:latin typeface="+mn-lt"/>
                <a:ea typeface="+mn-ea"/>
                <a:cs typeface="+mn-cs"/>
              </a:rPr>
              <a:t>:Blue Dragonfly</a:t>
            </a:r>
            <a:endParaRPr lang="en-US" altLang="zh-CN" sz="800" b="0" i="0" u="none" strike="noStrike" kern="1200" dirty="0">
              <a:solidFill>
                <a:srgbClr val="E6E6E6"/>
              </a:solidFill>
              <a:effectLst/>
              <a:latin typeface="+mn-lt"/>
              <a:ea typeface="+mn-ea"/>
              <a:cs typeface="+mn-cs"/>
            </a:endParaRPr>
          </a:p>
          <a:p>
            <a:br>
              <a:rPr lang="en-US" altLang="zh-CN" sz="800" dirty="0">
                <a:solidFill>
                  <a:srgbClr val="E6E6E6"/>
                </a:solidFill>
              </a:rPr>
            </a:br>
            <a:r>
              <a:rPr lang="en-US" altLang="zh-CN" sz="800" dirty="0">
                <a:solidFill>
                  <a:srgbClr val="E6E6E6"/>
                </a:solidFill>
              </a:rPr>
              <a:t>DESIGN</a:t>
            </a:r>
            <a:endParaRPr lang="zh-CN" altLang="en-US" sz="800" dirty="0">
              <a:solidFill>
                <a:srgbClr val="E6E6E6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7"/>
          <p:cNvSpPr txBox="1"/>
          <p:nvPr userDrawn="1"/>
        </p:nvSpPr>
        <p:spPr>
          <a:xfrm>
            <a:off x="2378578" y="-10793573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9" name="文本框 8"/>
          <p:cNvSpPr txBox="1"/>
          <p:nvPr userDrawn="1"/>
        </p:nvSpPr>
        <p:spPr>
          <a:xfrm>
            <a:off x="38852978" y="20296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10" name="文本框 9"/>
          <p:cNvSpPr txBox="1"/>
          <p:nvPr userDrawn="1"/>
        </p:nvSpPr>
        <p:spPr>
          <a:xfrm>
            <a:off x="-24850222" y="18772027"/>
            <a:ext cx="1965874" cy="113995"/>
          </a:xfrm>
          <a:custGeom>
            <a:avLst/>
            <a:gdLst/>
            <a:ahLst/>
            <a:cxnLst/>
            <a:rect l="l" t="t" r="r" b="b"/>
            <a:pathLst>
              <a:path w="1965874" h="113995">
                <a:moveTo>
                  <a:pt x="891806" y="87487"/>
                </a:moveTo>
                <a:cubicBezTo>
                  <a:pt x="887684" y="90420"/>
                  <a:pt x="885624" y="93808"/>
                  <a:pt x="885624" y="97650"/>
                </a:cubicBezTo>
                <a:cubicBezTo>
                  <a:pt x="885624" y="100793"/>
                  <a:pt x="887126" y="103308"/>
                  <a:pt x="890130" y="105194"/>
                </a:cubicBezTo>
                <a:cubicBezTo>
                  <a:pt x="893134" y="107080"/>
                  <a:pt x="897290" y="108023"/>
                  <a:pt x="902598" y="108023"/>
                </a:cubicBezTo>
                <a:cubicBezTo>
                  <a:pt x="908046" y="108023"/>
                  <a:pt x="912586" y="106765"/>
                  <a:pt x="916218" y="104251"/>
                </a:cubicBezTo>
                <a:cubicBezTo>
                  <a:pt x="919572" y="101876"/>
                  <a:pt x="921248" y="99082"/>
                  <a:pt x="921248" y="95869"/>
                </a:cubicBezTo>
                <a:cubicBezTo>
                  <a:pt x="921248" y="90909"/>
                  <a:pt x="917302" y="88430"/>
                  <a:pt x="909408" y="88430"/>
                </a:cubicBezTo>
                <a:lnTo>
                  <a:pt x="899036" y="88430"/>
                </a:lnTo>
                <a:cubicBezTo>
                  <a:pt x="896870" y="88430"/>
                  <a:pt x="894460" y="88115"/>
                  <a:pt x="891806" y="87487"/>
                </a:cubicBezTo>
                <a:close/>
                <a:moveTo>
                  <a:pt x="429472" y="75438"/>
                </a:moveTo>
                <a:cubicBezTo>
                  <a:pt x="431288" y="75438"/>
                  <a:pt x="432824" y="76066"/>
                  <a:pt x="434082" y="77324"/>
                </a:cubicBezTo>
                <a:cubicBezTo>
                  <a:pt x="435340" y="78651"/>
                  <a:pt x="435968" y="80327"/>
                  <a:pt x="435968" y="82353"/>
                </a:cubicBezTo>
                <a:cubicBezTo>
                  <a:pt x="435968" y="84309"/>
                  <a:pt x="435340" y="85915"/>
                  <a:pt x="434082" y="87172"/>
                </a:cubicBezTo>
                <a:cubicBezTo>
                  <a:pt x="432824" y="88430"/>
                  <a:pt x="431288" y="89058"/>
                  <a:pt x="429472" y="89058"/>
                </a:cubicBezTo>
                <a:cubicBezTo>
                  <a:pt x="427726" y="89058"/>
                  <a:pt x="426224" y="88430"/>
                  <a:pt x="424966" y="87172"/>
                </a:cubicBezTo>
                <a:cubicBezTo>
                  <a:pt x="423710" y="85915"/>
                  <a:pt x="423080" y="84309"/>
                  <a:pt x="423080" y="82353"/>
                </a:cubicBezTo>
                <a:cubicBezTo>
                  <a:pt x="423080" y="80327"/>
                  <a:pt x="423710" y="78651"/>
                  <a:pt x="424966" y="77324"/>
                </a:cubicBezTo>
                <a:cubicBezTo>
                  <a:pt x="426224" y="76066"/>
                  <a:pt x="427726" y="75438"/>
                  <a:pt x="429472" y="75438"/>
                </a:cubicBezTo>
                <a:close/>
                <a:moveTo>
                  <a:pt x="335384" y="66846"/>
                </a:moveTo>
                <a:lnTo>
                  <a:pt x="335384" y="83191"/>
                </a:lnTo>
                <a:lnTo>
                  <a:pt x="392172" y="83191"/>
                </a:lnTo>
                <a:lnTo>
                  <a:pt x="392172" y="66846"/>
                </a:lnTo>
                <a:close/>
                <a:moveTo>
                  <a:pt x="856868" y="57731"/>
                </a:moveTo>
                <a:cubicBezTo>
                  <a:pt x="847158" y="58848"/>
                  <a:pt x="840174" y="60629"/>
                  <a:pt x="835914" y="63074"/>
                </a:cubicBezTo>
                <a:cubicBezTo>
                  <a:pt x="832002" y="65449"/>
                  <a:pt x="830046" y="68627"/>
                  <a:pt x="830046" y="72609"/>
                </a:cubicBezTo>
                <a:cubicBezTo>
                  <a:pt x="830046" y="78965"/>
                  <a:pt x="833538" y="82143"/>
                  <a:pt x="840524" y="82143"/>
                </a:cubicBezTo>
                <a:cubicBezTo>
                  <a:pt x="845552" y="82143"/>
                  <a:pt x="851000" y="79524"/>
                  <a:pt x="856868" y="74285"/>
                </a:cubicBezTo>
                <a:close/>
                <a:moveTo>
                  <a:pt x="482440" y="50606"/>
                </a:moveTo>
                <a:lnTo>
                  <a:pt x="482440" y="80781"/>
                </a:lnTo>
                <a:lnTo>
                  <a:pt x="496270" y="80781"/>
                </a:lnTo>
                <a:cubicBezTo>
                  <a:pt x="510870" y="80781"/>
                  <a:pt x="518168" y="75507"/>
                  <a:pt x="518168" y="64960"/>
                </a:cubicBezTo>
                <a:cubicBezTo>
                  <a:pt x="518168" y="55391"/>
                  <a:pt x="510870" y="50606"/>
                  <a:pt x="496270" y="50606"/>
                </a:cubicBezTo>
                <a:close/>
                <a:moveTo>
                  <a:pt x="1220056" y="49977"/>
                </a:moveTo>
                <a:cubicBezTo>
                  <a:pt x="1212652" y="54657"/>
                  <a:pt x="1208950" y="60664"/>
                  <a:pt x="1208950" y="67999"/>
                </a:cubicBezTo>
                <a:cubicBezTo>
                  <a:pt x="1208950" y="72190"/>
                  <a:pt x="1210522" y="75682"/>
                  <a:pt x="1213666" y="78476"/>
                </a:cubicBezTo>
                <a:cubicBezTo>
                  <a:pt x="1216878" y="81270"/>
                  <a:pt x="1220860" y="82667"/>
                  <a:pt x="1225610" y="82667"/>
                </a:cubicBezTo>
                <a:cubicBezTo>
                  <a:pt x="1230150" y="82667"/>
                  <a:pt x="1233886" y="81375"/>
                  <a:pt x="1236820" y="78790"/>
                </a:cubicBezTo>
                <a:cubicBezTo>
                  <a:pt x="1239614" y="76276"/>
                  <a:pt x="1241012" y="73063"/>
                  <a:pt x="1241012" y="69151"/>
                </a:cubicBezTo>
                <a:cubicBezTo>
                  <a:pt x="1241012" y="64401"/>
                  <a:pt x="1238916" y="60420"/>
                  <a:pt x="1234724" y="57207"/>
                </a:cubicBezTo>
                <a:cubicBezTo>
                  <a:pt x="1232140" y="55321"/>
                  <a:pt x="1227250" y="52911"/>
                  <a:pt x="1220056" y="49977"/>
                </a:cubicBezTo>
                <a:close/>
                <a:moveTo>
                  <a:pt x="335384" y="44215"/>
                </a:moveTo>
                <a:lnTo>
                  <a:pt x="335384" y="60350"/>
                </a:lnTo>
                <a:lnTo>
                  <a:pt x="392172" y="60350"/>
                </a:lnTo>
                <a:lnTo>
                  <a:pt x="392172" y="44215"/>
                </a:lnTo>
                <a:close/>
                <a:moveTo>
                  <a:pt x="62130" y="37299"/>
                </a:moveTo>
                <a:cubicBezTo>
                  <a:pt x="64786" y="49942"/>
                  <a:pt x="68662" y="60490"/>
                  <a:pt x="73760" y="68942"/>
                </a:cubicBezTo>
                <a:cubicBezTo>
                  <a:pt x="79558" y="60071"/>
                  <a:pt x="83644" y="49523"/>
                  <a:pt x="86020" y="37299"/>
                </a:cubicBezTo>
                <a:close/>
                <a:moveTo>
                  <a:pt x="961320" y="36880"/>
                </a:moveTo>
                <a:cubicBezTo>
                  <a:pt x="956220" y="36880"/>
                  <a:pt x="952100" y="38976"/>
                  <a:pt x="948956" y="43167"/>
                </a:cubicBezTo>
                <a:cubicBezTo>
                  <a:pt x="945742" y="47288"/>
                  <a:pt x="944136" y="52736"/>
                  <a:pt x="944136" y="59512"/>
                </a:cubicBezTo>
                <a:cubicBezTo>
                  <a:pt x="944136" y="66217"/>
                  <a:pt x="945742" y="71631"/>
                  <a:pt x="948956" y="75752"/>
                </a:cubicBezTo>
                <a:cubicBezTo>
                  <a:pt x="952100" y="79873"/>
                  <a:pt x="956220" y="81934"/>
                  <a:pt x="961320" y="81934"/>
                </a:cubicBezTo>
                <a:cubicBezTo>
                  <a:pt x="966418" y="81934"/>
                  <a:pt x="970574" y="79873"/>
                  <a:pt x="973788" y="75752"/>
                </a:cubicBezTo>
                <a:cubicBezTo>
                  <a:pt x="977000" y="71631"/>
                  <a:pt x="978608" y="66217"/>
                  <a:pt x="978608" y="59512"/>
                </a:cubicBezTo>
                <a:cubicBezTo>
                  <a:pt x="978608" y="52806"/>
                  <a:pt x="977000" y="47358"/>
                  <a:pt x="973788" y="43167"/>
                </a:cubicBezTo>
                <a:cubicBezTo>
                  <a:pt x="970574" y="38976"/>
                  <a:pt x="966418" y="36880"/>
                  <a:pt x="961320" y="36880"/>
                </a:cubicBezTo>
                <a:close/>
                <a:moveTo>
                  <a:pt x="655890" y="36566"/>
                </a:moveTo>
                <a:cubicBezTo>
                  <a:pt x="651560" y="36566"/>
                  <a:pt x="647822" y="38173"/>
                  <a:pt x="644680" y="41386"/>
                </a:cubicBezTo>
                <a:cubicBezTo>
                  <a:pt x="641396" y="44808"/>
                  <a:pt x="639476" y="49384"/>
                  <a:pt x="638918" y="55111"/>
                </a:cubicBezTo>
                <a:lnTo>
                  <a:pt x="670560" y="55111"/>
                </a:lnTo>
                <a:cubicBezTo>
                  <a:pt x="670560" y="42748"/>
                  <a:pt x="665670" y="36566"/>
                  <a:pt x="655890" y="36566"/>
                </a:cubicBezTo>
                <a:close/>
                <a:moveTo>
                  <a:pt x="901236" y="36042"/>
                </a:moveTo>
                <a:cubicBezTo>
                  <a:pt x="897604" y="36042"/>
                  <a:pt x="894600" y="37265"/>
                  <a:pt x="892224" y="39709"/>
                </a:cubicBezTo>
                <a:cubicBezTo>
                  <a:pt x="889780" y="42224"/>
                  <a:pt x="888558" y="45612"/>
                  <a:pt x="888558" y="49872"/>
                </a:cubicBezTo>
                <a:cubicBezTo>
                  <a:pt x="888558" y="53994"/>
                  <a:pt x="889816" y="57381"/>
                  <a:pt x="892330" y="60036"/>
                </a:cubicBezTo>
                <a:cubicBezTo>
                  <a:pt x="894774" y="62620"/>
                  <a:pt x="897744" y="63912"/>
                  <a:pt x="901236" y="63912"/>
                </a:cubicBezTo>
                <a:cubicBezTo>
                  <a:pt x="904728" y="63912"/>
                  <a:pt x="907696" y="62620"/>
                  <a:pt x="910142" y="60036"/>
                </a:cubicBezTo>
                <a:cubicBezTo>
                  <a:pt x="912656" y="57381"/>
                  <a:pt x="913914" y="53994"/>
                  <a:pt x="913914" y="49872"/>
                </a:cubicBezTo>
                <a:cubicBezTo>
                  <a:pt x="913914" y="45681"/>
                  <a:pt x="912656" y="42294"/>
                  <a:pt x="910142" y="39709"/>
                </a:cubicBezTo>
                <a:cubicBezTo>
                  <a:pt x="907766" y="37265"/>
                  <a:pt x="904798" y="36042"/>
                  <a:pt x="901236" y="36042"/>
                </a:cubicBezTo>
                <a:close/>
                <a:moveTo>
                  <a:pt x="429472" y="32689"/>
                </a:moveTo>
                <a:cubicBezTo>
                  <a:pt x="431288" y="32689"/>
                  <a:pt x="432824" y="33318"/>
                  <a:pt x="434082" y="34575"/>
                </a:cubicBezTo>
                <a:cubicBezTo>
                  <a:pt x="435340" y="35902"/>
                  <a:pt x="435968" y="37579"/>
                  <a:pt x="435968" y="39605"/>
                </a:cubicBezTo>
                <a:cubicBezTo>
                  <a:pt x="435968" y="41560"/>
                  <a:pt x="435340" y="43167"/>
                  <a:pt x="434082" y="44424"/>
                </a:cubicBezTo>
                <a:cubicBezTo>
                  <a:pt x="432824" y="45681"/>
                  <a:pt x="431288" y="46310"/>
                  <a:pt x="429472" y="46310"/>
                </a:cubicBezTo>
                <a:cubicBezTo>
                  <a:pt x="427726" y="46310"/>
                  <a:pt x="426224" y="45681"/>
                  <a:pt x="424966" y="44424"/>
                </a:cubicBezTo>
                <a:cubicBezTo>
                  <a:pt x="423710" y="43167"/>
                  <a:pt x="423080" y="41560"/>
                  <a:pt x="423080" y="39605"/>
                </a:cubicBezTo>
                <a:cubicBezTo>
                  <a:pt x="423080" y="37579"/>
                  <a:pt x="423710" y="35902"/>
                  <a:pt x="424966" y="34575"/>
                </a:cubicBezTo>
                <a:cubicBezTo>
                  <a:pt x="426224" y="33318"/>
                  <a:pt x="427726" y="32689"/>
                  <a:pt x="429472" y="32689"/>
                </a:cubicBezTo>
                <a:close/>
                <a:moveTo>
                  <a:pt x="1121644" y="31118"/>
                </a:moveTo>
                <a:lnTo>
                  <a:pt x="1130550" y="31118"/>
                </a:lnTo>
                <a:lnTo>
                  <a:pt x="1142600" y="63493"/>
                </a:lnTo>
                <a:lnTo>
                  <a:pt x="1148258" y="79419"/>
                </a:lnTo>
                <a:lnTo>
                  <a:pt x="1148780" y="79419"/>
                </a:lnTo>
                <a:cubicBezTo>
                  <a:pt x="1149130" y="78371"/>
                  <a:pt x="1149934" y="75682"/>
                  <a:pt x="1151190" y="71351"/>
                </a:cubicBezTo>
                <a:cubicBezTo>
                  <a:pt x="1152168" y="67999"/>
                  <a:pt x="1152972" y="65379"/>
                  <a:pt x="1153600" y="63493"/>
                </a:cubicBezTo>
                <a:lnTo>
                  <a:pt x="1164182" y="31118"/>
                </a:lnTo>
                <a:lnTo>
                  <a:pt x="1172564" y="31118"/>
                </a:lnTo>
                <a:lnTo>
                  <a:pt x="1150982" y="92935"/>
                </a:lnTo>
                <a:cubicBezTo>
                  <a:pt x="1146440" y="105927"/>
                  <a:pt x="1139560" y="112423"/>
                  <a:pt x="1130340" y="112423"/>
                </a:cubicBezTo>
                <a:cubicBezTo>
                  <a:pt x="1127896" y="112423"/>
                  <a:pt x="1125730" y="112039"/>
                  <a:pt x="1123844" y="111271"/>
                </a:cubicBezTo>
                <a:lnTo>
                  <a:pt x="1125626" y="104355"/>
                </a:lnTo>
                <a:cubicBezTo>
                  <a:pt x="1127162" y="104914"/>
                  <a:pt x="1128630" y="105194"/>
                  <a:pt x="1130026" y="105194"/>
                </a:cubicBezTo>
                <a:cubicBezTo>
                  <a:pt x="1135894" y="105194"/>
                  <a:pt x="1140294" y="100933"/>
                  <a:pt x="1143228" y="92411"/>
                </a:cubicBezTo>
                <a:lnTo>
                  <a:pt x="1144486" y="88011"/>
                </a:lnTo>
                <a:close/>
                <a:moveTo>
                  <a:pt x="567422" y="31118"/>
                </a:moveTo>
                <a:lnTo>
                  <a:pt x="575910" y="31118"/>
                </a:lnTo>
                <a:lnTo>
                  <a:pt x="575910" y="66008"/>
                </a:lnTo>
                <a:cubicBezTo>
                  <a:pt x="575910" y="71456"/>
                  <a:pt x="576782" y="75403"/>
                  <a:pt x="578528" y="77847"/>
                </a:cubicBezTo>
                <a:cubicBezTo>
                  <a:pt x="580274" y="80362"/>
                  <a:pt x="583138" y="81619"/>
                  <a:pt x="587120" y="81619"/>
                </a:cubicBezTo>
                <a:cubicBezTo>
                  <a:pt x="592290" y="81619"/>
                  <a:pt x="597598" y="78301"/>
                  <a:pt x="603046" y="71666"/>
                </a:cubicBezTo>
                <a:lnTo>
                  <a:pt x="603046" y="31118"/>
                </a:lnTo>
                <a:lnTo>
                  <a:pt x="611532" y="31118"/>
                </a:lnTo>
                <a:lnTo>
                  <a:pt x="611532" y="87696"/>
                </a:lnTo>
                <a:lnTo>
                  <a:pt x="604512" y="87696"/>
                </a:lnTo>
                <a:lnTo>
                  <a:pt x="603780" y="78686"/>
                </a:lnTo>
                <a:lnTo>
                  <a:pt x="603466" y="78686"/>
                </a:lnTo>
                <a:cubicBezTo>
                  <a:pt x="597458" y="85601"/>
                  <a:pt x="591172" y="89058"/>
                  <a:pt x="584606" y="89058"/>
                </a:cubicBezTo>
                <a:cubicBezTo>
                  <a:pt x="573150" y="89058"/>
                  <a:pt x="567422" y="81724"/>
                  <a:pt x="567422" y="67056"/>
                </a:cubicBezTo>
                <a:close/>
                <a:moveTo>
                  <a:pt x="1033548" y="29651"/>
                </a:moveTo>
                <a:cubicBezTo>
                  <a:pt x="1045072" y="29651"/>
                  <a:pt x="1050836" y="37020"/>
                  <a:pt x="1050836" y="51758"/>
                </a:cubicBezTo>
                <a:lnTo>
                  <a:pt x="1050836" y="87696"/>
                </a:lnTo>
                <a:lnTo>
                  <a:pt x="1042244" y="87696"/>
                </a:lnTo>
                <a:lnTo>
                  <a:pt x="1042244" y="52806"/>
                </a:lnTo>
                <a:cubicBezTo>
                  <a:pt x="1042244" y="42329"/>
                  <a:pt x="1038506" y="37090"/>
                  <a:pt x="1031032" y="37090"/>
                </a:cubicBezTo>
                <a:cubicBezTo>
                  <a:pt x="1026214" y="37090"/>
                  <a:pt x="1020834" y="40163"/>
                  <a:pt x="1014898" y="46310"/>
                </a:cubicBezTo>
                <a:lnTo>
                  <a:pt x="1014898" y="87696"/>
                </a:lnTo>
                <a:lnTo>
                  <a:pt x="1006410" y="87696"/>
                </a:lnTo>
                <a:lnTo>
                  <a:pt x="1006410" y="31118"/>
                </a:lnTo>
                <a:lnTo>
                  <a:pt x="1013326" y="31118"/>
                </a:lnTo>
                <a:lnTo>
                  <a:pt x="1014164" y="39395"/>
                </a:lnTo>
                <a:lnTo>
                  <a:pt x="1014478" y="39395"/>
                </a:lnTo>
                <a:cubicBezTo>
                  <a:pt x="1021114" y="32899"/>
                  <a:pt x="1027470" y="29651"/>
                  <a:pt x="1033548" y="29651"/>
                </a:cubicBezTo>
                <a:close/>
                <a:moveTo>
                  <a:pt x="961320" y="29651"/>
                </a:moveTo>
                <a:cubicBezTo>
                  <a:pt x="968584" y="29651"/>
                  <a:pt x="974660" y="32270"/>
                  <a:pt x="979550" y="37509"/>
                </a:cubicBezTo>
                <a:cubicBezTo>
                  <a:pt x="984788" y="43027"/>
                  <a:pt x="987408" y="50361"/>
                  <a:pt x="987408" y="59512"/>
                </a:cubicBezTo>
                <a:cubicBezTo>
                  <a:pt x="987408" y="68522"/>
                  <a:pt x="984788" y="75787"/>
                  <a:pt x="979550" y="81305"/>
                </a:cubicBezTo>
                <a:cubicBezTo>
                  <a:pt x="974660" y="86474"/>
                  <a:pt x="968584" y="89058"/>
                  <a:pt x="961320" y="89058"/>
                </a:cubicBezTo>
                <a:cubicBezTo>
                  <a:pt x="954124" y="89058"/>
                  <a:pt x="948082" y="86474"/>
                  <a:pt x="943194" y="81305"/>
                </a:cubicBezTo>
                <a:cubicBezTo>
                  <a:pt x="937954" y="75787"/>
                  <a:pt x="935334" y="68522"/>
                  <a:pt x="935334" y="59512"/>
                </a:cubicBezTo>
                <a:cubicBezTo>
                  <a:pt x="935334" y="50361"/>
                  <a:pt x="937954" y="43027"/>
                  <a:pt x="943194" y="37509"/>
                </a:cubicBezTo>
                <a:cubicBezTo>
                  <a:pt x="948012" y="32270"/>
                  <a:pt x="954054" y="29651"/>
                  <a:pt x="961320" y="29651"/>
                </a:cubicBezTo>
                <a:close/>
                <a:moveTo>
                  <a:pt x="901236" y="29651"/>
                </a:moveTo>
                <a:cubicBezTo>
                  <a:pt x="903820" y="29651"/>
                  <a:pt x="906440" y="30140"/>
                  <a:pt x="909094" y="31118"/>
                </a:cubicBezTo>
                <a:lnTo>
                  <a:pt x="928686" y="31118"/>
                </a:lnTo>
                <a:lnTo>
                  <a:pt x="928686" y="37719"/>
                </a:lnTo>
                <a:lnTo>
                  <a:pt x="916742" y="37719"/>
                </a:lnTo>
                <a:cubicBezTo>
                  <a:pt x="920026" y="40862"/>
                  <a:pt x="921666" y="44948"/>
                  <a:pt x="921666" y="49977"/>
                </a:cubicBezTo>
                <a:cubicBezTo>
                  <a:pt x="921666" y="55914"/>
                  <a:pt x="919676" y="60734"/>
                  <a:pt x="915694" y="64436"/>
                </a:cubicBezTo>
                <a:cubicBezTo>
                  <a:pt x="911852" y="67999"/>
                  <a:pt x="907034" y="69780"/>
                  <a:pt x="901236" y="69780"/>
                </a:cubicBezTo>
                <a:cubicBezTo>
                  <a:pt x="898092" y="69780"/>
                  <a:pt x="895194" y="69081"/>
                  <a:pt x="892540" y="67684"/>
                </a:cubicBezTo>
                <a:cubicBezTo>
                  <a:pt x="890024" y="69850"/>
                  <a:pt x="888768" y="72224"/>
                  <a:pt x="888768" y="74809"/>
                </a:cubicBezTo>
                <a:cubicBezTo>
                  <a:pt x="888768" y="79070"/>
                  <a:pt x="892120" y="81200"/>
                  <a:pt x="898826" y="81200"/>
                </a:cubicBezTo>
                <a:lnTo>
                  <a:pt x="910142" y="81200"/>
                </a:lnTo>
                <a:cubicBezTo>
                  <a:pt x="923134" y="81200"/>
                  <a:pt x="929630" y="85671"/>
                  <a:pt x="929630" y="94611"/>
                </a:cubicBezTo>
                <a:cubicBezTo>
                  <a:pt x="929630" y="99920"/>
                  <a:pt x="927080" y="104425"/>
                  <a:pt x="921982" y="108127"/>
                </a:cubicBezTo>
                <a:cubicBezTo>
                  <a:pt x="916602" y="112039"/>
                  <a:pt x="909758" y="113995"/>
                  <a:pt x="901446" y="113995"/>
                </a:cubicBezTo>
                <a:cubicBezTo>
                  <a:pt x="894390" y="113995"/>
                  <a:pt x="888768" y="112668"/>
                  <a:pt x="884576" y="110013"/>
                </a:cubicBezTo>
                <a:cubicBezTo>
                  <a:pt x="880246" y="107289"/>
                  <a:pt x="878080" y="103517"/>
                  <a:pt x="878080" y="98698"/>
                </a:cubicBezTo>
                <a:cubicBezTo>
                  <a:pt x="878080" y="93738"/>
                  <a:pt x="880874" y="89408"/>
                  <a:pt x="886462" y="85706"/>
                </a:cubicBezTo>
                <a:lnTo>
                  <a:pt x="886462" y="85286"/>
                </a:lnTo>
                <a:cubicBezTo>
                  <a:pt x="883040" y="83191"/>
                  <a:pt x="881328" y="80083"/>
                  <a:pt x="881328" y="75961"/>
                </a:cubicBezTo>
                <a:cubicBezTo>
                  <a:pt x="881328" y="72050"/>
                  <a:pt x="883424" y="68557"/>
                  <a:pt x="887614" y="65484"/>
                </a:cubicBezTo>
                <a:lnTo>
                  <a:pt x="887614" y="65065"/>
                </a:lnTo>
                <a:cubicBezTo>
                  <a:pt x="882726" y="61153"/>
                  <a:pt x="880280" y="56089"/>
                  <a:pt x="880280" y="49872"/>
                </a:cubicBezTo>
                <a:cubicBezTo>
                  <a:pt x="880280" y="43865"/>
                  <a:pt x="882342" y="38976"/>
                  <a:pt x="886462" y="35204"/>
                </a:cubicBezTo>
                <a:cubicBezTo>
                  <a:pt x="890444" y="31502"/>
                  <a:pt x="895368" y="29651"/>
                  <a:pt x="901236" y="29651"/>
                </a:cubicBezTo>
                <a:close/>
                <a:moveTo>
                  <a:pt x="846182" y="29651"/>
                </a:moveTo>
                <a:cubicBezTo>
                  <a:pt x="858964" y="29651"/>
                  <a:pt x="865354" y="37299"/>
                  <a:pt x="865354" y="52597"/>
                </a:cubicBezTo>
                <a:lnTo>
                  <a:pt x="865354" y="87696"/>
                </a:lnTo>
                <a:lnTo>
                  <a:pt x="858334" y="87696"/>
                </a:lnTo>
                <a:lnTo>
                  <a:pt x="857602" y="80781"/>
                </a:lnTo>
                <a:lnTo>
                  <a:pt x="857288" y="80781"/>
                </a:lnTo>
                <a:cubicBezTo>
                  <a:pt x="850792" y="86299"/>
                  <a:pt x="844434" y="89058"/>
                  <a:pt x="838218" y="89058"/>
                </a:cubicBezTo>
                <a:cubicBezTo>
                  <a:pt x="833398" y="89058"/>
                  <a:pt x="829486" y="87696"/>
                  <a:pt x="826484" y="84972"/>
                </a:cubicBezTo>
                <a:cubicBezTo>
                  <a:pt x="823340" y="82038"/>
                  <a:pt x="821768" y="78092"/>
                  <a:pt x="821768" y="73133"/>
                </a:cubicBezTo>
                <a:cubicBezTo>
                  <a:pt x="821768" y="66986"/>
                  <a:pt x="824598" y="62236"/>
                  <a:pt x="830256" y="58883"/>
                </a:cubicBezTo>
                <a:cubicBezTo>
                  <a:pt x="835704" y="55670"/>
                  <a:pt x="844574" y="53365"/>
                  <a:pt x="856868" y="51968"/>
                </a:cubicBezTo>
                <a:cubicBezTo>
                  <a:pt x="857008" y="41840"/>
                  <a:pt x="852992" y="36776"/>
                  <a:pt x="844818" y="36776"/>
                </a:cubicBezTo>
                <a:cubicBezTo>
                  <a:pt x="839300" y="36776"/>
                  <a:pt x="833574" y="38871"/>
                  <a:pt x="827636" y="43062"/>
                </a:cubicBezTo>
                <a:lnTo>
                  <a:pt x="824178" y="37090"/>
                </a:lnTo>
                <a:cubicBezTo>
                  <a:pt x="831722" y="32131"/>
                  <a:pt x="839056" y="29651"/>
                  <a:pt x="846182" y="29651"/>
                </a:cubicBezTo>
                <a:close/>
                <a:moveTo>
                  <a:pt x="811434" y="29651"/>
                </a:moveTo>
                <a:cubicBezTo>
                  <a:pt x="813738" y="29651"/>
                  <a:pt x="815730" y="30070"/>
                  <a:pt x="817406" y="30908"/>
                </a:cubicBezTo>
                <a:lnTo>
                  <a:pt x="815730" y="38347"/>
                </a:lnTo>
                <a:cubicBezTo>
                  <a:pt x="813844" y="37719"/>
                  <a:pt x="812062" y="37404"/>
                  <a:pt x="810386" y="37404"/>
                </a:cubicBezTo>
                <a:cubicBezTo>
                  <a:pt x="804170" y="37404"/>
                  <a:pt x="799314" y="41875"/>
                  <a:pt x="795822" y="50815"/>
                </a:cubicBezTo>
                <a:lnTo>
                  <a:pt x="795822" y="87696"/>
                </a:lnTo>
                <a:lnTo>
                  <a:pt x="787336" y="87696"/>
                </a:lnTo>
                <a:lnTo>
                  <a:pt x="787336" y="31118"/>
                </a:lnTo>
                <a:lnTo>
                  <a:pt x="794250" y="31118"/>
                </a:lnTo>
                <a:lnTo>
                  <a:pt x="795090" y="41490"/>
                </a:lnTo>
                <a:lnTo>
                  <a:pt x="795404" y="41490"/>
                </a:lnTo>
                <a:cubicBezTo>
                  <a:pt x="799664" y="33597"/>
                  <a:pt x="805008" y="29651"/>
                  <a:pt x="811434" y="29651"/>
                </a:cubicBezTo>
                <a:close/>
                <a:moveTo>
                  <a:pt x="655786" y="29651"/>
                </a:moveTo>
                <a:cubicBezTo>
                  <a:pt x="662840" y="29651"/>
                  <a:pt x="668324" y="32026"/>
                  <a:pt x="672236" y="36776"/>
                </a:cubicBezTo>
                <a:cubicBezTo>
                  <a:pt x="676148" y="41456"/>
                  <a:pt x="678102" y="47917"/>
                  <a:pt x="678102" y="56159"/>
                </a:cubicBezTo>
                <a:cubicBezTo>
                  <a:pt x="678102" y="58394"/>
                  <a:pt x="677964" y="60105"/>
                  <a:pt x="677684" y="61293"/>
                </a:cubicBezTo>
                <a:lnTo>
                  <a:pt x="639022" y="61293"/>
                </a:lnTo>
                <a:cubicBezTo>
                  <a:pt x="639302" y="67579"/>
                  <a:pt x="641188" y="72644"/>
                  <a:pt x="644680" y="76485"/>
                </a:cubicBezTo>
                <a:cubicBezTo>
                  <a:pt x="648172" y="80327"/>
                  <a:pt x="652748" y="82248"/>
                  <a:pt x="658406" y="82248"/>
                </a:cubicBezTo>
                <a:cubicBezTo>
                  <a:pt x="663434" y="82248"/>
                  <a:pt x="668220" y="80711"/>
                  <a:pt x="672760" y="77638"/>
                </a:cubicBezTo>
                <a:lnTo>
                  <a:pt x="675902" y="83296"/>
                </a:lnTo>
                <a:cubicBezTo>
                  <a:pt x="669896" y="87137"/>
                  <a:pt x="663714" y="89058"/>
                  <a:pt x="657358" y="89058"/>
                </a:cubicBezTo>
                <a:cubicBezTo>
                  <a:pt x="649674" y="89058"/>
                  <a:pt x="643352" y="86439"/>
                  <a:pt x="638394" y="81200"/>
                </a:cubicBezTo>
                <a:cubicBezTo>
                  <a:pt x="633154" y="75752"/>
                  <a:pt x="630536" y="68522"/>
                  <a:pt x="630536" y="59512"/>
                </a:cubicBezTo>
                <a:cubicBezTo>
                  <a:pt x="630536" y="50641"/>
                  <a:pt x="633120" y="43341"/>
                  <a:pt x="638288" y="37614"/>
                </a:cubicBezTo>
                <a:cubicBezTo>
                  <a:pt x="643178" y="32305"/>
                  <a:pt x="649010" y="29651"/>
                  <a:pt x="655786" y="29651"/>
                </a:cubicBezTo>
                <a:close/>
                <a:moveTo>
                  <a:pt x="231970" y="22526"/>
                </a:moveTo>
                <a:cubicBezTo>
                  <a:pt x="237140" y="29791"/>
                  <a:pt x="240528" y="36391"/>
                  <a:pt x="242134" y="42329"/>
                </a:cubicBezTo>
                <a:lnTo>
                  <a:pt x="235638" y="44948"/>
                </a:lnTo>
                <a:cubicBezTo>
                  <a:pt x="233892" y="38662"/>
                  <a:pt x="230678" y="31956"/>
                  <a:pt x="225998" y="24831"/>
                </a:cubicBezTo>
                <a:close/>
                <a:moveTo>
                  <a:pt x="285406" y="22002"/>
                </a:moveTo>
                <a:lnTo>
                  <a:pt x="292636" y="24412"/>
                </a:lnTo>
                <a:cubicBezTo>
                  <a:pt x="288026" y="33353"/>
                  <a:pt x="283974" y="40303"/>
                  <a:pt x="280482" y="45262"/>
                </a:cubicBezTo>
                <a:lnTo>
                  <a:pt x="274614" y="43167"/>
                </a:lnTo>
                <a:cubicBezTo>
                  <a:pt x="279084" y="36252"/>
                  <a:pt x="282682" y="29197"/>
                  <a:pt x="285406" y="22002"/>
                </a:cubicBezTo>
                <a:close/>
                <a:moveTo>
                  <a:pt x="335384" y="21164"/>
                </a:moveTo>
                <a:lnTo>
                  <a:pt x="335384" y="37719"/>
                </a:lnTo>
                <a:lnTo>
                  <a:pt x="392172" y="37719"/>
                </a:lnTo>
                <a:lnTo>
                  <a:pt x="392172" y="21164"/>
                </a:lnTo>
                <a:close/>
                <a:moveTo>
                  <a:pt x="1289360" y="20955"/>
                </a:moveTo>
                <a:cubicBezTo>
                  <a:pt x="1287754" y="24098"/>
                  <a:pt x="1285728" y="27800"/>
                  <a:pt x="1283284" y="32061"/>
                </a:cubicBezTo>
                <a:lnTo>
                  <a:pt x="1264738" y="59512"/>
                </a:lnTo>
                <a:lnTo>
                  <a:pt x="1289256" y="59512"/>
                </a:lnTo>
                <a:lnTo>
                  <a:pt x="1289256" y="34575"/>
                </a:lnTo>
                <a:cubicBezTo>
                  <a:pt x="1289256" y="30524"/>
                  <a:pt x="1289466" y="25984"/>
                  <a:pt x="1289884" y="20955"/>
                </a:cubicBezTo>
                <a:close/>
                <a:moveTo>
                  <a:pt x="1625440" y="18126"/>
                </a:moveTo>
                <a:lnTo>
                  <a:pt x="1625440" y="80572"/>
                </a:lnTo>
                <a:lnTo>
                  <a:pt x="1634870" y="80572"/>
                </a:lnTo>
                <a:cubicBezTo>
                  <a:pt x="1644020" y="80572"/>
                  <a:pt x="1650970" y="77778"/>
                  <a:pt x="1655720" y="72190"/>
                </a:cubicBezTo>
                <a:cubicBezTo>
                  <a:pt x="1660260" y="66741"/>
                  <a:pt x="1662530" y="59023"/>
                  <a:pt x="1662530" y="49034"/>
                </a:cubicBezTo>
                <a:cubicBezTo>
                  <a:pt x="1662530" y="28429"/>
                  <a:pt x="1653310" y="18126"/>
                  <a:pt x="1634870" y="18126"/>
                </a:cubicBezTo>
                <a:close/>
                <a:moveTo>
                  <a:pt x="720566" y="18126"/>
                </a:moveTo>
                <a:lnTo>
                  <a:pt x="720566" y="80572"/>
                </a:lnTo>
                <a:lnTo>
                  <a:pt x="729996" y="80572"/>
                </a:lnTo>
                <a:cubicBezTo>
                  <a:pt x="739146" y="80572"/>
                  <a:pt x="746096" y="77778"/>
                  <a:pt x="750846" y="72190"/>
                </a:cubicBezTo>
                <a:cubicBezTo>
                  <a:pt x="755386" y="66741"/>
                  <a:pt x="757656" y="59023"/>
                  <a:pt x="757656" y="49034"/>
                </a:cubicBezTo>
                <a:cubicBezTo>
                  <a:pt x="757656" y="28429"/>
                  <a:pt x="748436" y="18126"/>
                  <a:pt x="729996" y="18126"/>
                </a:cubicBezTo>
                <a:close/>
                <a:moveTo>
                  <a:pt x="482440" y="17916"/>
                </a:moveTo>
                <a:lnTo>
                  <a:pt x="482440" y="43900"/>
                </a:lnTo>
                <a:lnTo>
                  <a:pt x="494176" y="43900"/>
                </a:lnTo>
                <a:cubicBezTo>
                  <a:pt x="507098" y="43900"/>
                  <a:pt x="513558" y="39535"/>
                  <a:pt x="513558" y="30803"/>
                </a:cubicBezTo>
                <a:cubicBezTo>
                  <a:pt x="513558" y="26193"/>
                  <a:pt x="511986" y="22875"/>
                  <a:pt x="508844" y="20850"/>
                </a:cubicBezTo>
                <a:cubicBezTo>
                  <a:pt x="505840" y="18894"/>
                  <a:pt x="501126" y="17916"/>
                  <a:pt x="494700" y="17916"/>
                </a:cubicBezTo>
                <a:close/>
                <a:moveTo>
                  <a:pt x="155694" y="16659"/>
                </a:moveTo>
                <a:cubicBezTo>
                  <a:pt x="159048" y="36077"/>
                  <a:pt x="164636" y="51549"/>
                  <a:pt x="172458" y="63074"/>
                </a:cubicBezTo>
                <a:cubicBezTo>
                  <a:pt x="181540" y="50431"/>
                  <a:pt x="187756" y="34959"/>
                  <a:pt x="191108" y="16659"/>
                </a:cubicBezTo>
                <a:close/>
                <a:moveTo>
                  <a:pt x="1556156" y="16344"/>
                </a:moveTo>
                <a:cubicBezTo>
                  <a:pt x="1552314" y="16344"/>
                  <a:pt x="1549136" y="18021"/>
                  <a:pt x="1546622" y="21374"/>
                </a:cubicBezTo>
                <a:cubicBezTo>
                  <a:pt x="1544036" y="24726"/>
                  <a:pt x="1542744" y="29057"/>
                  <a:pt x="1542744" y="34366"/>
                </a:cubicBezTo>
                <a:cubicBezTo>
                  <a:pt x="1542744" y="39814"/>
                  <a:pt x="1543896" y="44075"/>
                  <a:pt x="1546202" y="47148"/>
                </a:cubicBezTo>
                <a:cubicBezTo>
                  <a:pt x="1548716" y="50431"/>
                  <a:pt x="1552278" y="52073"/>
                  <a:pt x="1556890" y="52073"/>
                </a:cubicBezTo>
                <a:cubicBezTo>
                  <a:pt x="1562896" y="52073"/>
                  <a:pt x="1568414" y="48545"/>
                  <a:pt x="1573444" y="41490"/>
                </a:cubicBezTo>
                <a:cubicBezTo>
                  <a:pt x="1572536" y="24726"/>
                  <a:pt x="1566772" y="16344"/>
                  <a:pt x="1556156" y="16344"/>
                </a:cubicBezTo>
                <a:close/>
                <a:moveTo>
                  <a:pt x="1225504" y="16344"/>
                </a:moveTo>
                <a:cubicBezTo>
                  <a:pt x="1221872" y="16344"/>
                  <a:pt x="1218868" y="17532"/>
                  <a:pt x="1216494" y="19907"/>
                </a:cubicBezTo>
                <a:cubicBezTo>
                  <a:pt x="1214120" y="22352"/>
                  <a:pt x="1212932" y="25460"/>
                  <a:pt x="1212932" y="29232"/>
                </a:cubicBezTo>
                <a:cubicBezTo>
                  <a:pt x="1212932" y="33493"/>
                  <a:pt x="1214748" y="37090"/>
                  <a:pt x="1218380" y="40024"/>
                </a:cubicBezTo>
                <a:cubicBezTo>
                  <a:pt x="1220894" y="42049"/>
                  <a:pt x="1225016" y="44180"/>
                  <a:pt x="1230744" y="46415"/>
                </a:cubicBezTo>
                <a:cubicBezTo>
                  <a:pt x="1236332" y="41665"/>
                  <a:pt x="1239126" y="36356"/>
                  <a:pt x="1239126" y="30489"/>
                </a:cubicBezTo>
                <a:cubicBezTo>
                  <a:pt x="1239126" y="26438"/>
                  <a:pt x="1237938" y="23120"/>
                  <a:pt x="1235564" y="20535"/>
                </a:cubicBezTo>
                <a:cubicBezTo>
                  <a:pt x="1233048" y="17741"/>
                  <a:pt x="1229696" y="16344"/>
                  <a:pt x="1225504" y="16344"/>
                </a:cubicBezTo>
                <a:close/>
                <a:moveTo>
                  <a:pt x="1912018" y="11001"/>
                </a:moveTo>
                <a:lnTo>
                  <a:pt x="1920926" y="11001"/>
                </a:lnTo>
                <a:lnTo>
                  <a:pt x="1949948" y="60664"/>
                </a:lnTo>
                <a:lnTo>
                  <a:pt x="1958226" y="76381"/>
                </a:lnTo>
                <a:lnTo>
                  <a:pt x="1958748" y="76381"/>
                </a:lnTo>
                <a:cubicBezTo>
                  <a:pt x="1957980" y="65135"/>
                  <a:pt x="1957596" y="57172"/>
                  <a:pt x="1957596" y="52492"/>
                </a:cubicBezTo>
                <a:lnTo>
                  <a:pt x="1957596" y="11001"/>
                </a:lnTo>
                <a:lnTo>
                  <a:pt x="1965874" y="11001"/>
                </a:lnTo>
                <a:lnTo>
                  <a:pt x="1965874" y="87696"/>
                </a:lnTo>
                <a:lnTo>
                  <a:pt x="1956862" y="87696"/>
                </a:lnTo>
                <a:lnTo>
                  <a:pt x="1928050" y="38033"/>
                </a:lnTo>
                <a:lnTo>
                  <a:pt x="1919668" y="22317"/>
                </a:lnTo>
                <a:lnTo>
                  <a:pt x="1919144" y="22317"/>
                </a:lnTo>
                <a:cubicBezTo>
                  <a:pt x="1919842" y="35029"/>
                  <a:pt x="1920192" y="42818"/>
                  <a:pt x="1920192" y="45681"/>
                </a:cubicBezTo>
                <a:lnTo>
                  <a:pt x="1920192" y="87696"/>
                </a:lnTo>
                <a:lnTo>
                  <a:pt x="1912018" y="87696"/>
                </a:lnTo>
                <a:close/>
                <a:moveTo>
                  <a:pt x="1807244" y="11001"/>
                </a:moveTo>
                <a:lnTo>
                  <a:pt x="1815940" y="11001"/>
                </a:lnTo>
                <a:lnTo>
                  <a:pt x="1815940" y="87696"/>
                </a:lnTo>
                <a:lnTo>
                  <a:pt x="1807244" y="87696"/>
                </a:lnTo>
                <a:close/>
                <a:moveTo>
                  <a:pt x="1692944" y="11001"/>
                </a:moveTo>
                <a:lnTo>
                  <a:pt x="1736636" y="11001"/>
                </a:lnTo>
                <a:lnTo>
                  <a:pt x="1736636" y="18335"/>
                </a:lnTo>
                <a:lnTo>
                  <a:pt x="1701640" y="18335"/>
                </a:lnTo>
                <a:lnTo>
                  <a:pt x="1701640" y="43586"/>
                </a:lnTo>
                <a:lnTo>
                  <a:pt x="1731082" y="43586"/>
                </a:lnTo>
                <a:lnTo>
                  <a:pt x="1731082" y="50920"/>
                </a:lnTo>
                <a:lnTo>
                  <a:pt x="1701640" y="50920"/>
                </a:lnTo>
                <a:lnTo>
                  <a:pt x="1701640" y="80362"/>
                </a:lnTo>
                <a:lnTo>
                  <a:pt x="1737788" y="80362"/>
                </a:lnTo>
                <a:lnTo>
                  <a:pt x="1737788" y="87696"/>
                </a:lnTo>
                <a:lnTo>
                  <a:pt x="1692944" y="87696"/>
                </a:lnTo>
                <a:close/>
                <a:moveTo>
                  <a:pt x="1616744" y="11001"/>
                </a:moveTo>
                <a:lnTo>
                  <a:pt x="1635604" y="11001"/>
                </a:lnTo>
                <a:cubicBezTo>
                  <a:pt x="1647268" y="11001"/>
                  <a:pt x="1656174" y="14319"/>
                  <a:pt x="1662322" y="20955"/>
                </a:cubicBezTo>
                <a:cubicBezTo>
                  <a:pt x="1668398" y="27520"/>
                  <a:pt x="1671436" y="36880"/>
                  <a:pt x="1671436" y="49034"/>
                </a:cubicBezTo>
                <a:cubicBezTo>
                  <a:pt x="1671436" y="61258"/>
                  <a:pt x="1668434" y="70723"/>
                  <a:pt x="1662426" y="77428"/>
                </a:cubicBezTo>
                <a:cubicBezTo>
                  <a:pt x="1656280" y="84274"/>
                  <a:pt x="1647442" y="87696"/>
                  <a:pt x="1635918" y="87696"/>
                </a:cubicBezTo>
                <a:lnTo>
                  <a:pt x="1616744" y="87696"/>
                </a:lnTo>
                <a:close/>
                <a:moveTo>
                  <a:pt x="1484232" y="11001"/>
                </a:moveTo>
                <a:lnTo>
                  <a:pt x="1520904" y="11001"/>
                </a:lnTo>
                <a:lnTo>
                  <a:pt x="1520904" y="18335"/>
                </a:lnTo>
                <a:lnTo>
                  <a:pt x="1491776" y="18335"/>
                </a:lnTo>
                <a:lnTo>
                  <a:pt x="1489680" y="41595"/>
                </a:lnTo>
                <a:cubicBezTo>
                  <a:pt x="1493522" y="39430"/>
                  <a:pt x="1497504" y="38347"/>
                  <a:pt x="1501624" y="38347"/>
                </a:cubicBezTo>
                <a:cubicBezTo>
                  <a:pt x="1508400" y="38347"/>
                  <a:pt x="1513814" y="40303"/>
                  <a:pt x="1517866" y="44215"/>
                </a:cubicBezTo>
                <a:cubicBezTo>
                  <a:pt x="1522336" y="48545"/>
                  <a:pt x="1524570" y="54762"/>
                  <a:pt x="1524570" y="62865"/>
                </a:cubicBezTo>
                <a:cubicBezTo>
                  <a:pt x="1524570" y="70827"/>
                  <a:pt x="1522022" y="77289"/>
                  <a:pt x="1516922" y="82248"/>
                </a:cubicBezTo>
                <a:cubicBezTo>
                  <a:pt x="1512242" y="86788"/>
                  <a:pt x="1506550" y="89058"/>
                  <a:pt x="1499844" y="89058"/>
                </a:cubicBezTo>
                <a:cubicBezTo>
                  <a:pt x="1490484" y="89058"/>
                  <a:pt x="1482416" y="85671"/>
                  <a:pt x="1475640" y="78895"/>
                </a:cubicBezTo>
                <a:lnTo>
                  <a:pt x="1479936" y="73237"/>
                </a:lnTo>
                <a:cubicBezTo>
                  <a:pt x="1485594" y="79035"/>
                  <a:pt x="1491986" y="81934"/>
                  <a:pt x="1499110" y="81934"/>
                </a:cubicBezTo>
                <a:cubicBezTo>
                  <a:pt x="1503860" y="81934"/>
                  <a:pt x="1507842" y="80222"/>
                  <a:pt x="1511054" y="76800"/>
                </a:cubicBezTo>
                <a:cubicBezTo>
                  <a:pt x="1514338" y="73307"/>
                  <a:pt x="1515980" y="68732"/>
                  <a:pt x="1515980" y="63074"/>
                </a:cubicBezTo>
                <a:cubicBezTo>
                  <a:pt x="1515980" y="57486"/>
                  <a:pt x="1514478" y="53051"/>
                  <a:pt x="1511474" y="49768"/>
                </a:cubicBezTo>
                <a:cubicBezTo>
                  <a:pt x="1508540" y="46555"/>
                  <a:pt x="1504558" y="44948"/>
                  <a:pt x="1499530" y="44948"/>
                </a:cubicBezTo>
                <a:cubicBezTo>
                  <a:pt x="1495478" y="44948"/>
                  <a:pt x="1491148" y="46485"/>
                  <a:pt x="1486538" y="49558"/>
                </a:cubicBezTo>
                <a:lnTo>
                  <a:pt x="1481822" y="46624"/>
                </a:lnTo>
                <a:close/>
                <a:moveTo>
                  <a:pt x="1430216" y="11001"/>
                </a:moveTo>
                <a:lnTo>
                  <a:pt x="1477678" y="11001"/>
                </a:lnTo>
                <a:lnTo>
                  <a:pt x="1477678" y="16135"/>
                </a:lnTo>
                <a:cubicBezTo>
                  <a:pt x="1469158" y="27171"/>
                  <a:pt x="1463254" y="38277"/>
                  <a:pt x="1459972" y="49453"/>
                </a:cubicBezTo>
                <a:cubicBezTo>
                  <a:pt x="1457318" y="58674"/>
                  <a:pt x="1455642" y="71421"/>
                  <a:pt x="1454942" y="87696"/>
                </a:cubicBezTo>
                <a:lnTo>
                  <a:pt x="1446038" y="87696"/>
                </a:lnTo>
                <a:cubicBezTo>
                  <a:pt x="1447224" y="59966"/>
                  <a:pt x="1454488" y="36845"/>
                  <a:pt x="1467830" y="18335"/>
                </a:cubicBezTo>
                <a:lnTo>
                  <a:pt x="1430216" y="18335"/>
                </a:lnTo>
                <a:close/>
                <a:moveTo>
                  <a:pt x="1379458" y="11001"/>
                </a:moveTo>
                <a:lnTo>
                  <a:pt x="1416128" y="11001"/>
                </a:lnTo>
                <a:lnTo>
                  <a:pt x="1416128" y="18335"/>
                </a:lnTo>
                <a:lnTo>
                  <a:pt x="1387002" y="18335"/>
                </a:lnTo>
                <a:lnTo>
                  <a:pt x="1384906" y="41595"/>
                </a:lnTo>
                <a:cubicBezTo>
                  <a:pt x="1388748" y="39430"/>
                  <a:pt x="1392728" y="38347"/>
                  <a:pt x="1396850" y="38347"/>
                </a:cubicBezTo>
                <a:cubicBezTo>
                  <a:pt x="1403626" y="38347"/>
                  <a:pt x="1409038" y="40303"/>
                  <a:pt x="1413090" y="44215"/>
                </a:cubicBezTo>
                <a:cubicBezTo>
                  <a:pt x="1417560" y="48545"/>
                  <a:pt x="1419796" y="54762"/>
                  <a:pt x="1419796" y="62865"/>
                </a:cubicBezTo>
                <a:cubicBezTo>
                  <a:pt x="1419796" y="70827"/>
                  <a:pt x="1417246" y="77289"/>
                  <a:pt x="1412148" y="82248"/>
                </a:cubicBezTo>
                <a:cubicBezTo>
                  <a:pt x="1407468" y="86788"/>
                  <a:pt x="1401774" y="89058"/>
                  <a:pt x="1395068" y="89058"/>
                </a:cubicBezTo>
                <a:cubicBezTo>
                  <a:pt x="1385708" y="89058"/>
                  <a:pt x="1377642" y="85671"/>
                  <a:pt x="1370866" y="78895"/>
                </a:cubicBezTo>
                <a:lnTo>
                  <a:pt x="1375162" y="73237"/>
                </a:lnTo>
                <a:cubicBezTo>
                  <a:pt x="1380820" y="79035"/>
                  <a:pt x="1387210" y="81934"/>
                  <a:pt x="1394336" y="81934"/>
                </a:cubicBezTo>
                <a:cubicBezTo>
                  <a:pt x="1399086" y="81934"/>
                  <a:pt x="1403066" y="80222"/>
                  <a:pt x="1406280" y="76800"/>
                </a:cubicBezTo>
                <a:cubicBezTo>
                  <a:pt x="1409562" y="73307"/>
                  <a:pt x="1411204" y="68732"/>
                  <a:pt x="1411204" y="63074"/>
                </a:cubicBezTo>
                <a:cubicBezTo>
                  <a:pt x="1411204" y="57486"/>
                  <a:pt x="1409702" y="53051"/>
                  <a:pt x="1406698" y="49768"/>
                </a:cubicBezTo>
                <a:cubicBezTo>
                  <a:pt x="1403766" y="46555"/>
                  <a:pt x="1399784" y="44948"/>
                  <a:pt x="1394754" y="44948"/>
                </a:cubicBezTo>
                <a:cubicBezTo>
                  <a:pt x="1390704" y="44948"/>
                  <a:pt x="1386372" y="46485"/>
                  <a:pt x="1381762" y="49558"/>
                </a:cubicBezTo>
                <a:lnTo>
                  <a:pt x="1377048" y="46624"/>
                </a:lnTo>
                <a:close/>
                <a:moveTo>
                  <a:pt x="1288208" y="11001"/>
                </a:moveTo>
                <a:lnTo>
                  <a:pt x="1297324" y="11001"/>
                </a:lnTo>
                <a:lnTo>
                  <a:pt x="1297324" y="59512"/>
                </a:lnTo>
                <a:lnTo>
                  <a:pt x="1307800" y="59512"/>
                </a:lnTo>
                <a:lnTo>
                  <a:pt x="1307800" y="66322"/>
                </a:lnTo>
                <a:lnTo>
                  <a:pt x="1297324" y="66322"/>
                </a:lnTo>
                <a:lnTo>
                  <a:pt x="1297324" y="87696"/>
                </a:lnTo>
                <a:lnTo>
                  <a:pt x="1289256" y="87696"/>
                </a:lnTo>
                <a:lnTo>
                  <a:pt x="1289256" y="66322"/>
                </a:lnTo>
                <a:lnTo>
                  <a:pt x="1255622" y="66322"/>
                </a:lnTo>
                <a:lnTo>
                  <a:pt x="1255622" y="60769"/>
                </a:lnTo>
                <a:close/>
                <a:moveTo>
                  <a:pt x="711870" y="11001"/>
                </a:moveTo>
                <a:lnTo>
                  <a:pt x="730728" y="11001"/>
                </a:lnTo>
                <a:cubicBezTo>
                  <a:pt x="742394" y="11001"/>
                  <a:pt x="751300" y="14319"/>
                  <a:pt x="757446" y="20955"/>
                </a:cubicBezTo>
                <a:cubicBezTo>
                  <a:pt x="763524" y="27520"/>
                  <a:pt x="766562" y="36880"/>
                  <a:pt x="766562" y="49034"/>
                </a:cubicBezTo>
                <a:cubicBezTo>
                  <a:pt x="766562" y="61258"/>
                  <a:pt x="763558" y="70723"/>
                  <a:pt x="757550" y="77428"/>
                </a:cubicBezTo>
                <a:cubicBezTo>
                  <a:pt x="751404" y="84274"/>
                  <a:pt x="742568" y="87696"/>
                  <a:pt x="731042" y="87696"/>
                </a:cubicBezTo>
                <a:lnTo>
                  <a:pt x="711870" y="87696"/>
                </a:lnTo>
                <a:close/>
                <a:moveTo>
                  <a:pt x="473744" y="11001"/>
                </a:moveTo>
                <a:lnTo>
                  <a:pt x="495956" y="11001"/>
                </a:lnTo>
                <a:cubicBezTo>
                  <a:pt x="513418" y="11001"/>
                  <a:pt x="522150" y="17253"/>
                  <a:pt x="522150" y="29756"/>
                </a:cubicBezTo>
                <a:cubicBezTo>
                  <a:pt x="522150" y="38347"/>
                  <a:pt x="518344" y="43900"/>
                  <a:pt x="510730" y="46415"/>
                </a:cubicBezTo>
                <a:lnTo>
                  <a:pt x="510730" y="46834"/>
                </a:lnTo>
                <a:cubicBezTo>
                  <a:pt x="521346" y="48860"/>
                  <a:pt x="526656" y="55006"/>
                  <a:pt x="526656" y="65274"/>
                </a:cubicBezTo>
                <a:cubicBezTo>
                  <a:pt x="526656" y="72539"/>
                  <a:pt x="523966" y="78162"/>
                  <a:pt x="518588" y="82143"/>
                </a:cubicBezTo>
                <a:cubicBezTo>
                  <a:pt x="513488" y="85845"/>
                  <a:pt x="506504" y="87696"/>
                  <a:pt x="497632" y="87696"/>
                </a:cubicBezTo>
                <a:lnTo>
                  <a:pt x="473744" y="87696"/>
                </a:lnTo>
                <a:close/>
                <a:moveTo>
                  <a:pt x="1225714" y="9848"/>
                </a:moveTo>
                <a:cubicBezTo>
                  <a:pt x="1232140" y="9848"/>
                  <a:pt x="1237240" y="11734"/>
                  <a:pt x="1241012" y="15506"/>
                </a:cubicBezTo>
                <a:cubicBezTo>
                  <a:pt x="1244714" y="19208"/>
                  <a:pt x="1246564" y="24063"/>
                  <a:pt x="1246564" y="30070"/>
                </a:cubicBezTo>
                <a:cubicBezTo>
                  <a:pt x="1246564" y="37055"/>
                  <a:pt x="1243106" y="43272"/>
                  <a:pt x="1236192" y="48720"/>
                </a:cubicBezTo>
                <a:lnTo>
                  <a:pt x="1236192" y="49244"/>
                </a:lnTo>
                <a:cubicBezTo>
                  <a:pt x="1244854" y="54273"/>
                  <a:pt x="1249184" y="60979"/>
                  <a:pt x="1249184" y="69361"/>
                </a:cubicBezTo>
                <a:cubicBezTo>
                  <a:pt x="1249184" y="74949"/>
                  <a:pt x="1247018" y="79594"/>
                  <a:pt x="1242688" y="83296"/>
                </a:cubicBezTo>
                <a:cubicBezTo>
                  <a:pt x="1238218" y="87137"/>
                  <a:pt x="1232490" y="89058"/>
                  <a:pt x="1225504" y="89058"/>
                </a:cubicBezTo>
                <a:cubicBezTo>
                  <a:pt x="1218450" y="89058"/>
                  <a:pt x="1212652" y="87137"/>
                  <a:pt x="1208112" y="83296"/>
                </a:cubicBezTo>
                <a:cubicBezTo>
                  <a:pt x="1203502" y="79454"/>
                  <a:pt x="1201196" y="74564"/>
                  <a:pt x="1201196" y="68627"/>
                </a:cubicBezTo>
                <a:cubicBezTo>
                  <a:pt x="1201196" y="59617"/>
                  <a:pt x="1205946" y="52492"/>
                  <a:pt x="1215446" y="47253"/>
                </a:cubicBezTo>
                <a:lnTo>
                  <a:pt x="1215446" y="46834"/>
                </a:lnTo>
                <a:cubicBezTo>
                  <a:pt x="1208532" y="42154"/>
                  <a:pt x="1205074" y="36287"/>
                  <a:pt x="1205074" y="29232"/>
                </a:cubicBezTo>
                <a:cubicBezTo>
                  <a:pt x="1205074" y="23504"/>
                  <a:pt x="1207064" y="18824"/>
                  <a:pt x="1211046" y="15192"/>
                </a:cubicBezTo>
                <a:cubicBezTo>
                  <a:pt x="1214888" y="11630"/>
                  <a:pt x="1219778" y="9848"/>
                  <a:pt x="1225714" y="9848"/>
                </a:cubicBezTo>
                <a:close/>
                <a:moveTo>
                  <a:pt x="1866098" y="9639"/>
                </a:moveTo>
                <a:cubicBezTo>
                  <a:pt x="1874620" y="9639"/>
                  <a:pt x="1881920" y="12747"/>
                  <a:pt x="1887998" y="18964"/>
                </a:cubicBezTo>
                <a:lnTo>
                  <a:pt x="1883178" y="24622"/>
                </a:lnTo>
                <a:cubicBezTo>
                  <a:pt x="1878568" y="19732"/>
                  <a:pt x="1872944" y="17287"/>
                  <a:pt x="1866308" y="17287"/>
                </a:cubicBezTo>
                <a:cubicBezTo>
                  <a:pt x="1858346" y="17287"/>
                  <a:pt x="1852024" y="20116"/>
                  <a:pt x="1847344" y="25774"/>
                </a:cubicBezTo>
                <a:cubicBezTo>
                  <a:pt x="1842594" y="31502"/>
                  <a:pt x="1840220" y="39290"/>
                  <a:pt x="1840220" y="49139"/>
                </a:cubicBezTo>
                <a:cubicBezTo>
                  <a:pt x="1840220" y="59128"/>
                  <a:pt x="1842490" y="66986"/>
                  <a:pt x="1847030" y="72713"/>
                </a:cubicBezTo>
                <a:cubicBezTo>
                  <a:pt x="1851640" y="78511"/>
                  <a:pt x="1858066" y="81410"/>
                  <a:pt x="1866308" y="81410"/>
                </a:cubicBezTo>
                <a:cubicBezTo>
                  <a:pt x="1872664" y="81410"/>
                  <a:pt x="1877520" y="79803"/>
                  <a:pt x="1880872" y="76590"/>
                </a:cubicBezTo>
                <a:lnTo>
                  <a:pt x="1880872" y="55635"/>
                </a:lnTo>
                <a:lnTo>
                  <a:pt x="1864214" y="55635"/>
                </a:lnTo>
                <a:lnTo>
                  <a:pt x="1864214" y="48406"/>
                </a:lnTo>
                <a:lnTo>
                  <a:pt x="1888940" y="48406"/>
                </a:lnTo>
                <a:lnTo>
                  <a:pt x="1888940" y="80257"/>
                </a:lnTo>
                <a:cubicBezTo>
                  <a:pt x="1883282" y="86125"/>
                  <a:pt x="1875458" y="89058"/>
                  <a:pt x="1865470" y="89058"/>
                </a:cubicBezTo>
                <a:cubicBezTo>
                  <a:pt x="1855272" y="89058"/>
                  <a:pt x="1847066" y="85531"/>
                  <a:pt x="1840848" y="78476"/>
                </a:cubicBezTo>
                <a:cubicBezTo>
                  <a:pt x="1834492" y="71281"/>
                  <a:pt x="1831314" y="61572"/>
                  <a:pt x="1831314" y="49349"/>
                </a:cubicBezTo>
                <a:cubicBezTo>
                  <a:pt x="1831314" y="37195"/>
                  <a:pt x="1834596" y="27486"/>
                  <a:pt x="1841162" y="20221"/>
                </a:cubicBezTo>
                <a:cubicBezTo>
                  <a:pt x="1847518" y="13166"/>
                  <a:pt x="1855830" y="9639"/>
                  <a:pt x="1866098" y="9639"/>
                </a:cubicBezTo>
                <a:close/>
                <a:moveTo>
                  <a:pt x="1771888" y="9639"/>
                </a:moveTo>
                <a:cubicBezTo>
                  <a:pt x="1780828" y="9639"/>
                  <a:pt x="1788266" y="12782"/>
                  <a:pt x="1794204" y="19069"/>
                </a:cubicBezTo>
                <a:lnTo>
                  <a:pt x="1789594" y="24622"/>
                </a:lnTo>
                <a:cubicBezTo>
                  <a:pt x="1784496" y="19732"/>
                  <a:pt x="1778592" y="17287"/>
                  <a:pt x="1771888" y="17287"/>
                </a:cubicBezTo>
                <a:cubicBezTo>
                  <a:pt x="1767416" y="17287"/>
                  <a:pt x="1763820" y="18335"/>
                  <a:pt x="1761096" y="20431"/>
                </a:cubicBezTo>
                <a:cubicBezTo>
                  <a:pt x="1758372" y="22596"/>
                  <a:pt x="1757010" y="25460"/>
                  <a:pt x="1757010" y="29022"/>
                </a:cubicBezTo>
                <a:cubicBezTo>
                  <a:pt x="1757010" y="32515"/>
                  <a:pt x="1758406" y="35414"/>
                  <a:pt x="1761200" y="37719"/>
                </a:cubicBezTo>
                <a:cubicBezTo>
                  <a:pt x="1762806" y="39046"/>
                  <a:pt x="1765670" y="40582"/>
                  <a:pt x="1769792" y="42329"/>
                </a:cubicBezTo>
                <a:lnTo>
                  <a:pt x="1780898" y="47044"/>
                </a:lnTo>
                <a:cubicBezTo>
                  <a:pt x="1791516" y="51723"/>
                  <a:pt x="1796824" y="58569"/>
                  <a:pt x="1796824" y="67579"/>
                </a:cubicBezTo>
                <a:cubicBezTo>
                  <a:pt x="1796824" y="73726"/>
                  <a:pt x="1794518" y="78825"/>
                  <a:pt x="1789908" y="82877"/>
                </a:cubicBezTo>
                <a:cubicBezTo>
                  <a:pt x="1785088" y="86998"/>
                  <a:pt x="1778802" y="89058"/>
                  <a:pt x="1771050" y="89058"/>
                </a:cubicBezTo>
                <a:cubicBezTo>
                  <a:pt x="1760432" y="89058"/>
                  <a:pt x="1751562" y="85251"/>
                  <a:pt x="1744436" y="77638"/>
                </a:cubicBezTo>
                <a:lnTo>
                  <a:pt x="1749674" y="71666"/>
                </a:lnTo>
                <a:cubicBezTo>
                  <a:pt x="1755682" y="78162"/>
                  <a:pt x="1762842" y="81410"/>
                  <a:pt x="1771154" y="81410"/>
                </a:cubicBezTo>
                <a:cubicBezTo>
                  <a:pt x="1776322" y="81410"/>
                  <a:pt x="1780444" y="80187"/>
                  <a:pt x="1783518" y="77743"/>
                </a:cubicBezTo>
                <a:cubicBezTo>
                  <a:pt x="1786520" y="75368"/>
                  <a:pt x="1788022" y="72190"/>
                  <a:pt x="1788022" y="68208"/>
                </a:cubicBezTo>
                <a:cubicBezTo>
                  <a:pt x="1788022" y="64506"/>
                  <a:pt x="1786766" y="61502"/>
                  <a:pt x="1784250" y="59197"/>
                </a:cubicBezTo>
                <a:cubicBezTo>
                  <a:pt x="1782644" y="57800"/>
                  <a:pt x="1779536" y="56089"/>
                  <a:pt x="1774926" y="54063"/>
                </a:cubicBezTo>
                <a:lnTo>
                  <a:pt x="1763820" y="49139"/>
                </a:lnTo>
                <a:cubicBezTo>
                  <a:pt x="1753412" y="44669"/>
                  <a:pt x="1748208" y="38173"/>
                  <a:pt x="1748208" y="29651"/>
                </a:cubicBezTo>
                <a:cubicBezTo>
                  <a:pt x="1748208" y="23853"/>
                  <a:pt x="1750444" y="19069"/>
                  <a:pt x="1754914" y="15297"/>
                </a:cubicBezTo>
                <a:cubicBezTo>
                  <a:pt x="1759384" y="11525"/>
                  <a:pt x="1765042" y="9639"/>
                  <a:pt x="1771888" y="9639"/>
                </a:cubicBezTo>
                <a:close/>
                <a:moveTo>
                  <a:pt x="1556156" y="9639"/>
                </a:moveTo>
                <a:cubicBezTo>
                  <a:pt x="1563838" y="9639"/>
                  <a:pt x="1569916" y="12677"/>
                  <a:pt x="1574386" y="18754"/>
                </a:cubicBezTo>
                <a:cubicBezTo>
                  <a:pt x="1579206" y="25111"/>
                  <a:pt x="1581616" y="34121"/>
                  <a:pt x="1581616" y="45786"/>
                </a:cubicBezTo>
                <a:cubicBezTo>
                  <a:pt x="1581616" y="60455"/>
                  <a:pt x="1578822" y="71596"/>
                  <a:pt x="1573234" y="79209"/>
                </a:cubicBezTo>
                <a:cubicBezTo>
                  <a:pt x="1568344" y="85775"/>
                  <a:pt x="1561954" y="89058"/>
                  <a:pt x="1554060" y="89058"/>
                </a:cubicBezTo>
                <a:cubicBezTo>
                  <a:pt x="1546936" y="89058"/>
                  <a:pt x="1540928" y="86509"/>
                  <a:pt x="1536038" y="81410"/>
                </a:cubicBezTo>
                <a:lnTo>
                  <a:pt x="1540754" y="76066"/>
                </a:lnTo>
                <a:cubicBezTo>
                  <a:pt x="1544316" y="79978"/>
                  <a:pt x="1548682" y="81934"/>
                  <a:pt x="1553850" y="81934"/>
                </a:cubicBezTo>
                <a:cubicBezTo>
                  <a:pt x="1559368" y="81934"/>
                  <a:pt x="1563804" y="79489"/>
                  <a:pt x="1567158" y="74599"/>
                </a:cubicBezTo>
                <a:cubicBezTo>
                  <a:pt x="1571068" y="68942"/>
                  <a:pt x="1573198" y="60315"/>
                  <a:pt x="1573548" y="48720"/>
                </a:cubicBezTo>
                <a:cubicBezTo>
                  <a:pt x="1568240" y="55216"/>
                  <a:pt x="1562232" y="58464"/>
                  <a:pt x="1555526" y="58464"/>
                </a:cubicBezTo>
                <a:cubicBezTo>
                  <a:pt x="1549030" y="58464"/>
                  <a:pt x="1543932" y="56438"/>
                  <a:pt x="1540230" y="52387"/>
                </a:cubicBezTo>
                <a:cubicBezTo>
                  <a:pt x="1536458" y="48126"/>
                  <a:pt x="1534572" y="42119"/>
                  <a:pt x="1534572" y="34366"/>
                </a:cubicBezTo>
                <a:cubicBezTo>
                  <a:pt x="1534572" y="27171"/>
                  <a:pt x="1536702" y="21199"/>
                  <a:pt x="1540964" y="16449"/>
                </a:cubicBezTo>
                <a:cubicBezTo>
                  <a:pt x="1545084" y="11909"/>
                  <a:pt x="1550148" y="9639"/>
                  <a:pt x="1556156" y="9639"/>
                </a:cubicBezTo>
                <a:close/>
                <a:moveTo>
                  <a:pt x="194356" y="9639"/>
                </a:moveTo>
                <a:lnTo>
                  <a:pt x="198652" y="11001"/>
                </a:lnTo>
                <a:cubicBezTo>
                  <a:pt x="195160" y="34680"/>
                  <a:pt x="187826" y="53959"/>
                  <a:pt x="176650" y="68837"/>
                </a:cubicBezTo>
                <a:cubicBezTo>
                  <a:pt x="182866" y="76660"/>
                  <a:pt x="191354" y="83889"/>
                  <a:pt x="202110" y="90525"/>
                </a:cubicBezTo>
                <a:cubicBezTo>
                  <a:pt x="199944" y="92132"/>
                  <a:pt x="198304" y="94018"/>
                  <a:pt x="197186" y="96183"/>
                </a:cubicBezTo>
                <a:cubicBezTo>
                  <a:pt x="186638" y="89338"/>
                  <a:pt x="178292" y="82108"/>
                  <a:pt x="172144" y="74495"/>
                </a:cubicBezTo>
                <a:cubicBezTo>
                  <a:pt x="164112" y="83645"/>
                  <a:pt x="154682" y="90665"/>
                  <a:pt x="143856" y="95554"/>
                </a:cubicBezTo>
                <a:cubicBezTo>
                  <a:pt x="142668" y="93179"/>
                  <a:pt x="141236" y="91259"/>
                  <a:pt x="139560" y="89792"/>
                </a:cubicBezTo>
                <a:cubicBezTo>
                  <a:pt x="150246" y="85391"/>
                  <a:pt x="159712" y="78406"/>
                  <a:pt x="167954" y="68837"/>
                </a:cubicBezTo>
                <a:cubicBezTo>
                  <a:pt x="159362" y="56264"/>
                  <a:pt x="153146" y="38871"/>
                  <a:pt x="149304" y="16659"/>
                </a:cubicBezTo>
                <a:lnTo>
                  <a:pt x="145322" y="16659"/>
                </a:lnTo>
                <a:lnTo>
                  <a:pt x="145322" y="9953"/>
                </a:lnTo>
                <a:lnTo>
                  <a:pt x="193100" y="9953"/>
                </a:lnTo>
                <a:close/>
                <a:moveTo>
                  <a:pt x="1337918" y="9534"/>
                </a:moveTo>
                <a:cubicBezTo>
                  <a:pt x="1344414" y="9604"/>
                  <a:pt x="1349618" y="11280"/>
                  <a:pt x="1353530" y="14563"/>
                </a:cubicBezTo>
                <a:cubicBezTo>
                  <a:pt x="1357652" y="17986"/>
                  <a:pt x="1359712" y="22666"/>
                  <a:pt x="1359712" y="28603"/>
                </a:cubicBezTo>
                <a:cubicBezTo>
                  <a:pt x="1359712" y="37753"/>
                  <a:pt x="1355136" y="43970"/>
                  <a:pt x="1345986" y="47253"/>
                </a:cubicBezTo>
                <a:lnTo>
                  <a:pt x="1345986" y="47672"/>
                </a:lnTo>
                <a:cubicBezTo>
                  <a:pt x="1350736" y="48790"/>
                  <a:pt x="1354578" y="50990"/>
                  <a:pt x="1357512" y="54273"/>
                </a:cubicBezTo>
                <a:cubicBezTo>
                  <a:pt x="1360724" y="57835"/>
                  <a:pt x="1362332" y="62166"/>
                  <a:pt x="1362332" y="67265"/>
                </a:cubicBezTo>
                <a:cubicBezTo>
                  <a:pt x="1362332" y="73901"/>
                  <a:pt x="1359992" y="79244"/>
                  <a:pt x="1355312" y="83296"/>
                </a:cubicBezTo>
                <a:cubicBezTo>
                  <a:pt x="1350842" y="87137"/>
                  <a:pt x="1345148" y="89058"/>
                  <a:pt x="1338234" y="89058"/>
                </a:cubicBezTo>
                <a:cubicBezTo>
                  <a:pt x="1328454" y="89058"/>
                  <a:pt x="1320352" y="85566"/>
                  <a:pt x="1313926" y="78581"/>
                </a:cubicBezTo>
                <a:lnTo>
                  <a:pt x="1318326" y="73028"/>
                </a:lnTo>
                <a:cubicBezTo>
                  <a:pt x="1324124" y="78965"/>
                  <a:pt x="1330584" y="81934"/>
                  <a:pt x="1337710" y="81934"/>
                </a:cubicBezTo>
                <a:cubicBezTo>
                  <a:pt x="1342458" y="81934"/>
                  <a:pt x="1346300" y="80606"/>
                  <a:pt x="1349234" y="77952"/>
                </a:cubicBezTo>
                <a:cubicBezTo>
                  <a:pt x="1352238" y="75158"/>
                  <a:pt x="1353740" y="71526"/>
                  <a:pt x="1353740" y="67056"/>
                </a:cubicBezTo>
                <a:cubicBezTo>
                  <a:pt x="1353740" y="56438"/>
                  <a:pt x="1345638" y="51130"/>
                  <a:pt x="1329432" y="51130"/>
                </a:cubicBezTo>
                <a:lnTo>
                  <a:pt x="1329432" y="44424"/>
                </a:lnTo>
                <a:cubicBezTo>
                  <a:pt x="1343822" y="44424"/>
                  <a:pt x="1351016" y="39360"/>
                  <a:pt x="1351016" y="29232"/>
                </a:cubicBezTo>
                <a:cubicBezTo>
                  <a:pt x="1351016" y="25390"/>
                  <a:pt x="1349828" y="22317"/>
                  <a:pt x="1347454" y="20012"/>
                </a:cubicBezTo>
                <a:cubicBezTo>
                  <a:pt x="1345008" y="17707"/>
                  <a:pt x="1341726" y="16519"/>
                  <a:pt x="1337604" y="16449"/>
                </a:cubicBezTo>
                <a:cubicBezTo>
                  <a:pt x="1331806" y="16519"/>
                  <a:pt x="1326428" y="19104"/>
                  <a:pt x="1321470" y="24203"/>
                </a:cubicBezTo>
                <a:lnTo>
                  <a:pt x="1316754" y="18650"/>
                </a:lnTo>
                <a:cubicBezTo>
                  <a:pt x="1323320" y="12642"/>
                  <a:pt x="1330374" y="9604"/>
                  <a:pt x="1337918" y="9534"/>
                </a:cubicBezTo>
                <a:close/>
                <a:moveTo>
                  <a:pt x="1101660" y="4295"/>
                </a:moveTo>
                <a:lnTo>
                  <a:pt x="1110148" y="4295"/>
                </a:lnTo>
                <a:lnTo>
                  <a:pt x="1110148" y="77952"/>
                </a:lnTo>
                <a:cubicBezTo>
                  <a:pt x="1110148" y="80606"/>
                  <a:pt x="1111020" y="81934"/>
                  <a:pt x="1112766" y="81934"/>
                </a:cubicBezTo>
                <a:cubicBezTo>
                  <a:pt x="1113396" y="81934"/>
                  <a:pt x="1114058" y="81864"/>
                  <a:pt x="1114758" y="81724"/>
                </a:cubicBezTo>
                <a:lnTo>
                  <a:pt x="1116014" y="88325"/>
                </a:lnTo>
                <a:cubicBezTo>
                  <a:pt x="1114408" y="88814"/>
                  <a:pt x="1112696" y="89058"/>
                  <a:pt x="1110880" y="89058"/>
                </a:cubicBezTo>
                <a:cubicBezTo>
                  <a:pt x="1104734" y="89058"/>
                  <a:pt x="1101660" y="85147"/>
                  <a:pt x="1101660" y="77324"/>
                </a:cubicBezTo>
                <a:close/>
                <a:moveTo>
                  <a:pt x="539686" y="4295"/>
                </a:moveTo>
                <a:lnTo>
                  <a:pt x="548172" y="4295"/>
                </a:lnTo>
                <a:lnTo>
                  <a:pt x="548172" y="77952"/>
                </a:lnTo>
                <a:cubicBezTo>
                  <a:pt x="548172" y="80606"/>
                  <a:pt x="549046" y="81934"/>
                  <a:pt x="550792" y="81934"/>
                </a:cubicBezTo>
                <a:cubicBezTo>
                  <a:pt x="551420" y="81934"/>
                  <a:pt x="552084" y="81864"/>
                  <a:pt x="552782" y="81724"/>
                </a:cubicBezTo>
                <a:lnTo>
                  <a:pt x="554040" y="88325"/>
                </a:lnTo>
                <a:cubicBezTo>
                  <a:pt x="552434" y="88814"/>
                  <a:pt x="550722" y="89058"/>
                  <a:pt x="548906" y="89058"/>
                </a:cubicBezTo>
                <a:cubicBezTo>
                  <a:pt x="542758" y="89058"/>
                  <a:pt x="539686" y="85147"/>
                  <a:pt x="539686" y="77324"/>
                </a:cubicBezTo>
                <a:close/>
                <a:moveTo>
                  <a:pt x="1090374" y="2933"/>
                </a:moveTo>
                <a:cubicBezTo>
                  <a:pt x="1093586" y="2933"/>
                  <a:pt x="1096626" y="3562"/>
                  <a:pt x="1099488" y="4819"/>
                </a:cubicBezTo>
                <a:lnTo>
                  <a:pt x="1097602" y="11420"/>
                </a:lnTo>
                <a:cubicBezTo>
                  <a:pt x="1095438" y="10372"/>
                  <a:pt x="1093272" y="9848"/>
                  <a:pt x="1091106" y="9848"/>
                </a:cubicBezTo>
                <a:cubicBezTo>
                  <a:pt x="1085658" y="9848"/>
                  <a:pt x="1082934" y="13690"/>
                  <a:pt x="1082934" y="21374"/>
                </a:cubicBezTo>
                <a:lnTo>
                  <a:pt x="1082934" y="31118"/>
                </a:lnTo>
                <a:lnTo>
                  <a:pt x="1095088" y="31118"/>
                </a:lnTo>
                <a:lnTo>
                  <a:pt x="1095088" y="38138"/>
                </a:lnTo>
                <a:lnTo>
                  <a:pt x="1082934" y="38138"/>
                </a:lnTo>
                <a:lnTo>
                  <a:pt x="1082934" y="87696"/>
                </a:lnTo>
                <a:lnTo>
                  <a:pt x="1074342" y="87696"/>
                </a:lnTo>
                <a:lnTo>
                  <a:pt x="1074342" y="38138"/>
                </a:lnTo>
                <a:lnTo>
                  <a:pt x="1066590" y="38138"/>
                </a:lnTo>
                <a:lnTo>
                  <a:pt x="1066590" y="31642"/>
                </a:lnTo>
                <a:lnTo>
                  <a:pt x="1074342" y="31118"/>
                </a:lnTo>
                <a:lnTo>
                  <a:pt x="1074342" y="21269"/>
                </a:lnTo>
                <a:cubicBezTo>
                  <a:pt x="1074342" y="9045"/>
                  <a:pt x="1079686" y="2933"/>
                  <a:pt x="1090374" y="2933"/>
                </a:cubicBezTo>
                <a:close/>
                <a:moveTo>
                  <a:pt x="90524" y="1047"/>
                </a:moveTo>
                <a:lnTo>
                  <a:pt x="95134" y="7019"/>
                </a:lnTo>
                <a:cubicBezTo>
                  <a:pt x="83750" y="9674"/>
                  <a:pt x="69954" y="11665"/>
                  <a:pt x="53748" y="12992"/>
                </a:cubicBezTo>
                <a:lnTo>
                  <a:pt x="53748" y="30908"/>
                </a:lnTo>
                <a:lnTo>
                  <a:pt x="88010" y="30908"/>
                </a:lnTo>
                <a:lnTo>
                  <a:pt x="89268" y="30594"/>
                </a:lnTo>
                <a:lnTo>
                  <a:pt x="93354" y="31851"/>
                </a:lnTo>
                <a:cubicBezTo>
                  <a:pt x="90840" y="49244"/>
                  <a:pt x="85670" y="63598"/>
                  <a:pt x="77846" y="74914"/>
                </a:cubicBezTo>
                <a:cubicBezTo>
                  <a:pt x="83016" y="81829"/>
                  <a:pt x="89302" y="86928"/>
                  <a:pt x="96706" y="90211"/>
                </a:cubicBezTo>
                <a:cubicBezTo>
                  <a:pt x="94680" y="91957"/>
                  <a:pt x="93110" y="93843"/>
                  <a:pt x="91992" y="95869"/>
                </a:cubicBezTo>
                <a:cubicBezTo>
                  <a:pt x="84798" y="92097"/>
                  <a:pt x="78720" y="86893"/>
                  <a:pt x="73760" y="80257"/>
                </a:cubicBezTo>
                <a:cubicBezTo>
                  <a:pt x="68172" y="86893"/>
                  <a:pt x="61642" y="92097"/>
                  <a:pt x="54168" y="95869"/>
                </a:cubicBezTo>
                <a:cubicBezTo>
                  <a:pt x="53050" y="93773"/>
                  <a:pt x="51654" y="91887"/>
                  <a:pt x="49976" y="90211"/>
                </a:cubicBezTo>
                <a:cubicBezTo>
                  <a:pt x="57520" y="86858"/>
                  <a:pt x="64122" y="81619"/>
                  <a:pt x="69780" y="74495"/>
                </a:cubicBezTo>
                <a:cubicBezTo>
                  <a:pt x="63982" y="64785"/>
                  <a:pt x="59512" y="52387"/>
                  <a:pt x="56368" y="37299"/>
                </a:cubicBezTo>
                <a:lnTo>
                  <a:pt x="53748" y="37299"/>
                </a:lnTo>
                <a:lnTo>
                  <a:pt x="53748" y="43586"/>
                </a:lnTo>
                <a:cubicBezTo>
                  <a:pt x="53748" y="67335"/>
                  <a:pt x="50360" y="84832"/>
                  <a:pt x="43586" y="96078"/>
                </a:cubicBezTo>
                <a:cubicBezTo>
                  <a:pt x="41978" y="94472"/>
                  <a:pt x="40128" y="93179"/>
                  <a:pt x="38032" y="92202"/>
                </a:cubicBezTo>
                <a:cubicBezTo>
                  <a:pt x="44110" y="81724"/>
                  <a:pt x="47148" y="65519"/>
                  <a:pt x="47148" y="43586"/>
                </a:cubicBezTo>
                <a:lnTo>
                  <a:pt x="47148" y="7543"/>
                </a:lnTo>
                <a:cubicBezTo>
                  <a:pt x="66148" y="5867"/>
                  <a:pt x="80606" y="3702"/>
                  <a:pt x="90524" y="1047"/>
                </a:cubicBezTo>
                <a:close/>
                <a:moveTo>
                  <a:pt x="254602" y="209"/>
                </a:moveTo>
                <a:lnTo>
                  <a:pt x="261832" y="209"/>
                </a:lnTo>
                <a:lnTo>
                  <a:pt x="261832" y="12992"/>
                </a:lnTo>
                <a:lnTo>
                  <a:pt x="300284" y="12992"/>
                </a:lnTo>
                <a:lnTo>
                  <a:pt x="300284" y="19697"/>
                </a:lnTo>
                <a:lnTo>
                  <a:pt x="261832" y="19697"/>
                </a:lnTo>
                <a:lnTo>
                  <a:pt x="261832" y="46520"/>
                </a:lnTo>
                <a:lnTo>
                  <a:pt x="304580" y="46520"/>
                </a:lnTo>
                <a:lnTo>
                  <a:pt x="304580" y="53120"/>
                </a:lnTo>
                <a:lnTo>
                  <a:pt x="266862" y="53120"/>
                </a:lnTo>
                <a:cubicBezTo>
                  <a:pt x="277828" y="67859"/>
                  <a:pt x="291134" y="78651"/>
                  <a:pt x="306780" y="85496"/>
                </a:cubicBezTo>
                <a:cubicBezTo>
                  <a:pt x="305174" y="86893"/>
                  <a:pt x="303568" y="88814"/>
                  <a:pt x="301960" y="91259"/>
                </a:cubicBezTo>
                <a:cubicBezTo>
                  <a:pt x="286244" y="83505"/>
                  <a:pt x="272868" y="71910"/>
                  <a:pt x="261832" y="56473"/>
                </a:cubicBezTo>
                <a:lnTo>
                  <a:pt x="261832" y="95554"/>
                </a:lnTo>
                <a:lnTo>
                  <a:pt x="254602" y="95554"/>
                </a:lnTo>
                <a:lnTo>
                  <a:pt x="254602" y="56788"/>
                </a:lnTo>
                <a:cubicBezTo>
                  <a:pt x="243916" y="71666"/>
                  <a:pt x="230714" y="83051"/>
                  <a:pt x="214998" y="90944"/>
                </a:cubicBezTo>
                <a:cubicBezTo>
                  <a:pt x="213530" y="88709"/>
                  <a:pt x="211890" y="86788"/>
                  <a:pt x="210074" y="85182"/>
                </a:cubicBezTo>
                <a:cubicBezTo>
                  <a:pt x="225860" y="78406"/>
                  <a:pt x="239060" y="67719"/>
                  <a:pt x="249678" y="53120"/>
                </a:cubicBezTo>
                <a:lnTo>
                  <a:pt x="212168" y="53120"/>
                </a:lnTo>
                <a:lnTo>
                  <a:pt x="212168" y="46520"/>
                </a:lnTo>
                <a:lnTo>
                  <a:pt x="254602" y="46520"/>
                </a:lnTo>
                <a:lnTo>
                  <a:pt x="254602" y="19697"/>
                </a:lnTo>
                <a:lnTo>
                  <a:pt x="217198" y="19697"/>
                </a:lnTo>
                <a:lnTo>
                  <a:pt x="217198" y="12992"/>
                </a:lnTo>
                <a:lnTo>
                  <a:pt x="254602" y="12992"/>
                </a:lnTo>
                <a:close/>
                <a:moveTo>
                  <a:pt x="124052" y="104"/>
                </a:moveTo>
                <a:lnTo>
                  <a:pt x="130864" y="104"/>
                </a:lnTo>
                <a:lnTo>
                  <a:pt x="130864" y="22526"/>
                </a:lnTo>
                <a:lnTo>
                  <a:pt x="145112" y="22526"/>
                </a:lnTo>
                <a:lnTo>
                  <a:pt x="145112" y="29127"/>
                </a:lnTo>
                <a:lnTo>
                  <a:pt x="130864" y="29127"/>
                </a:lnTo>
                <a:lnTo>
                  <a:pt x="130864" y="33318"/>
                </a:lnTo>
                <a:cubicBezTo>
                  <a:pt x="134216" y="36671"/>
                  <a:pt x="140084" y="43411"/>
                  <a:pt x="148466" y="53540"/>
                </a:cubicBezTo>
                <a:lnTo>
                  <a:pt x="144064" y="59721"/>
                </a:lnTo>
                <a:cubicBezTo>
                  <a:pt x="141132" y="54972"/>
                  <a:pt x="136730" y="48860"/>
                  <a:pt x="130864" y="41386"/>
                </a:cubicBezTo>
                <a:lnTo>
                  <a:pt x="130864" y="95450"/>
                </a:lnTo>
                <a:lnTo>
                  <a:pt x="124052" y="95450"/>
                </a:lnTo>
                <a:lnTo>
                  <a:pt x="124052" y="41281"/>
                </a:lnTo>
                <a:cubicBezTo>
                  <a:pt x="119302" y="56508"/>
                  <a:pt x="113854" y="68173"/>
                  <a:pt x="107708" y="76276"/>
                </a:cubicBezTo>
                <a:cubicBezTo>
                  <a:pt x="106660" y="73831"/>
                  <a:pt x="105264" y="71596"/>
                  <a:pt x="103516" y="69570"/>
                </a:cubicBezTo>
                <a:cubicBezTo>
                  <a:pt x="111550" y="60071"/>
                  <a:pt x="117732" y="46590"/>
                  <a:pt x="122062" y="29127"/>
                </a:cubicBezTo>
                <a:lnTo>
                  <a:pt x="106346" y="29127"/>
                </a:lnTo>
                <a:lnTo>
                  <a:pt x="106346" y="22526"/>
                </a:lnTo>
                <a:lnTo>
                  <a:pt x="124052" y="22526"/>
                </a:lnTo>
                <a:close/>
                <a:moveTo>
                  <a:pt x="358958" y="0"/>
                </a:moveTo>
                <a:lnTo>
                  <a:pt x="366816" y="1152"/>
                </a:lnTo>
                <a:cubicBezTo>
                  <a:pt x="364930" y="6461"/>
                  <a:pt x="363184" y="10896"/>
                  <a:pt x="361578" y="14459"/>
                </a:cubicBezTo>
                <a:lnTo>
                  <a:pt x="399402" y="14459"/>
                </a:lnTo>
                <a:lnTo>
                  <a:pt x="399402" y="95240"/>
                </a:lnTo>
                <a:lnTo>
                  <a:pt x="392172" y="95240"/>
                </a:lnTo>
                <a:lnTo>
                  <a:pt x="392172" y="89792"/>
                </a:lnTo>
                <a:lnTo>
                  <a:pt x="335384" y="89792"/>
                </a:lnTo>
                <a:lnTo>
                  <a:pt x="335384" y="95764"/>
                </a:lnTo>
                <a:lnTo>
                  <a:pt x="328364" y="95764"/>
                </a:lnTo>
                <a:lnTo>
                  <a:pt x="328364" y="14459"/>
                </a:lnTo>
                <a:lnTo>
                  <a:pt x="354558" y="14459"/>
                </a:lnTo>
                <a:cubicBezTo>
                  <a:pt x="356304" y="9988"/>
                  <a:pt x="357770" y="5168"/>
                  <a:pt x="358958" y="0"/>
                </a:cubicBezTo>
                <a:close/>
                <a:moveTo>
                  <a:pt x="26298" y="0"/>
                </a:moveTo>
                <a:lnTo>
                  <a:pt x="32688" y="0"/>
                </a:lnTo>
                <a:lnTo>
                  <a:pt x="32688" y="29337"/>
                </a:lnTo>
                <a:lnTo>
                  <a:pt x="42224" y="29337"/>
                </a:lnTo>
                <a:lnTo>
                  <a:pt x="42224" y="35623"/>
                </a:lnTo>
                <a:lnTo>
                  <a:pt x="14354" y="35623"/>
                </a:lnTo>
                <a:lnTo>
                  <a:pt x="14354" y="43796"/>
                </a:lnTo>
                <a:cubicBezTo>
                  <a:pt x="14354" y="47078"/>
                  <a:pt x="14318" y="49558"/>
                  <a:pt x="14248" y="51235"/>
                </a:cubicBezTo>
                <a:lnTo>
                  <a:pt x="35728" y="51235"/>
                </a:lnTo>
                <a:lnTo>
                  <a:pt x="35728" y="95554"/>
                </a:lnTo>
                <a:lnTo>
                  <a:pt x="29336" y="95554"/>
                </a:lnTo>
                <a:lnTo>
                  <a:pt x="29336" y="57521"/>
                </a:lnTo>
                <a:lnTo>
                  <a:pt x="14038" y="57521"/>
                </a:lnTo>
                <a:cubicBezTo>
                  <a:pt x="13130" y="74006"/>
                  <a:pt x="10128" y="86788"/>
                  <a:pt x="5028" y="95869"/>
                </a:cubicBezTo>
                <a:cubicBezTo>
                  <a:pt x="3632" y="94332"/>
                  <a:pt x="1954" y="92935"/>
                  <a:pt x="0" y="91678"/>
                </a:cubicBezTo>
                <a:cubicBezTo>
                  <a:pt x="5238" y="81549"/>
                  <a:pt x="7858" y="65589"/>
                  <a:pt x="7858" y="43796"/>
                </a:cubicBezTo>
                <a:lnTo>
                  <a:pt x="7858" y="2305"/>
                </a:lnTo>
                <a:lnTo>
                  <a:pt x="14354" y="2305"/>
                </a:lnTo>
                <a:lnTo>
                  <a:pt x="14354" y="29337"/>
                </a:lnTo>
                <a:lnTo>
                  <a:pt x="26298" y="29337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pPr fontAlgn="base"/>
            <a:endParaRPr lang="zh-CN" altLang="en-US" sz="800" dirty="0">
              <a:solidFill>
                <a:schemeClr val="bg1"/>
              </a:solidFill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-401932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CCD1D4"/>
                </a:solidFill>
              </a:rPr>
              <a:t>8435759</a:t>
            </a:r>
            <a:endParaRPr lang="zh-CN" altLang="en-US" dirty="0">
              <a:solidFill>
                <a:srgbClr val="CCD1D4"/>
              </a:solidFill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-41412404" y="6488668"/>
            <a:ext cx="1071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>
                <a:solidFill>
                  <a:srgbClr val="CCD1D4"/>
                </a:solidFill>
              </a:rPr>
              <a:t>8435759</a:t>
            </a:r>
            <a:endParaRPr lang="zh-CN" altLang="en-US" dirty="0">
              <a:solidFill>
                <a:srgbClr val="CCD1D4"/>
              </a:solidFill>
            </a:endParaRPr>
          </a:p>
        </p:txBody>
      </p:sp>
      <p:sp>
        <p:nvSpPr>
          <p:cNvPr id="13" name="文本框 12"/>
          <p:cNvSpPr txBox="1"/>
          <p:nvPr userDrawn="1"/>
        </p:nvSpPr>
        <p:spPr>
          <a:xfrm>
            <a:off x="48555921" y="-20510500"/>
            <a:ext cx="30568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zh-CN" altLang="en-US" sz="800" b="0" i="0" u="none" strike="noStrike" kern="1200" dirty="0">
                <a:solidFill>
                  <a:srgbClr val="E6E6E6"/>
                </a:solidFill>
                <a:effectLst/>
                <a:latin typeface="+mn-lt"/>
                <a:ea typeface="+mn-ea"/>
                <a:cs typeface="+mn-cs"/>
              </a:rPr>
              <a:t>千图</a:t>
            </a:r>
            <a:r>
              <a:rPr lang="en-US" altLang="zh-CN" sz="800" b="0" i="0" u="none" strike="noStrike" kern="1200" dirty="0">
                <a:solidFill>
                  <a:srgbClr val="E6E6E6"/>
                </a:solidFill>
                <a:effectLst/>
                <a:latin typeface="+mn-lt"/>
                <a:ea typeface="+mn-ea"/>
                <a:cs typeface="+mn-cs"/>
              </a:rPr>
              <a:t>:Blue Dragonfly</a:t>
            </a:r>
            <a:endParaRPr lang="en-US" altLang="zh-CN" sz="800" b="0" i="0" u="none" strike="noStrike" kern="1200" dirty="0">
              <a:solidFill>
                <a:srgbClr val="E6E6E6"/>
              </a:solidFill>
              <a:effectLst/>
              <a:latin typeface="+mn-lt"/>
              <a:ea typeface="+mn-ea"/>
              <a:cs typeface="+mn-cs"/>
            </a:endParaRPr>
          </a:p>
          <a:p>
            <a:br>
              <a:rPr lang="en-US" altLang="zh-CN" sz="800" dirty="0">
                <a:solidFill>
                  <a:srgbClr val="E6E6E6"/>
                </a:solidFill>
              </a:rPr>
            </a:br>
            <a:r>
              <a:rPr lang="en-US" altLang="zh-CN" sz="800" dirty="0">
                <a:solidFill>
                  <a:srgbClr val="E6E6E6"/>
                </a:solidFill>
              </a:rPr>
              <a:t>DESIGN</a:t>
            </a:r>
            <a:endParaRPr lang="zh-CN" altLang="en-US" sz="800" dirty="0">
              <a:solidFill>
                <a:srgbClr val="E6E6E6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7" Type="http://schemas.openxmlformats.org/officeDocument/2006/relationships/tags" Target="../tags/tag1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microsoft.com/office/2007/relationships/hdphoto" Target="../media/image3.wdp"/><Relationship Id="rId1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9.xml"/><Relationship Id="rId5" Type="http://schemas.openxmlformats.org/officeDocument/2006/relationships/tags" Target="../tags/tag7.xml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microsoft.com/office/2007/relationships/hdphoto" Target="../media/image3.wdp"/><Relationship Id="rId1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0.xml"/><Relationship Id="rId3" Type="http://schemas.openxmlformats.org/officeDocument/2006/relationships/tags" Target="../tags/tag8.xml"/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0.xml"/><Relationship Id="rId3" Type="http://schemas.openxmlformats.org/officeDocument/2006/relationships/tags" Target="../tags/tag9.xml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0.xml"/><Relationship Id="rId3" Type="http://schemas.openxmlformats.org/officeDocument/2006/relationships/tags" Target="../tags/tag10.xml"/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9.xml"/><Relationship Id="rId5" Type="http://schemas.openxmlformats.org/officeDocument/2006/relationships/tags" Target="../tags/tag11.xml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microsoft.com/office/2007/relationships/hdphoto" Target="../media/image3.wdp"/><Relationship Id="rId1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/Relationships>
</file>

<file path=ppt/slides/_rels/slide18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9.xml"/><Relationship Id="rId5" Type="http://schemas.openxmlformats.org/officeDocument/2006/relationships/tags" Target="../tags/tag13.xml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microsoft.com/office/2007/relationships/hdphoto" Target="../media/image3.wdp"/><Relationship Id="rId1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7.xml"/><Relationship Id="rId8" Type="http://schemas.openxmlformats.org/officeDocument/2006/relationships/vmlDrawing" Target="../drawings/vmlDrawing3.vml"/><Relationship Id="rId7" Type="http://schemas.openxmlformats.org/officeDocument/2006/relationships/slideLayout" Target="../slideLayouts/slideLayout9.xml"/><Relationship Id="rId6" Type="http://schemas.openxmlformats.org/officeDocument/2006/relationships/tags" Target="../tags/tag15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Relationship Id="rId3" Type="http://schemas.openxmlformats.org/officeDocument/2006/relationships/tags" Target="../tags/tag14.xml"/><Relationship Id="rId2" Type="http://schemas.microsoft.com/office/2007/relationships/hdphoto" Target="../media/image3.wdp"/><Relationship Id="rId1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1.xml"/><Relationship Id="rId8" Type="http://schemas.openxmlformats.org/officeDocument/2006/relationships/vmlDrawing" Target="../drawings/vmlDrawing1.vml"/><Relationship Id="rId7" Type="http://schemas.openxmlformats.org/officeDocument/2006/relationships/slideLayout" Target="../slideLayouts/slideLayout9.xml"/><Relationship Id="rId6" Type="http://schemas.openxmlformats.org/officeDocument/2006/relationships/tags" Target="../tags/tag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Relationship Id="rId3" Type="http://schemas.openxmlformats.org/officeDocument/2006/relationships/tags" Target="../tags/tag2.xml"/><Relationship Id="rId2" Type="http://schemas.microsoft.com/office/2007/relationships/hdphoto" Target="../media/image3.wdp"/><Relationship Id="rId1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6.xml"/><Relationship Id="rId6" Type="http://schemas.openxmlformats.org/officeDocument/2006/relationships/tags" Target="../tags/tag16.xml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microsoft.com/office/2007/relationships/hdphoto" Target="../media/image3.wdp"/><Relationship Id="rId1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.xml"/><Relationship Id="rId8" Type="http://schemas.openxmlformats.org/officeDocument/2006/relationships/vmlDrawing" Target="../drawings/vmlDrawing2.vml"/><Relationship Id="rId7" Type="http://schemas.openxmlformats.org/officeDocument/2006/relationships/slideLayout" Target="../slideLayouts/slideLayout9.xml"/><Relationship Id="rId6" Type="http://schemas.openxmlformats.org/officeDocument/2006/relationships/tags" Target="../tags/tag5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Relationship Id="rId3" Type="http://schemas.openxmlformats.org/officeDocument/2006/relationships/tags" Target="../tags/tag4.xml"/><Relationship Id="rId2" Type="http://schemas.microsoft.com/office/2007/relationships/hdphoto" Target="../media/image3.wdp"/><Relationship Id="rId1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9.xml"/><Relationship Id="rId5" Type="http://schemas.openxmlformats.org/officeDocument/2006/relationships/tags" Target="../tags/tag6.xml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microsoft.com/office/2007/relationships/hdphoto" Target="../media/image3.wdp"/><Relationship Id="rId1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0.xml"/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10.xml"/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image" Target="../media/image19.png"/><Relationship Id="rId1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29"/>
          <p:cNvPicPr>
            <a:picLocks noChangeAspect="1"/>
          </p:cNvPicPr>
          <p:nvPr/>
        </p:nvPicPr>
        <p:blipFill>
          <a:blip r:embed="rId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4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235224" y="4047921"/>
            <a:ext cx="13436749" cy="4529721"/>
          </a:xfrm>
          <a:prstGeom prst="rect">
            <a:avLst/>
          </a:prstGeom>
        </p:spPr>
      </p:pic>
      <p:grpSp>
        <p:nvGrpSpPr>
          <p:cNvPr id="12" name="组合 11"/>
          <p:cNvGrpSpPr/>
          <p:nvPr/>
        </p:nvGrpSpPr>
        <p:grpSpPr>
          <a:xfrm rot="0">
            <a:off x="4095115" y="1815465"/>
            <a:ext cx="4961890" cy="938530"/>
            <a:chOff x="2396532" y="4866009"/>
            <a:chExt cx="2374163" cy="497176"/>
          </a:xfrm>
        </p:grpSpPr>
        <p:sp>
          <p:nvSpPr>
            <p:cNvPr id="19" name="矩形 18"/>
            <p:cNvSpPr/>
            <p:nvPr/>
          </p:nvSpPr>
          <p:spPr>
            <a:xfrm>
              <a:off x="2396532" y="5069361"/>
              <a:ext cx="1224831" cy="188023"/>
            </a:xfrm>
            <a:prstGeom prst="rect">
              <a:avLst/>
            </a:prstGeom>
            <a:noFill/>
          </p:spPr>
          <p:txBody>
            <a:bodyPr wrap="square" numCol="1" rtlCol="0">
              <a:prstTxWarp prst="textPlain">
                <a:avLst/>
              </a:prstTxWarp>
              <a:spAutoFit/>
            </a:bodyPr>
            <a:lstStyle/>
            <a:p>
              <a:pPr lvl="0"/>
              <a:endParaRPr lang="en-US" altLang="zh-CN" sz="8800" noProof="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14" name="直接连接符 13"/>
            <p:cNvCxnSpPr/>
            <p:nvPr/>
          </p:nvCxnSpPr>
          <p:spPr>
            <a:xfrm>
              <a:off x="2870564" y="4866009"/>
              <a:ext cx="1899827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2870868" y="5363185"/>
              <a:ext cx="1899827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组合 20"/>
          <p:cNvGrpSpPr/>
          <p:nvPr/>
        </p:nvGrpSpPr>
        <p:grpSpPr>
          <a:xfrm>
            <a:off x="-707035" y="417257"/>
            <a:ext cx="4697630" cy="5823950"/>
            <a:chOff x="5192523" y="-1690798"/>
            <a:chExt cx="6576646" cy="8153487"/>
          </a:xfrm>
        </p:grpSpPr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2523" y="-1690798"/>
              <a:ext cx="6576646" cy="5487082"/>
            </a:xfrm>
            <a:prstGeom prst="rect">
              <a:avLst/>
            </a:prstGeom>
          </p:spPr>
        </p:pic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388070" y="1254956"/>
              <a:ext cx="2477464" cy="5207733"/>
            </a:xfrm>
            <a:prstGeom prst="rect">
              <a:avLst/>
            </a:prstGeom>
          </p:spPr>
        </p:pic>
      </p:grpSp>
      <p:pic>
        <p:nvPicPr>
          <p:cNvPr id="32" name="图片 3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7474" y="2131789"/>
            <a:ext cx="1919637" cy="2994634"/>
          </a:xfrm>
          <a:prstGeom prst="rect">
            <a:avLst/>
          </a:prstGeom>
        </p:spPr>
      </p:pic>
      <p:grpSp>
        <p:nvGrpSpPr>
          <p:cNvPr id="3" name="组合 2"/>
          <p:cNvGrpSpPr/>
          <p:nvPr/>
        </p:nvGrpSpPr>
        <p:grpSpPr>
          <a:xfrm>
            <a:off x="2851150" y="1590675"/>
            <a:ext cx="1238250" cy="1160780"/>
            <a:chOff x="1530" y="1697"/>
            <a:chExt cx="1908" cy="1908"/>
          </a:xfrm>
        </p:grpSpPr>
        <p:sp>
          <p:nvSpPr>
            <p:cNvPr id="57" name="矩形: 圆角 56"/>
            <p:cNvSpPr/>
            <p:nvPr/>
          </p:nvSpPr>
          <p:spPr bwMode="auto">
            <a:xfrm>
              <a:off x="1530" y="1697"/>
              <a:ext cx="1909" cy="1909"/>
            </a:xfrm>
            <a:prstGeom prst="roundRect">
              <a:avLst>
                <a:gd name="adj" fmla="val 5000"/>
              </a:avLst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pic>
          <p:nvPicPr>
            <p:cNvPr id="2" name="图片 1" descr="u=1781509493,6765967&amp;fm=15&amp;gp=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681" y="1848"/>
              <a:ext cx="1606" cy="1606"/>
            </a:xfrm>
            <a:prstGeom prst="rect">
              <a:avLst/>
            </a:prstGeom>
            <a:effectLst>
              <a:glow rad="101600">
                <a:schemeClr val="accent5">
                  <a:satMod val="175000"/>
                  <a:alpha val="40000"/>
                </a:schemeClr>
              </a:glow>
            </a:effectLst>
          </p:spPr>
        </p:pic>
      </p:grpSp>
      <p:sp>
        <p:nvSpPr>
          <p:cNvPr id="4" name="文本框 3"/>
          <p:cNvSpPr txBox="1"/>
          <p:nvPr/>
        </p:nvSpPr>
        <p:spPr>
          <a:xfrm>
            <a:off x="4068445" y="1815465"/>
            <a:ext cx="5855970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6000">
                <a:solidFill>
                  <a:schemeClr val="bg1"/>
                </a:solidFill>
                <a:latin typeface="尔雅盛唐真书" panose="00000500000000000000" charset="-122"/>
                <a:ea typeface="尔雅盛唐真书" panose="00000500000000000000" charset="-122"/>
              </a:rPr>
              <a:t>打造顶尖小视频</a:t>
            </a:r>
            <a:endParaRPr lang="zh-CN" altLang="en-US" sz="6000">
              <a:solidFill>
                <a:schemeClr val="bg1"/>
              </a:solidFill>
              <a:latin typeface="尔雅盛唐真书" panose="00000500000000000000" charset="-122"/>
              <a:ea typeface="尔雅盛唐真书" panose="00000500000000000000" charset="-122"/>
            </a:endParaRPr>
          </a:p>
        </p:txBody>
      </p:sp>
      <p:sp>
        <p:nvSpPr>
          <p:cNvPr id="73" name="TextBox 36"/>
          <p:cNvSpPr txBox="1"/>
          <p:nvPr/>
        </p:nvSpPr>
        <p:spPr>
          <a:xfrm>
            <a:off x="3466599" y="3353089"/>
            <a:ext cx="6192253" cy="6299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defRPr/>
            </a:pPr>
            <a:r>
              <a:rPr lang="zh-CN" altLang="en-US" sz="2800" b="1" dirty="0">
                <a:solidFill>
                  <a:schemeClr val="bg1"/>
                </a:solidFill>
                <a:latin typeface="尔雅盛唐真书" panose="00000500000000000000" charset="-122"/>
                <a:ea typeface="尔雅盛唐真书" panose="00000500000000000000" charset="-122"/>
                <a:cs typeface="尔雅盛唐真书" panose="00000500000000000000" charset="-122"/>
                <a:sym typeface="+mn-ea"/>
              </a:rPr>
              <a:t>赢在坚持</a:t>
            </a:r>
            <a:r>
              <a:rPr lang="en-US" altLang="zh-CN" sz="2800" b="1" dirty="0">
                <a:solidFill>
                  <a:schemeClr val="bg1"/>
                </a:solidFill>
                <a:latin typeface="尔雅盛唐真书" panose="00000500000000000000" charset="-122"/>
                <a:ea typeface="尔雅盛唐真书" panose="00000500000000000000" charset="-122"/>
                <a:cs typeface="尔雅盛唐真书" panose="00000500000000000000" charset="-122"/>
                <a:sym typeface="+mn-ea"/>
              </a:rPr>
              <a:t>——</a:t>
            </a:r>
            <a:r>
              <a:rPr lang="zh-CN" altLang="en-US" sz="2800" b="1" dirty="0">
                <a:solidFill>
                  <a:schemeClr val="bg1"/>
                </a:solidFill>
                <a:latin typeface="尔雅盛唐真书" panose="00000500000000000000" charset="-122"/>
                <a:ea typeface="尔雅盛唐真书" panose="00000500000000000000" charset="-122"/>
                <a:cs typeface="尔雅盛唐真书" panose="00000500000000000000" charset="-122"/>
                <a:sym typeface="+mn-ea"/>
              </a:rPr>
              <a:t>剪映视频编辑培训课程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尔雅盛唐真书" panose="00000500000000000000" charset="-122"/>
              <a:ea typeface="尔雅盛唐真书" panose="00000500000000000000" charset="-122"/>
              <a:cs typeface="尔雅盛唐真书" panose="00000500000000000000" charset="-122"/>
              <a:sym typeface="+mn-ea"/>
            </a:endParaRPr>
          </a:p>
        </p:txBody>
      </p:sp>
    </p:spTree>
    <p:custDataLst>
      <p:tags r:id="rId7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 Box 7"/>
          <p:cNvSpPr txBox="1">
            <a:spLocks noChangeArrowheads="1"/>
          </p:cNvSpPr>
          <p:nvPr/>
        </p:nvSpPr>
        <p:spPr bwMode="auto">
          <a:xfrm>
            <a:off x="5019675" y="2722245"/>
            <a:ext cx="6151880" cy="5994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l" defTabSz="1116330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剪辑：分割、变速、音量、动画、删除、降噪、复制、倒放、        </a:t>
            </a:r>
            <a:endParaRPr lang="zh-CN" altLang="en-US" b="1" dirty="0">
              <a:solidFill>
                <a:schemeClr val="accent1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  <a:p>
            <a:pPr algn="l" defTabSz="1116330"/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          定格、旋转、镜像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同</a:t>
            </a:r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特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53675" y="462157"/>
            <a:ext cx="272767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（</a:t>
            </a:r>
            <a:r>
              <a:rPr lang="en-US" altLang="zh-CN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1-1</a:t>
            </a: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剪映的界面</a:t>
            </a:r>
            <a:endParaRPr lang="zh-CN" altLang="en-US" sz="2400" spc="3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01090" y="1800860"/>
            <a:ext cx="3537585" cy="24415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Text Box 7"/>
          <p:cNvSpPr txBox="1">
            <a:spLocks noChangeArrowheads="1"/>
          </p:cNvSpPr>
          <p:nvPr/>
        </p:nvSpPr>
        <p:spPr bwMode="auto">
          <a:xfrm>
            <a:off x="2167255" y="4897120"/>
            <a:ext cx="7480300" cy="71310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l" defTabSz="1116330"/>
            <a:r>
              <a:rPr lang="zh-CN" altLang="en-US" sz="2800" b="1" dirty="0">
                <a:solidFill>
                  <a:schemeClr val="accent1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Open Sans" panose="020B0606030504020204" pitchFamily="34" charset="0"/>
              </a:rPr>
              <a:t>转场：点击两段视频中间位置，进入转场设置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同</a:t>
            </a:r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特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589280" y="453390"/>
            <a:ext cx="3343910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（</a:t>
            </a:r>
            <a:r>
              <a:rPr lang="en-US" altLang="zh-CN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1-3)</a:t>
            </a: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转场的</a:t>
            </a: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使用</a:t>
            </a:r>
            <a:endParaRPr lang="zh-CN" altLang="en-US" sz="24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23315" y="977900"/>
            <a:ext cx="3500120" cy="341503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6730" y="913765"/>
            <a:ext cx="3303905" cy="358076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>
          <a:blip r:embed="rId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3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244311" y="3637539"/>
            <a:ext cx="13436749" cy="4529721"/>
          </a:xfrm>
          <a:prstGeom prst="rect">
            <a:avLst/>
          </a:prstGeom>
        </p:spPr>
      </p:pic>
      <p:cxnSp>
        <p:nvCxnSpPr>
          <p:cNvPr id="10" name="连接符: 肘形 9"/>
          <p:cNvCxnSpPr/>
          <p:nvPr/>
        </p:nvCxnSpPr>
        <p:spPr>
          <a:xfrm flipV="1">
            <a:off x="0" y="742951"/>
            <a:ext cx="12192000" cy="3615826"/>
          </a:xfrm>
          <a:prstGeom prst="bentConnector3">
            <a:avLst>
              <a:gd name="adj1" fmla="val 26250"/>
            </a:avLst>
          </a:prstGeom>
          <a:ln w="76200">
            <a:solidFill>
              <a:schemeClr val="accent1">
                <a:alpha val="5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连接符: 肘形 10"/>
          <p:cNvCxnSpPr/>
          <p:nvPr/>
        </p:nvCxnSpPr>
        <p:spPr>
          <a:xfrm rot="10800000" flipV="1">
            <a:off x="0" y="3286389"/>
            <a:ext cx="12706350" cy="3038210"/>
          </a:xfrm>
          <a:prstGeom prst="bentConnector3">
            <a:avLst>
              <a:gd name="adj1" fmla="val 11469"/>
            </a:avLst>
          </a:prstGeom>
          <a:ln w="76200">
            <a:solidFill>
              <a:schemeClr val="accent2">
                <a:alpha val="2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/>
          <p:cNvSpPr/>
          <p:nvPr/>
        </p:nvSpPr>
        <p:spPr>
          <a:xfrm>
            <a:off x="2630129" y="3125163"/>
            <a:ext cx="6931742" cy="7952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标题 4"/>
          <p:cNvSpPr>
            <a:spLocks noGrp="1"/>
          </p:cNvSpPr>
          <p:nvPr>
            <p:ph type="title" idx="4294967295"/>
          </p:nvPr>
        </p:nvSpPr>
        <p:spPr>
          <a:xfrm>
            <a:off x="2917372" y="3242582"/>
            <a:ext cx="6357258" cy="560387"/>
          </a:xfrm>
        </p:spPr>
        <p:txBody>
          <a:bodyPr/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+mn-ea"/>
                <a:sym typeface="+mn-lt"/>
              </a:rPr>
              <a:t>深入了解</a:t>
            </a:r>
            <a:endParaRPr lang="zh-CN" altLang="en-US" sz="36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4294967295"/>
          </p:nvPr>
        </p:nvSpPr>
        <p:spPr>
          <a:xfrm>
            <a:off x="3742690" y="4181475"/>
            <a:ext cx="5819140" cy="1795145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（</a:t>
            </a:r>
            <a:r>
              <a:rPr lang="en-US" altLang="zh-CN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2-1</a:t>
            </a: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颜色的处理，字幕的操作</a:t>
            </a:r>
            <a:endParaRPr lang="zh-CN" altLang="en-US" sz="2000" dirty="0">
              <a:solidFill>
                <a:schemeClr val="accent4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  <a:p>
            <a:pPr marL="0" indent="0" algn="ctr">
              <a:buNone/>
            </a:pP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     （</a:t>
            </a:r>
            <a:r>
              <a:rPr lang="en-US" altLang="zh-CN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2-2</a:t>
            </a: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音频的设置；滤镜、特效设置</a:t>
            </a:r>
            <a:endParaRPr lang="en-US" altLang="zh-CN" sz="2000" dirty="0">
              <a:solidFill>
                <a:schemeClr val="accent4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  <a:p>
            <a:pPr marL="0" indent="0" algn="ctr">
              <a:buNone/>
            </a:pP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       （</a:t>
            </a:r>
            <a:r>
              <a:rPr lang="en-US" altLang="zh-CN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2-3</a:t>
            </a: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画布的调节；美颜瘦脸功能的使用</a:t>
            </a:r>
            <a:endParaRPr lang="zh-CN" altLang="en-US" sz="2000" dirty="0">
              <a:solidFill>
                <a:schemeClr val="accent4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428344" y="1999908"/>
            <a:ext cx="1335314" cy="1044642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+mn-ea"/>
                <a:sym typeface="+mn-lt"/>
              </a:rPr>
              <a:t>02</a:t>
            </a:r>
            <a:endParaRPr lang="en-US" altLang="zh-CN" spc="100" dirty="0">
              <a:solidFill>
                <a:schemeClr val="accent4"/>
              </a:solidFill>
              <a:latin typeface="尔雅秀丽楷书" panose="00000500000000000000" charset="-122"/>
              <a:ea typeface="尔雅秀丽楷书" panose="00000500000000000000" charset="-122"/>
              <a:cs typeface="+mn-ea"/>
              <a:sym typeface="+mn-lt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86" y="881574"/>
            <a:ext cx="3303486" cy="2756192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047" y="2660956"/>
            <a:ext cx="1244444" cy="2615873"/>
          </a:xfrm>
          <a:prstGeom prst="rect">
            <a:avLst/>
          </a:prstGeom>
        </p:spPr>
      </p:pic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/>
      <p:bldP spid="6" grpId="0" build="p"/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矩形 27"/>
          <p:cNvSpPr/>
          <p:nvPr/>
        </p:nvSpPr>
        <p:spPr>
          <a:xfrm>
            <a:off x="4357370" y="2183765"/>
            <a:ext cx="2648585" cy="23247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00">
              <a:gradFill>
                <a:gsLst>
                  <a:gs pos="0">
                    <a:srgbClr val="C00000"/>
                  </a:gs>
                  <a:gs pos="100000">
                    <a:srgbClr val="F42400"/>
                  </a:gs>
                </a:gsLst>
                <a:lin ang="3000000" scaled="0"/>
              </a:gradFill>
              <a:cs typeface="+mn-ea"/>
              <a:sym typeface="+mn-lt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3787001" y="5424685"/>
            <a:ext cx="3956677" cy="976352"/>
            <a:chOff x="1157188" y="5013498"/>
            <a:chExt cx="3458574" cy="853440"/>
          </a:xfrm>
        </p:grpSpPr>
        <p:grpSp>
          <p:nvGrpSpPr>
            <p:cNvPr id="9" name="组合 8"/>
            <p:cNvGrpSpPr/>
            <p:nvPr/>
          </p:nvGrpSpPr>
          <p:grpSpPr>
            <a:xfrm>
              <a:off x="3762322" y="5013498"/>
              <a:ext cx="853440" cy="853440"/>
              <a:chOff x="3413979" y="5100583"/>
              <a:chExt cx="853440" cy="853440"/>
            </a:xfrm>
          </p:grpSpPr>
          <p:sp>
            <p:nvSpPr>
              <p:cNvPr id="16" name="椭圆 15"/>
              <p:cNvSpPr/>
              <p:nvPr/>
            </p:nvSpPr>
            <p:spPr>
              <a:xfrm>
                <a:off x="3413979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7" name="Freeform 81"/>
              <p:cNvSpPr>
                <a:spLocks noChangeArrowheads="1"/>
              </p:cNvSpPr>
              <p:nvPr/>
            </p:nvSpPr>
            <p:spPr bwMode="auto">
              <a:xfrm>
                <a:off x="3622424" y="5333118"/>
                <a:ext cx="436550" cy="335206"/>
              </a:xfrm>
              <a:custGeom>
                <a:avLst/>
                <a:gdLst>
                  <a:gd name="T0" fmla="*/ 131975 w 619"/>
                  <a:gd name="T1" fmla="*/ 79795 h 472"/>
                  <a:gd name="T2" fmla="*/ 131975 w 619"/>
                  <a:gd name="T3" fmla="*/ 79795 h 472"/>
                  <a:gd name="T4" fmla="*/ 105437 w 619"/>
                  <a:gd name="T5" fmla="*/ 79795 h 472"/>
                  <a:gd name="T6" fmla="*/ 116196 w 619"/>
                  <a:gd name="T7" fmla="*/ 48021 h 472"/>
                  <a:gd name="T8" fmla="*/ 110816 w 619"/>
                  <a:gd name="T9" fmla="*/ 42605 h 472"/>
                  <a:gd name="T10" fmla="*/ 100416 w 619"/>
                  <a:gd name="T11" fmla="*/ 42605 h 472"/>
                  <a:gd name="T12" fmla="*/ 84278 w 619"/>
                  <a:gd name="T13" fmla="*/ 85211 h 472"/>
                  <a:gd name="T14" fmla="*/ 84278 w 619"/>
                  <a:gd name="T15" fmla="*/ 90626 h 472"/>
                  <a:gd name="T16" fmla="*/ 89657 w 619"/>
                  <a:gd name="T17" fmla="*/ 95681 h 472"/>
                  <a:gd name="T18" fmla="*/ 121575 w 619"/>
                  <a:gd name="T19" fmla="*/ 95681 h 472"/>
                  <a:gd name="T20" fmla="*/ 105437 w 619"/>
                  <a:gd name="T21" fmla="*/ 127455 h 472"/>
                  <a:gd name="T22" fmla="*/ 105437 w 619"/>
                  <a:gd name="T23" fmla="*/ 138287 h 472"/>
                  <a:gd name="T24" fmla="*/ 116196 w 619"/>
                  <a:gd name="T25" fmla="*/ 133232 h 472"/>
                  <a:gd name="T26" fmla="*/ 136996 w 619"/>
                  <a:gd name="T27" fmla="*/ 85211 h 472"/>
                  <a:gd name="T28" fmla="*/ 131975 w 619"/>
                  <a:gd name="T29" fmla="*/ 79795 h 472"/>
                  <a:gd name="T30" fmla="*/ 158155 w 619"/>
                  <a:gd name="T31" fmla="*/ 37189 h 472"/>
                  <a:gd name="T32" fmla="*/ 158155 w 619"/>
                  <a:gd name="T33" fmla="*/ 37189 h 472"/>
                  <a:gd name="T34" fmla="*/ 105437 w 619"/>
                  <a:gd name="T35" fmla="*/ 0 h 472"/>
                  <a:gd name="T36" fmla="*/ 42318 w 619"/>
                  <a:gd name="T37" fmla="*/ 58492 h 472"/>
                  <a:gd name="T38" fmla="*/ 0 w 619"/>
                  <a:gd name="T39" fmla="*/ 116984 h 472"/>
                  <a:gd name="T40" fmla="*/ 52718 w 619"/>
                  <a:gd name="T41" fmla="*/ 170060 h 472"/>
                  <a:gd name="T42" fmla="*/ 153134 w 619"/>
                  <a:gd name="T43" fmla="*/ 170060 h 472"/>
                  <a:gd name="T44" fmla="*/ 221632 w 619"/>
                  <a:gd name="T45" fmla="*/ 106513 h 472"/>
                  <a:gd name="T46" fmla="*/ 158155 w 619"/>
                  <a:gd name="T47" fmla="*/ 37189 h 472"/>
                  <a:gd name="T48" fmla="*/ 153134 w 619"/>
                  <a:gd name="T49" fmla="*/ 159589 h 472"/>
                  <a:gd name="T50" fmla="*/ 153134 w 619"/>
                  <a:gd name="T51" fmla="*/ 159589 h 472"/>
                  <a:gd name="T52" fmla="*/ 52718 w 619"/>
                  <a:gd name="T53" fmla="*/ 159589 h 472"/>
                  <a:gd name="T54" fmla="*/ 10400 w 619"/>
                  <a:gd name="T55" fmla="*/ 116984 h 472"/>
                  <a:gd name="T56" fmla="*/ 52718 w 619"/>
                  <a:gd name="T57" fmla="*/ 74379 h 472"/>
                  <a:gd name="T58" fmla="*/ 105437 w 619"/>
                  <a:gd name="T59" fmla="*/ 15887 h 472"/>
                  <a:gd name="T60" fmla="*/ 147755 w 619"/>
                  <a:gd name="T61" fmla="*/ 53437 h 472"/>
                  <a:gd name="T62" fmla="*/ 211232 w 619"/>
                  <a:gd name="T63" fmla="*/ 101097 h 472"/>
                  <a:gd name="T64" fmla="*/ 153134 w 619"/>
                  <a:gd name="T65" fmla="*/ 159589 h 47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19" h="472">
                    <a:moveTo>
                      <a:pt x="368" y="221"/>
                    </a:moveTo>
                    <a:lnTo>
                      <a:pt x="368" y="221"/>
                    </a:lnTo>
                    <a:cubicBezTo>
                      <a:pt x="294" y="221"/>
                      <a:pt x="294" y="221"/>
                      <a:pt x="294" y="221"/>
                    </a:cubicBezTo>
                    <a:cubicBezTo>
                      <a:pt x="324" y="133"/>
                      <a:pt x="324" y="133"/>
                      <a:pt x="324" y="133"/>
                    </a:cubicBezTo>
                    <a:cubicBezTo>
                      <a:pt x="324" y="133"/>
                      <a:pt x="324" y="118"/>
                      <a:pt x="309" y="118"/>
                    </a:cubicBezTo>
                    <a:cubicBezTo>
                      <a:pt x="294" y="103"/>
                      <a:pt x="294" y="118"/>
                      <a:pt x="280" y="118"/>
                    </a:cubicBezTo>
                    <a:cubicBezTo>
                      <a:pt x="235" y="236"/>
                      <a:pt x="235" y="236"/>
                      <a:pt x="235" y="236"/>
                    </a:cubicBezTo>
                    <a:lnTo>
                      <a:pt x="235" y="251"/>
                    </a:lnTo>
                    <a:lnTo>
                      <a:pt x="250" y="265"/>
                    </a:lnTo>
                    <a:cubicBezTo>
                      <a:pt x="339" y="265"/>
                      <a:pt x="339" y="265"/>
                      <a:pt x="339" y="265"/>
                    </a:cubicBezTo>
                    <a:cubicBezTo>
                      <a:pt x="294" y="353"/>
                      <a:pt x="294" y="353"/>
                      <a:pt x="294" y="353"/>
                    </a:cubicBezTo>
                    <a:cubicBezTo>
                      <a:pt x="280" y="353"/>
                      <a:pt x="294" y="369"/>
                      <a:pt x="294" y="383"/>
                    </a:cubicBezTo>
                    <a:cubicBezTo>
                      <a:pt x="309" y="383"/>
                      <a:pt x="324" y="383"/>
                      <a:pt x="324" y="369"/>
                    </a:cubicBezTo>
                    <a:cubicBezTo>
                      <a:pt x="324" y="369"/>
                      <a:pt x="382" y="251"/>
                      <a:pt x="382" y="236"/>
                    </a:cubicBezTo>
                    <a:cubicBezTo>
                      <a:pt x="382" y="236"/>
                      <a:pt x="382" y="221"/>
                      <a:pt x="368" y="221"/>
                    </a:cubicBezTo>
                    <a:close/>
                    <a:moveTo>
                      <a:pt x="441" y="103"/>
                    </a:moveTo>
                    <a:lnTo>
                      <a:pt x="441" y="103"/>
                    </a:lnTo>
                    <a:cubicBezTo>
                      <a:pt x="412" y="44"/>
                      <a:pt x="353" y="0"/>
                      <a:pt x="294" y="0"/>
                    </a:cubicBezTo>
                    <a:cubicBezTo>
                      <a:pt x="191" y="0"/>
                      <a:pt x="118" y="74"/>
                      <a:pt x="118" y="162"/>
                    </a:cubicBezTo>
                    <a:cubicBezTo>
                      <a:pt x="44" y="192"/>
                      <a:pt x="0" y="251"/>
                      <a:pt x="0" y="324"/>
                    </a:cubicBezTo>
                    <a:cubicBezTo>
                      <a:pt x="0" y="398"/>
                      <a:pt x="59" y="471"/>
                      <a:pt x="147" y="471"/>
                    </a:cubicBezTo>
                    <a:lnTo>
                      <a:pt x="427" y="471"/>
                    </a:lnTo>
                    <a:cubicBezTo>
                      <a:pt x="530" y="471"/>
                      <a:pt x="618" y="398"/>
                      <a:pt x="618" y="295"/>
                    </a:cubicBezTo>
                    <a:cubicBezTo>
                      <a:pt x="618" y="192"/>
                      <a:pt x="544" y="103"/>
                      <a:pt x="441" y="103"/>
                    </a:cubicBezTo>
                    <a:close/>
                    <a:moveTo>
                      <a:pt x="427" y="442"/>
                    </a:moveTo>
                    <a:lnTo>
                      <a:pt x="427" y="442"/>
                    </a:lnTo>
                    <a:lnTo>
                      <a:pt x="147" y="442"/>
                    </a:lnTo>
                    <a:cubicBezTo>
                      <a:pt x="147" y="442"/>
                      <a:pt x="29" y="427"/>
                      <a:pt x="29" y="324"/>
                    </a:cubicBezTo>
                    <a:cubicBezTo>
                      <a:pt x="29" y="265"/>
                      <a:pt x="88" y="206"/>
                      <a:pt x="147" y="206"/>
                    </a:cubicBezTo>
                    <a:cubicBezTo>
                      <a:pt x="147" y="118"/>
                      <a:pt x="206" y="44"/>
                      <a:pt x="294" y="44"/>
                    </a:cubicBezTo>
                    <a:cubicBezTo>
                      <a:pt x="353" y="44"/>
                      <a:pt x="397" y="89"/>
                      <a:pt x="412" y="148"/>
                    </a:cubicBezTo>
                    <a:cubicBezTo>
                      <a:pt x="515" y="133"/>
                      <a:pt x="574" y="221"/>
                      <a:pt x="589" y="280"/>
                    </a:cubicBezTo>
                    <a:cubicBezTo>
                      <a:pt x="589" y="369"/>
                      <a:pt x="500" y="442"/>
                      <a:pt x="427" y="4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2459755" y="5013498"/>
              <a:ext cx="853440" cy="853440"/>
              <a:chOff x="2111412" y="5100583"/>
              <a:chExt cx="853440" cy="853440"/>
            </a:xfrm>
          </p:grpSpPr>
          <p:sp>
            <p:nvSpPr>
              <p:cNvPr id="14" name="椭圆 13"/>
              <p:cNvSpPr/>
              <p:nvPr/>
            </p:nvSpPr>
            <p:spPr>
              <a:xfrm>
                <a:off x="2111412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5" name="Freeform 158"/>
              <p:cNvSpPr>
                <a:spLocks noChangeArrowheads="1"/>
              </p:cNvSpPr>
              <p:nvPr/>
            </p:nvSpPr>
            <p:spPr bwMode="auto">
              <a:xfrm>
                <a:off x="2309464" y="5329515"/>
                <a:ext cx="457336" cy="418360"/>
              </a:xfrm>
              <a:custGeom>
                <a:avLst/>
                <a:gdLst>
                  <a:gd name="T0" fmla="*/ 184545 w 649"/>
                  <a:gd name="T1" fmla="*/ 26677 h 590"/>
                  <a:gd name="T2" fmla="*/ 184545 w 649"/>
                  <a:gd name="T3" fmla="*/ 26677 h 590"/>
                  <a:gd name="T4" fmla="*/ 158386 w 649"/>
                  <a:gd name="T5" fmla="*/ 0 h 590"/>
                  <a:gd name="T6" fmla="*/ 73818 w 649"/>
                  <a:gd name="T7" fmla="*/ 0 h 590"/>
                  <a:gd name="T8" fmla="*/ 47659 w 649"/>
                  <a:gd name="T9" fmla="*/ 26677 h 590"/>
                  <a:gd name="T10" fmla="*/ 5375 w 649"/>
                  <a:gd name="T11" fmla="*/ 58402 h 590"/>
                  <a:gd name="T12" fmla="*/ 47659 w 649"/>
                  <a:gd name="T13" fmla="*/ 100941 h 590"/>
                  <a:gd name="T14" fmla="*/ 52676 w 649"/>
                  <a:gd name="T15" fmla="*/ 100941 h 590"/>
                  <a:gd name="T16" fmla="*/ 110727 w 649"/>
                  <a:gd name="T17" fmla="*/ 153935 h 590"/>
                  <a:gd name="T18" fmla="*/ 110727 w 649"/>
                  <a:gd name="T19" fmla="*/ 196474 h 590"/>
                  <a:gd name="T20" fmla="*/ 89585 w 649"/>
                  <a:gd name="T21" fmla="*/ 196474 h 590"/>
                  <a:gd name="T22" fmla="*/ 79193 w 649"/>
                  <a:gd name="T23" fmla="*/ 206929 h 590"/>
                  <a:gd name="T24" fmla="*/ 89585 w 649"/>
                  <a:gd name="T25" fmla="*/ 212336 h 590"/>
                  <a:gd name="T26" fmla="*/ 142261 w 649"/>
                  <a:gd name="T27" fmla="*/ 212336 h 590"/>
                  <a:gd name="T28" fmla="*/ 153011 w 649"/>
                  <a:gd name="T29" fmla="*/ 206929 h 590"/>
                  <a:gd name="T30" fmla="*/ 142261 w 649"/>
                  <a:gd name="T31" fmla="*/ 196474 h 590"/>
                  <a:gd name="T32" fmla="*/ 121477 w 649"/>
                  <a:gd name="T33" fmla="*/ 196474 h 590"/>
                  <a:gd name="T34" fmla="*/ 121477 w 649"/>
                  <a:gd name="T35" fmla="*/ 153935 h 590"/>
                  <a:gd name="T36" fmla="*/ 179528 w 649"/>
                  <a:gd name="T37" fmla="*/ 100941 h 590"/>
                  <a:gd name="T38" fmla="*/ 184545 w 649"/>
                  <a:gd name="T39" fmla="*/ 100941 h 590"/>
                  <a:gd name="T40" fmla="*/ 226829 w 649"/>
                  <a:gd name="T41" fmla="*/ 58402 h 590"/>
                  <a:gd name="T42" fmla="*/ 184545 w 649"/>
                  <a:gd name="T43" fmla="*/ 26677 h 590"/>
                  <a:gd name="T44" fmla="*/ 47659 w 649"/>
                  <a:gd name="T45" fmla="*/ 85079 h 590"/>
                  <a:gd name="T46" fmla="*/ 47659 w 649"/>
                  <a:gd name="T47" fmla="*/ 85079 h 590"/>
                  <a:gd name="T48" fmla="*/ 15767 w 649"/>
                  <a:gd name="T49" fmla="*/ 58402 h 590"/>
                  <a:gd name="T50" fmla="*/ 47659 w 649"/>
                  <a:gd name="T51" fmla="*/ 42539 h 590"/>
                  <a:gd name="T52" fmla="*/ 47659 w 649"/>
                  <a:gd name="T53" fmla="*/ 85079 h 590"/>
                  <a:gd name="T54" fmla="*/ 174153 w 649"/>
                  <a:gd name="T55" fmla="*/ 68856 h 590"/>
                  <a:gd name="T56" fmla="*/ 174153 w 649"/>
                  <a:gd name="T57" fmla="*/ 68856 h 590"/>
                  <a:gd name="T58" fmla="*/ 116102 w 649"/>
                  <a:gd name="T59" fmla="*/ 143480 h 590"/>
                  <a:gd name="T60" fmla="*/ 58051 w 649"/>
                  <a:gd name="T61" fmla="*/ 68856 h 590"/>
                  <a:gd name="T62" fmla="*/ 58051 w 649"/>
                  <a:gd name="T63" fmla="*/ 26677 h 590"/>
                  <a:gd name="T64" fmla="*/ 73818 w 649"/>
                  <a:gd name="T65" fmla="*/ 15862 h 590"/>
                  <a:gd name="T66" fmla="*/ 158386 w 649"/>
                  <a:gd name="T67" fmla="*/ 15862 h 590"/>
                  <a:gd name="T68" fmla="*/ 174153 w 649"/>
                  <a:gd name="T69" fmla="*/ 26677 h 590"/>
                  <a:gd name="T70" fmla="*/ 174153 w 649"/>
                  <a:gd name="T71" fmla="*/ 68856 h 590"/>
                  <a:gd name="T72" fmla="*/ 184545 w 649"/>
                  <a:gd name="T73" fmla="*/ 85079 h 590"/>
                  <a:gd name="T74" fmla="*/ 184545 w 649"/>
                  <a:gd name="T75" fmla="*/ 85079 h 590"/>
                  <a:gd name="T76" fmla="*/ 184545 w 649"/>
                  <a:gd name="T77" fmla="*/ 42539 h 590"/>
                  <a:gd name="T78" fmla="*/ 216437 w 649"/>
                  <a:gd name="T79" fmla="*/ 58402 h 590"/>
                  <a:gd name="T80" fmla="*/ 184545 w 649"/>
                  <a:gd name="T81" fmla="*/ 85079 h 59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649" h="590">
                    <a:moveTo>
                      <a:pt x="515" y="74"/>
                    </a:moveTo>
                    <a:lnTo>
                      <a:pt x="515" y="74"/>
                    </a:lnTo>
                    <a:cubicBezTo>
                      <a:pt x="515" y="30"/>
                      <a:pt x="486" y="0"/>
                      <a:pt x="442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162" y="0"/>
                      <a:pt x="133" y="30"/>
                      <a:pt x="133" y="74"/>
                    </a:cubicBezTo>
                    <a:cubicBezTo>
                      <a:pt x="0" y="74"/>
                      <a:pt x="15" y="74"/>
                      <a:pt x="15" y="162"/>
                    </a:cubicBezTo>
                    <a:cubicBezTo>
                      <a:pt x="15" y="221"/>
                      <a:pt x="59" y="280"/>
                      <a:pt x="133" y="280"/>
                    </a:cubicBezTo>
                    <a:cubicBezTo>
                      <a:pt x="133" y="280"/>
                      <a:pt x="133" y="280"/>
                      <a:pt x="147" y="280"/>
                    </a:cubicBezTo>
                    <a:cubicBezTo>
                      <a:pt x="162" y="353"/>
                      <a:pt x="236" y="427"/>
                      <a:pt x="309" y="427"/>
                    </a:cubicBezTo>
                    <a:cubicBezTo>
                      <a:pt x="309" y="545"/>
                      <a:pt x="309" y="545"/>
                      <a:pt x="309" y="545"/>
                    </a:cubicBezTo>
                    <a:cubicBezTo>
                      <a:pt x="250" y="545"/>
                      <a:pt x="250" y="545"/>
                      <a:pt x="250" y="545"/>
                    </a:cubicBezTo>
                    <a:cubicBezTo>
                      <a:pt x="236" y="545"/>
                      <a:pt x="221" y="560"/>
                      <a:pt x="221" y="574"/>
                    </a:cubicBezTo>
                    <a:cubicBezTo>
                      <a:pt x="221" y="574"/>
                      <a:pt x="236" y="589"/>
                      <a:pt x="250" y="589"/>
                    </a:cubicBezTo>
                    <a:cubicBezTo>
                      <a:pt x="397" y="589"/>
                      <a:pt x="397" y="589"/>
                      <a:pt x="397" y="589"/>
                    </a:cubicBezTo>
                    <a:cubicBezTo>
                      <a:pt x="413" y="589"/>
                      <a:pt x="427" y="574"/>
                      <a:pt x="427" y="574"/>
                    </a:cubicBezTo>
                    <a:cubicBezTo>
                      <a:pt x="427" y="560"/>
                      <a:pt x="413" y="545"/>
                      <a:pt x="397" y="545"/>
                    </a:cubicBezTo>
                    <a:cubicBezTo>
                      <a:pt x="339" y="545"/>
                      <a:pt x="339" y="545"/>
                      <a:pt x="339" y="545"/>
                    </a:cubicBezTo>
                    <a:cubicBezTo>
                      <a:pt x="339" y="427"/>
                      <a:pt x="339" y="427"/>
                      <a:pt x="339" y="427"/>
                    </a:cubicBezTo>
                    <a:cubicBezTo>
                      <a:pt x="413" y="427"/>
                      <a:pt x="486" y="353"/>
                      <a:pt x="501" y="280"/>
                    </a:cubicBezTo>
                    <a:cubicBezTo>
                      <a:pt x="515" y="280"/>
                      <a:pt x="515" y="280"/>
                      <a:pt x="515" y="280"/>
                    </a:cubicBezTo>
                    <a:cubicBezTo>
                      <a:pt x="589" y="280"/>
                      <a:pt x="633" y="221"/>
                      <a:pt x="633" y="162"/>
                    </a:cubicBezTo>
                    <a:cubicBezTo>
                      <a:pt x="633" y="74"/>
                      <a:pt x="648" y="74"/>
                      <a:pt x="515" y="74"/>
                    </a:cubicBezTo>
                    <a:close/>
                    <a:moveTo>
                      <a:pt x="133" y="236"/>
                    </a:moveTo>
                    <a:lnTo>
                      <a:pt x="133" y="236"/>
                    </a:lnTo>
                    <a:cubicBezTo>
                      <a:pt x="88" y="236"/>
                      <a:pt x="44" y="206"/>
                      <a:pt x="44" y="162"/>
                    </a:cubicBezTo>
                    <a:cubicBezTo>
                      <a:pt x="44" y="118"/>
                      <a:pt x="44" y="118"/>
                      <a:pt x="133" y="118"/>
                    </a:cubicBezTo>
                    <a:lnTo>
                      <a:pt x="133" y="236"/>
                    </a:lnTo>
                    <a:close/>
                    <a:moveTo>
                      <a:pt x="486" y="191"/>
                    </a:moveTo>
                    <a:lnTo>
                      <a:pt x="486" y="191"/>
                    </a:lnTo>
                    <a:cubicBezTo>
                      <a:pt x="486" y="280"/>
                      <a:pt x="413" y="398"/>
                      <a:pt x="324" y="398"/>
                    </a:cubicBezTo>
                    <a:cubicBezTo>
                      <a:pt x="236" y="398"/>
                      <a:pt x="162" y="280"/>
                      <a:pt x="162" y="191"/>
                    </a:cubicBezTo>
                    <a:cubicBezTo>
                      <a:pt x="162" y="74"/>
                      <a:pt x="162" y="74"/>
                      <a:pt x="162" y="74"/>
                    </a:cubicBezTo>
                    <a:cubicBezTo>
                      <a:pt x="162" y="59"/>
                      <a:pt x="192" y="44"/>
                      <a:pt x="206" y="44"/>
                    </a:cubicBezTo>
                    <a:cubicBezTo>
                      <a:pt x="442" y="44"/>
                      <a:pt x="442" y="44"/>
                      <a:pt x="442" y="44"/>
                    </a:cubicBezTo>
                    <a:cubicBezTo>
                      <a:pt x="456" y="44"/>
                      <a:pt x="486" y="59"/>
                      <a:pt x="486" y="74"/>
                    </a:cubicBezTo>
                    <a:lnTo>
                      <a:pt x="486" y="191"/>
                    </a:lnTo>
                    <a:close/>
                    <a:moveTo>
                      <a:pt x="515" y="236"/>
                    </a:moveTo>
                    <a:lnTo>
                      <a:pt x="515" y="236"/>
                    </a:lnTo>
                    <a:cubicBezTo>
                      <a:pt x="515" y="118"/>
                      <a:pt x="515" y="118"/>
                      <a:pt x="515" y="118"/>
                    </a:cubicBezTo>
                    <a:cubicBezTo>
                      <a:pt x="604" y="118"/>
                      <a:pt x="604" y="118"/>
                      <a:pt x="604" y="162"/>
                    </a:cubicBezTo>
                    <a:cubicBezTo>
                      <a:pt x="604" y="206"/>
                      <a:pt x="560" y="236"/>
                      <a:pt x="515" y="2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1157188" y="5013498"/>
              <a:ext cx="853440" cy="853440"/>
              <a:chOff x="808845" y="5100583"/>
              <a:chExt cx="853440" cy="85344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808845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3" name="Freeform 159"/>
              <p:cNvSpPr>
                <a:spLocks noChangeArrowheads="1"/>
              </p:cNvSpPr>
              <p:nvPr/>
            </p:nvSpPr>
            <p:spPr bwMode="auto">
              <a:xfrm>
                <a:off x="1010795" y="5309030"/>
                <a:ext cx="449540" cy="436546"/>
              </a:xfrm>
              <a:custGeom>
                <a:avLst/>
                <a:gdLst>
                  <a:gd name="T0" fmla="*/ 63820 w 634"/>
                  <a:gd name="T1" fmla="*/ 68484 h 619"/>
                  <a:gd name="T2" fmla="*/ 63820 w 634"/>
                  <a:gd name="T3" fmla="*/ 68484 h 619"/>
                  <a:gd name="T4" fmla="*/ 58411 w 634"/>
                  <a:gd name="T5" fmla="*/ 73504 h 619"/>
                  <a:gd name="T6" fmla="*/ 58411 w 634"/>
                  <a:gd name="T7" fmla="*/ 147724 h 619"/>
                  <a:gd name="T8" fmla="*/ 63820 w 634"/>
                  <a:gd name="T9" fmla="*/ 152744 h 619"/>
                  <a:gd name="T10" fmla="*/ 74637 w 634"/>
                  <a:gd name="T11" fmla="*/ 147724 h 619"/>
                  <a:gd name="T12" fmla="*/ 74637 w 634"/>
                  <a:gd name="T13" fmla="*/ 73504 h 619"/>
                  <a:gd name="T14" fmla="*/ 63820 w 634"/>
                  <a:gd name="T15" fmla="*/ 68484 h 619"/>
                  <a:gd name="T16" fmla="*/ 122231 w 634"/>
                  <a:gd name="T17" fmla="*/ 89639 h 619"/>
                  <a:gd name="T18" fmla="*/ 122231 w 634"/>
                  <a:gd name="T19" fmla="*/ 89639 h 619"/>
                  <a:gd name="T20" fmla="*/ 116822 w 634"/>
                  <a:gd name="T21" fmla="*/ 94658 h 619"/>
                  <a:gd name="T22" fmla="*/ 116822 w 634"/>
                  <a:gd name="T23" fmla="*/ 136968 h 619"/>
                  <a:gd name="T24" fmla="*/ 122231 w 634"/>
                  <a:gd name="T25" fmla="*/ 147724 h 619"/>
                  <a:gd name="T26" fmla="*/ 127639 w 634"/>
                  <a:gd name="T27" fmla="*/ 136968 h 619"/>
                  <a:gd name="T28" fmla="*/ 127639 w 634"/>
                  <a:gd name="T29" fmla="*/ 94658 h 619"/>
                  <a:gd name="T30" fmla="*/ 122231 w 634"/>
                  <a:gd name="T31" fmla="*/ 89639 h 619"/>
                  <a:gd name="T32" fmla="*/ 169825 w 634"/>
                  <a:gd name="T33" fmla="*/ 0 h 619"/>
                  <a:gd name="T34" fmla="*/ 169825 w 634"/>
                  <a:gd name="T35" fmla="*/ 0 h 619"/>
                  <a:gd name="T36" fmla="*/ 116822 w 634"/>
                  <a:gd name="T37" fmla="*/ 41951 h 619"/>
                  <a:gd name="T38" fmla="*/ 58411 w 634"/>
                  <a:gd name="T39" fmla="*/ 20796 h 619"/>
                  <a:gd name="T40" fmla="*/ 0 w 634"/>
                  <a:gd name="T41" fmla="*/ 52707 h 619"/>
                  <a:gd name="T42" fmla="*/ 0 w 634"/>
                  <a:gd name="T43" fmla="*/ 221586 h 619"/>
                  <a:gd name="T44" fmla="*/ 58411 w 634"/>
                  <a:gd name="T45" fmla="*/ 190034 h 619"/>
                  <a:gd name="T46" fmla="*/ 116822 w 634"/>
                  <a:gd name="T47" fmla="*/ 210830 h 619"/>
                  <a:gd name="T48" fmla="*/ 169825 w 634"/>
                  <a:gd name="T49" fmla="*/ 168879 h 619"/>
                  <a:gd name="T50" fmla="*/ 228236 w 634"/>
                  <a:gd name="T51" fmla="*/ 210830 h 619"/>
                  <a:gd name="T52" fmla="*/ 228236 w 634"/>
                  <a:gd name="T53" fmla="*/ 41951 h 619"/>
                  <a:gd name="T54" fmla="*/ 169825 w 634"/>
                  <a:gd name="T55" fmla="*/ 0 h 619"/>
                  <a:gd name="T56" fmla="*/ 212372 w 634"/>
                  <a:gd name="T57" fmla="*/ 184655 h 619"/>
                  <a:gd name="T58" fmla="*/ 212372 w 634"/>
                  <a:gd name="T59" fmla="*/ 184655 h 619"/>
                  <a:gd name="T60" fmla="*/ 169825 w 634"/>
                  <a:gd name="T61" fmla="*/ 152744 h 619"/>
                  <a:gd name="T62" fmla="*/ 116822 w 634"/>
                  <a:gd name="T63" fmla="*/ 195053 h 619"/>
                  <a:gd name="T64" fmla="*/ 58411 w 634"/>
                  <a:gd name="T65" fmla="*/ 173899 h 619"/>
                  <a:gd name="T66" fmla="*/ 15865 w 634"/>
                  <a:gd name="T67" fmla="*/ 200432 h 619"/>
                  <a:gd name="T68" fmla="*/ 15865 w 634"/>
                  <a:gd name="T69" fmla="*/ 58086 h 619"/>
                  <a:gd name="T70" fmla="*/ 58411 w 634"/>
                  <a:gd name="T71" fmla="*/ 31553 h 619"/>
                  <a:gd name="T72" fmla="*/ 116822 w 634"/>
                  <a:gd name="T73" fmla="*/ 52707 h 619"/>
                  <a:gd name="T74" fmla="*/ 169825 w 634"/>
                  <a:gd name="T75" fmla="*/ 10398 h 619"/>
                  <a:gd name="T76" fmla="*/ 212372 w 634"/>
                  <a:gd name="T77" fmla="*/ 41951 h 619"/>
                  <a:gd name="T78" fmla="*/ 212372 w 634"/>
                  <a:gd name="T79" fmla="*/ 184655 h 619"/>
                  <a:gd name="T80" fmla="*/ 169825 w 634"/>
                  <a:gd name="T81" fmla="*/ 115813 h 619"/>
                  <a:gd name="T82" fmla="*/ 169825 w 634"/>
                  <a:gd name="T83" fmla="*/ 115813 h 619"/>
                  <a:gd name="T84" fmla="*/ 180642 w 634"/>
                  <a:gd name="T85" fmla="*/ 126570 h 619"/>
                  <a:gd name="T86" fmla="*/ 186051 w 634"/>
                  <a:gd name="T87" fmla="*/ 115813 h 619"/>
                  <a:gd name="T88" fmla="*/ 186051 w 634"/>
                  <a:gd name="T89" fmla="*/ 63106 h 619"/>
                  <a:gd name="T90" fmla="*/ 180642 w 634"/>
                  <a:gd name="T91" fmla="*/ 52707 h 619"/>
                  <a:gd name="T92" fmla="*/ 169825 w 634"/>
                  <a:gd name="T93" fmla="*/ 63106 h 619"/>
                  <a:gd name="T94" fmla="*/ 169825 w 634"/>
                  <a:gd name="T95" fmla="*/ 115813 h 61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34" h="619">
                    <a:moveTo>
                      <a:pt x="177" y="191"/>
                    </a:moveTo>
                    <a:lnTo>
                      <a:pt x="177" y="191"/>
                    </a:lnTo>
                    <a:lnTo>
                      <a:pt x="162" y="205"/>
                    </a:lnTo>
                    <a:cubicBezTo>
                      <a:pt x="162" y="412"/>
                      <a:pt x="162" y="412"/>
                      <a:pt x="162" y="412"/>
                    </a:cubicBezTo>
                    <a:lnTo>
                      <a:pt x="177" y="426"/>
                    </a:lnTo>
                    <a:cubicBezTo>
                      <a:pt x="192" y="426"/>
                      <a:pt x="207" y="412"/>
                      <a:pt x="207" y="412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192" y="191"/>
                      <a:pt x="177" y="191"/>
                    </a:cubicBezTo>
                    <a:close/>
                    <a:moveTo>
                      <a:pt x="339" y="250"/>
                    </a:moveTo>
                    <a:lnTo>
                      <a:pt x="339" y="250"/>
                    </a:lnTo>
                    <a:cubicBezTo>
                      <a:pt x="324" y="250"/>
                      <a:pt x="324" y="264"/>
                      <a:pt x="324" y="264"/>
                    </a:cubicBezTo>
                    <a:cubicBezTo>
                      <a:pt x="324" y="382"/>
                      <a:pt x="324" y="382"/>
                      <a:pt x="324" y="382"/>
                    </a:cubicBezTo>
                    <a:cubicBezTo>
                      <a:pt x="324" y="397"/>
                      <a:pt x="324" y="412"/>
                      <a:pt x="339" y="412"/>
                    </a:cubicBezTo>
                    <a:cubicBezTo>
                      <a:pt x="354" y="412"/>
                      <a:pt x="354" y="397"/>
                      <a:pt x="354" y="382"/>
                    </a:cubicBezTo>
                    <a:cubicBezTo>
                      <a:pt x="354" y="264"/>
                      <a:pt x="354" y="264"/>
                      <a:pt x="354" y="264"/>
                    </a:cubicBezTo>
                    <a:cubicBezTo>
                      <a:pt x="354" y="264"/>
                      <a:pt x="354" y="250"/>
                      <a:pt x="339" y="250"/>
                    </a:cubicBezTo>
                    <a:close/>
                    <a:moveTo>
                      <a:pt x="471" y="0"/>
                    </a:moveTo>
                    <a:lnTo>
                      <a:pt x="471" y="0"/>
                    </a:lnTo>
                    <a:cubicBezTo>
                      <a:pt x="324" y="117"/>
                      <a:pt x="324" y="117"/>
                      <a:pt x="324" y="117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162" y="530"/>
                      <a:pt x="162" y="530"/>
                      <a:pt x="162" y="530"/>
                    </a:cubicBezTo>
                    <a:cubicBezTo>
                      <a:pt x="324" y="588"/>
                      <a:pt x="324" y="588"/>
                      <a:pt x="324" y="588"/>
                    </a:cubicBezTo>
                    <a:cubicBezTo>
                      <a:pt x="471" y="471"/>
                      <a:pt x="471" y="471"/>
                      <a:pt x="471" y="471"/>
                    </a:cubicBezTo>
                    <a:cubicBezTo>
                      <a:pt x="633" y="588"/>
                      <a:pt x="633" y="588"/>
                      <a:pt x="633" y="588"/>
                    </a:cubicBezTo>
                    <a:cubicBezTo>
                      <a:pt x="633" y="117"/>
                      <a:pt x="633" y="117"/>
                      <a:pt x="633" y="117"/>
                    </a:cubicBezTo>
                    <a:lnTo>
                      <a:pt x="471" y="0"/>
                    </a:lnTo>
                    <a:close/>
                    <a:moveTo>
                      <a:pt x="589" y="515"/>
                    </a:moveTo>
                    <a:lnTo>
                      <a:pt x="589" y="515"/>
                    </a:lnTo>
                    <a:cubicBezTo>
                      <a:pt x="471" y="426"/>
                      <a:pt x="471" y="426"/>
                      <a:pt x="471" y="426"/>
                    </a:cubicBezTo>
                    <a:cubicBezTo>
                      <a:pt x="324" y="544"/>
                      <a:pt x="324" y="544"/>
                      <a:pt x="324" y="544"/>
                    </a:cubicBezTo>
                    <a:cubicBezTo>
                      <a:pt x="162" y="485"/>
                      <a:pt x="162" y="485"/>
                      <a:pt x="162" y="485"/>
                    </a:cubicBezTo>
                    <a:cubicBezTo>
                      <a:pt x="44" y="559"/>
                      <a:pt x="44" y="559"/>
                      <a:pt x="44" y="559"/>
                    </a:cubicBezTo>
                    <a:cubicBezTo>
                      <a:pt x="44" y="162"/>
                      <a:pt x="44" y="162"/>
                      <a:pt x="44" y="162"/>
                    </a:cubicBezTo>
                    <a:cubicBezTo>
                      <a:pt x="162" y="88"/>
                      <a:pt x="162" y="88"/>
                      <a:pt x="162" y="88"/>
                    </a:cubicBezTo>
                    <a:cubicBezTo>
                      <a:pt x="324" y="147"/>
                      <a:pt x="324" y="147"/>
                      <a:pt x="324" y="147"/>
                    </a:cubicBezTo>
                    <a:cubicBezTo>
                      <a:pt x="471" y="29"/>
                      <a:pt x="471" y="29"/>
                      <a:pt x="471" y="29"/>
                    </a:cubicBezTo>
                    <a:cubicBezTo>
                      <a:pt x="589" y="117"/>
                      <a:pt x="589" y="117"/>
                      <a:pt x="589" y="117"/>
                    </a:cubicBezTo>
                    <a:lnTo>
                      <a:pt x="589" y="515"/>
                    </a:lnTo>
                    <a:close/>
                    <a:moveTo>
                      <a:pt x="471" y="323"/>
                    </a:moveTo>
                    <a:lnTo>
                      <a:pt x="471" y="323"/>
                    </a:lnTo>
                    <a:cubicBezTo>
                      <a:pt x="471" y="338"/>
                      <a:pt x="486" y="353"/>
                      <a:pt x="501" y="353"/>
                    </a:cubicBezTo>
                    <a:cubicBezTo>
                      <a:pt x="501" y="353"/>
                      <a:pt x="516" y="338"/>
                      <a:pt x="516" y="323"/>
                    </a:cubicBezTo>
                    <a:cubicBezTo>
                      <a:pt x="516" y="176"/>
                      <a:pt x="516" y="176"/>
                      <a:pt x="516" y="176"/>
                    </a:cubicBezTo>
                    <a:cubicBezTo>
                      <a:pt x="516" y="162"/>
                      <a:pt x="501" y="147"/>
                      <a:pt x="501" y="147"/>
                    </a:cubicBezTo>
                    <a:cubicBezTo>
                      <a:pt x="486" y="147"/>
                      <a:pt x="471" y="162"/>
                      <a:pt x="471" y="176"/>
                    </a:cubicBezTo>
                    <a:lnTo>
                      <a:pt x="471" y="3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</p:grpSp>
      <p:sp>
        <p:nvSpPr>
          <p:cNvPr id="2" name="矩形 1"/>
          <p:cNvSpPr/>
          <p:nvPr/>
        </p:nvSpPr>
        <p:spPr>
          <a:xfrm>
            <a:off x="678180" y="541655"/>
            <a:ext cx="3210560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zh-CN" altLang="en-US" sz="16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（</a:t>
            </a:r>
            <a:r>
              <a:rPr lang="en-US" altLang="zh-CN" sz="16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2-1</a:t>
            </a:r>
            <a:r>
              <a:rPr lang="zh-CN" altLang="en-US" sz="16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颜色的处理，字幕的操作</a:t>
            </a:r>
            <a:endParaRPr lang="zh-CN" altLang="en-US" sz="1600" spc="3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121275" y="2695575"/>
            <a:ext cx="144589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3200">
                <a:solidFill>
                  <a:schemeClr val="bg1"/>
                </a:solidFill>
              </a:rPr>
              <a:t>颜色</a:t>
            </a:r>
            <a:endParaRPr lang="zh-CN" altLang="en-US" sz="3200">
              <a:solidFill>
                <a:schemeClr val="bg1"/>
              </a:solidFill>
            </a:endParaRPr>
          </a:p>
          <a:p>
            <a:r>
              <a:rPr lang="zh-CN" altLang="en-US" sz="3200">
                <a:solidFill>
                  <a:schemeClr val="bg1"/>
                </a:solidFill>
              </a:rPr>
              <a:t>字幕</a:t>
            </a:r>
            <a:endParaRPr lang="zh-CN" altLang="en-US" sz="3200">
              <a:solidFill>
                <a:schemeClr val="bg1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76300" y="1785620"/>
            <a:ext cx="3169920" cy="2895600"/>
          </a:xfrm>
          <a:prstGeom prst="rect">
            <a:avLst/>
          </a:prstGeom>
        </p:spPr>
      </p:pic>
      <p:sp>
        <p:nvSpPr>
          <p:cNvPr id="5" name="左箭头 4"/>
          <p:cNvSpPr/>
          <p:nvPr/>
        </p:nvSpPr>
        <p:spPr>
          <a:xfrm>
            <a:off x="4357370" y="2861945"/>
            <a:ext cx="824865" cy="267970"/>
          </a:xfrm>
          <a:prstGeom prst="lef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1482090" y="4964430"/>
            <a:ext cx="223901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调节</a:t>
            </a:r>
            <a:r>
              <a:rPr lang="en-US" altLang="zh-CN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——</a:t>
            </a:r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颜色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1100" y="1859915"/>
            <a:ext cx="3177540" cy="2971800"/>
          </a:xfrm>
          <a:prstGeom prst="rect">
            <a:avLst/>
          </a:prstGeom>
        </p:spPr>
      </p:pic>
      <p:sp>
        <p:nvSpPr>
          <p:cNvPr id="18" name="右箭头 17"/>
          <p:cNvSpPr/>
          <p:nvPr/>
        </p:nvSpPr>
        <p:spPr>
          <a:xfrm>
            <a:off x="6101715" y="3270885"/>
            <a:ext cx="801370" cy="316865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8576945" y="5109845"/>
            <a:ext cx="19812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文字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</p:spTree>
    <p:custDataLst>
      <p:tags r:id="rId3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矩形 27"/>
          <p:cNvSpPr/>
          <p:nvPr/>
        </p:nvSpPr>
        <p:spPr>
          <a:xfrm>
            <a:off x="4357370" y="2183765"/>
            <a:ext cx="2648585" cy="23247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00">
              <a:gradFill>
                <a:gsLst>
                  <a:gs pos="0">
                    <a:srgbClr val="C00000"/>
                  </a:gs>
                  <a:gs pos="100000">
                    <a:srgbClr val="F42400"/>
                  </a:gs>
                </a:gsLst>
                <a:lin ang="3000000" scaled="0"/>
              </a:gradFill>
              <a:cs typeface="+mn-ea"/>
              <a:sym typeface="+mn-lt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3787001" y="5424685"/>
            <a:ext cx="3956677" cy="976352"/>
            <a:chOff x="1157188" y="5013498"/>
            <a:chExt cx="3458574" cy="853440"/>
          </a:xfrm>
        </p:grpSpPr>
        <p:grpSp>
          <p:nvGrpSpPr>
            <p:cNvPr id="9" name="组合 8"/>
            <p:cNvGrpSpPr/>
            <p:nvPr/>
          </p:nvGrpSpPr>
          <p:grpSpPr>
            <a:xfrm>
              <a:off x="3762322" y="5013498"/>
              <a:ext cx="853440" cy="853440"/>
              <a:chOff x="3413979" y="5100583"/>
              <a:chExt cx="853440" cy="853440"/>
            </a:xfrm>
          </p:grpSpPr>
          <p:sp>
            <p:nvSpPr>
              <p:cNvPr id="16" name="椭圆 15"/>
              <p:cNvSpPr/>
              <p:nvPr/>
            </p:nvSpPr>
            <p:spPr>
              <a:xfrm>
                <a:off x="3413979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7" name="Freeform 81"/>
              <p:cNvSpPr>
                <a:spLocks noChangeArrowheads="1"/>
              </p:cNvSpPr>
              <p:nvPr/>
            </p:nvSpPr>
            <p:spPr bwMode="auto">
              <a:xfrm>
                <a:off x="3622424" y="5333118"/>
                <a:ext cx="436550" cy="335206"/>
              </a:xfrm>
              <a:custGeom>
                <a:avLst/>
                <a:gdLst>
                  <a:gd name="T0" fmla="*/ 131975 w 619"/>
                  <a:gd name="T1" fmla="*/ 79795 h 472"/>
                  <a:gd name="T2" fmla="*/ 131975 w 619"/>
                  <a:gd name="T3" fmla="*/ 79795 h 472"/>
                  <a:gd name="T4" fmla="*/ 105437 w 619"/>
                  <a:gd name="T5" fmla="*/ 79795 h 472"/>
                  <a:gd name="T6" fmla="*/ 116196 w 619"/>
                  <a:gd name="T7" fmla="*/ 48021 h 472"/>
                  <a:gd name="T8" fmla="*/ 110816 w 619"/>
                  <a:gd name="T9" fmla="*/ 42605 h 472"/>
                  <a:gd name="T10" fmla="*/ 100416 w 619"/>
                  <a:gd name="T11" fmla="*/ 42605 h 472"/>
                  <a:gd name="T12" fmla="*/ 84278 w 619"/>
                  <a:gd name="T13" fmla="*/ 85211 h 472"/>
                  <a:gd name="T14" fmla="*/ 84278 w 619"/>
                  <a:gd name="T15" fmla="*/ 90626 h 472"/>
                  <a:gd name="T16" fmla="*/ 89657 w 619"/>
                  <a:gd name="T17" fmla="*/ 95681 h 472"/>
                  <a:gd name="T18" fmla="*/ 121575 w 619"/>
                  <a:gd name="T19" fmla="*/ 95681 h 472"/>
                  <a:gd name="T20" fmla="*/ 105437 w 619"/>
                  <a:gd name="T21" fmla="*/ 127455 h 472"/>
                  <a:gd name="T22" fmla="*/ 105437 w 619"/>
                  <a:gd name="T23" fmla="*/ 138287 h 472"/>
                  <a:gd name="T24" fmla="*/ 116196 w 619"/>
                  <a:gd name="T25" fmla="*/ 133232 h 472"/>
                  <a:gd name="T26" fmla="*/ 136996 w 619"/>
                  <a:gd name="T27" fmla="*/ 85211 h 472"/>
                  <a:gd name="T28" fmla="*/ 131975 w 619"/>
                  <a:gd name="T29" fmla="*/ 79795 h 472"/>
                  <a:gd name="T30" fmla="*/ 158155 w 619"/>
                  <a:gd name="T31" fmla="*/ 37189 h 472"/>
                  <a:gd name="T32" fmla="*/ 158155 w 619"/>
                  <a:gd name="T33" fmla="*/ 37189 h 472"/>
                  <a:gd name="T34" fmla="*/ 105437 w 619"/>
                  <a:gd name="T35" fmla="*/ 0 h 472"/>
                  <a:gd name="T36" fmla="*/ 42318 w 619"/>
                  <a:gd name="T37" fmla="*/ 58492 h 472"/>
                  <a:gd name="T38" fmla="*/ 0 w 619"/>
                  <a:gd name="T39" fmla="*/ 116984 h 472"/>
                  <a:gd name="T40" fmla="*/ 52718 w 619"/>
                  <a:gd name="T41" fmla="*/ 170060 h 472"/>
                  <a:gd name="T42" fmla="*/ 153134 w 619"/>
                  <a:gd name="T43" fmla="*/ 170060 h 472"/>
                  <a:gd name="T44" fmla="*/ 221632 w 619"/>
                  <a:gd name="T45" fmla="*/ 106513 h 472"/>
                  <a:gd name="T46" fmla="*/ 158155 w 619"/>
                  <a:gd name="T47" fmla="*/ 37189 h 472"/>
                  <a:gd name="T48" fmla="*/ 153134 w 619"/>
                  <a:gd name="T49" fmla="*/ 159589 h 472"/>
                  <a:gd name="T50" fmla="*/ 153134 w 619"/>
                  <a:gd name="T51" fmla="*/ 159589 h 472"/>
                  <a:gd name="T52" fmla="*/ 52718 w 619"/>
                  <a:gd name="T53" fmla="*/ 159589 h 472"/>
                  <a:gd name="T54" fmla="*/ 10400 w 619"/>
                  <a:gd name="T55" fmla="*/ 116984 h 472"/>
                  <a:gd name="T56" fmla="*/ 52718 w 619"/>
                  <a:gd name="T57" fmla="*/ 74379 h 472"/>
                  <a:gd name="T58" fmla="*/ 105437 w 619"/>
                  <a:gd name="T59" fmla="*/ 15887 h 472"/>
                  <a:gd name="T60" fmla="*/ 147755 w 619"/>
                  <a:gd name="T61" fmla="*/ 53437 h 472"/>
                  <a:gd name="T62" fmla="*/ 211232 w 619"/>
                  <a:gd name="T63" fmla="*/ 101097 h 472"/>
                  <a:gd name="T64" fmla="*/ 153134 w 619"/>
                  <a:gd name="T65" fmla="*/ 159589 h 47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19" h="472">
                    <a:moveTo>
                      <a:pt x="368" y="221"/>
                    </a:moveTo>
                    <a:lnTo>
                      <a:pt x="368" y="221"/>
                    </a:lnTo>
                    <a:cubicBezTo>
                      <a:pt x="294" y="221"/>
                      <a:pt x="294" y="221"/>
                      <a:pt x="294" y="221"/>
                    </a:cubicBezTo>
                    <a:cubicBezTo>
                      <a:pt x="324" y="133"/>
                      <a:pt x="324" y="133"/>
                      <a:pt x="324" y="133"/>
                    </a:cubicBezTo>
                    <a:cubicBezTo>
                      <a:pt x="324" y="133"/>
                      <a:pt x="324" y="118"/>
                      <a:pt x="309" y="118"/>
                    </a:cubicBezTo>
                    <a:cubicBezTo>
                      <a:pt x="294" y="103"/>
                      <a:pt x="294" y="118"/>
                      <a:pt x="280" y="118"/>
                    </a:cubicBezTo>
                    <a:cubicBezTo>
                      <a:pt x="235" y="236"/>
                      <a:pt x="235" y="236"/>
                      <a:pt x="235" y="236"/>
                    </a:cubicBezTo>
                    <a:lnTo>
                      <a:pt x="235" y="251"/>
                    </a:lnTo>
                    <a:lnTo>
                      <a:pt x="250" y="265"/>
                    </a:lnTo>
                    <a:cubicBezTo>
                      <a:pt x="339" y="265"/>
                      <a:pt x="339" y="265"/>
                      <a:pt x="339" y="265"/>
                    </a:cubicBezTo>
                    <a:cubicBezTo>
                      <a:pt x="294" y="353"/>
                      <a:pt x="294" y="353"/>
                      <a:pt x="294" y="353"/>
                    </a:cubicBezTo>
                    <a:cubicBezTo>
                      <a:pt x="280" y="353"/>
                      <a:pt x="294" y="369"/>
                      <a:pt x="294" y="383"/>
                    </a:cubicBezTo>
                    <a:cubicBezTo>
                      <a:pt x="309" y="383"/>
                      <a:pt x="324" y="383"/>
                      <a:pt x="324" y="369"/>
                    </a:cubicBezTo>
                    <a:cubicBezTo>
                      <a:pt x="324" y="369"/>
                      <a:pt x="382" y="251"/>
                      <a:pt x="382" y="236"/>
                    </a:cubicBezTo>
                    <a:cubicBezTo>
                      <a:pt x="382" y="236"/>
                      <a:pt x="382" y="221"/>
                      <a:pt x="368" y="221"/>
                    </a:cubicBezTo>
                    <a:close/>
                    <a:moveTo>
                      <a:pt x="441" y="103"/>
                    </a:moveTo>
                    <a:lnTo>
                      <a:pt x="441" y="103"/>
                    </a:lnTo>
                    <a:cubicBezTo>
                      <a:pt x="412" y="44"/>
                      <a:pt x="353" y="0"/>
                      <a:pt x="294" y="0"/>
                    </a:cubicBezTo>
                    <a:cubicBezTo>
                      <a:pt x="191" y="0"/>
                      <a:pt x="118" y="74"/>
                      <a:pt x="118" y="162"/>
                    </a:cubicBezTo>
                    <a:cubicBezTo>
                      <a:pt x="44" y="192"/>
                      <a:pt x="0" y="251"/>
                      <a:pt x="0" y="324"/>
                    </a:cubicBezTo>
                    <a:cubicBezTo>
                      <a:pt x="0" y="398"/>
                      <a:pt x="59" y="471"/>
                      <a:pt x="147" y="471"/>
                    </a:cubicBezTo>
                    <a:lnTo>
                      <a:pt x="427" y="471"/>
                    </a:lnTo>
                    <a:cubicBezTo>
                      <a:pt x="530" y="471"/>
                      <a:pt x="618" y="398"/>
                      <a:pt x="618" y="295"/>
                    </a:cubicBezTo>
                    <a:cubicBezTo>
                      <a:pt x="618" y="192"/>
                      <a:pt x="544" y="103"/>
                      <a:pt x="441" y="103"/>
                    </a:cubicBezTo>
                    <a:close/>
                    <a:moveTo>
                      <a:pt x="427" y="442"/>
                    </a:moveTo>
                    <a:lnTo>
                      <a:pt x="427" y="442"/>
                    </a:lnTo>
                    <a:lnTo>
                      <a:pt x="147" y="442"/>
                    </a:lnTo>
                    <a:cubicBezTo>
                      <a:pt x="147" y="442"/>
                      <a:pt x="29" y="427"/>
                      <a:pt x="29" y="324"/>
                    </a:cubicBezTo>
                    <a:cubicBezTo>
                      <a:pt x="29" y="265"/>
                      <a:pt x="88" y="206"/>
                      <a:pt x="147" y="206"/>
                    </a:cubicBezTo>
                    <a:cubicBezTo>
                      <a:pt x="147" y="118"/>
                      <a:pt x="206" y="44"/>
                      <a:pt x="294" y="44"/>
                    </a:cubicBezTo>
                    <a:cubicBezTo>
                      <a:pt x="353" y="44"/>
                      <a:pt x="397" y="89"/>
                      <a:pt x="412" y="148"/>
                    </a:cubicBezTo>
                    <a:cubicBezTo>
                      <a:pt x="515" y="133"/>
                      <a:pt x="574" y="221"/>
                      <a:pt x="589" y="280"/>
                    </a:cubicBezTo>
                    <a:cubicBezTo>
                      <a:pt x="589" y="369"/>
                      <a:pt x="500" y="442"/>
                      <a:pt x="427" y="4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2459755" y="5013498"/>
              <a:ext cx="853440" cy="853440"/>
              <a:chOff x="2111412" y="5100583"/>
              <a:chExt cx="853440" cy="853440"/>
            </a:xfrm>
          </p:grpSpPr>
          <p:sp>
            <p:nvSpPr>
              <p:cNvPr id="14" name="椭圆 13"/>
              <p:cNvSpPr/>
              <p:nvPr/>
            </p:nvSpPr>
            <p:spPr>
              <a:xfrm>
                <a:off x="2111412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5" name="Freeform 158"/>
              <p:cNvSpPr>
                <a:spLocks noChangeArrowheads="1"/>
              </p:cNvSpPr>
              <p:nvPr/>
            </p:nvSpPr>
            <p:spPr bwMode="auto">
              <a:xfrm>
                <a:off x="2309464" y="5329515"/>
                <a:ext cx="457336" cy="418360"/>
              </a:xfrm>
              <a:custGeom>
                <a:avLst/>
                <a:gdLst>
                  <a:gd name="T0" fmla="*/ 184545 w 649"/>
                  <a:gd name="T1" fmla="*/ 26677 h 590"/>
                  <a:gd name="T2" fmla="*/ 184545 w 649"/>
                  <a:gd name="T3" fmla="*/ 26677 h 590"/>
                  <a:gd name="T4" fmla="*/ 158386 w 649"/>
                  <a:gd name="T5" fmla="*/ 0 h 590"/>
                  <a:gd name="T6" fmla="*/ 73818 w 649"/>
                  <a:gd name="T7" fmla="*/ 0 h 590"/>
                  <a:gd name="T8" fmla="*/ 47659 w 649"/>
                  <a:gd name="T9" fmla="*/ 26677 h 590"/>
                  <a:gd name="T10" fmla="*/ 5375 w 649"/>
                  <a:gd name="T11" fmla="*/ 58402 h 590"/>
                  <a:gd name="T12" fmla="*/ 47659 w 649"/>
                  <a:gd name="T13" fmla="*/ 100941 h 590"/>
                  <a:gd name="T14" fmla="*/ 52676 w 649"/>
                  <a:gd name="T15" fmla="*/ 100941 h 590"/>
                  <a:gd name="T16" fmla="*/ 110727 w 649"/>
                  <a:gd name="T17" fmla="*/ 153935 h 590"/>
                  <a:gd name="T18" fmla="*/ 110727 w 649"/>
                  <a:gd name="T19" fmla="*/ 196474 h 590"/>
                  <a:gd name="T20" fmla="*/ 89585 w 649"/>
                  <a:gd name="T21" fmla="*/ 196474 h 590"/>
                  <a:gd name="T22" fmla="*/ 79193 w 649"/>
                  <a:gd name="T23" fmla="*/ 206929 h 590"/>
                  <a:gd name="T24" fmla="*/ 89585 w 649"/>
                  <a:gd name="T25" fmla="*/ 212336 h 590"/>
                  <a:gd name="T26" fmla="*/ 142261 w 649"/>
                  <a:gd name="T27" fmla="*/ 212336 h 590"/>
                  <a:gd name="T28" fmla="*/ 153011 w 649"/>
                  <a:gd name="T29" fmla="*/ 206929 h 590"/>
                  <a:gd name="T30" fmla="*/ 142261 w 649"/>
                  <a:gd name="T31" fmla="*/ 196474 h 590"/>
                  <a:gd name="T32" fmla="*/ 121477 w 649"/>
                  <a:gd name="T33" fmla="*/ 196474 h 590"/>
                  <a:gd name="T34" fmla="*/ 121477 w 649"/>
                  <a:gd name="T35" fmla="*/ 153935 h 590"/>
                  <a:gd name="T36" fmla="*/ 179528 w 649"/>
                  <a:gd name="T37" fmla="*/ 100941 h 590"/>
                  <a:gd name="T38" fmla="*/ 184545 w 649"/>
                  <a:gd name="T39" fmla="*/ 100941 h 590"/>
                  <a:gd name="T40" fmla="*/ 226829 w 649"/>
                  <a:gd name="T41" fmla="*/ 58402 h 590"/>
                  <a:gd name="T42" fmla="*/ 184545 w 649"/>
                  <a:gd name="T43" fmla="*/ 26677 h 590"/>
                  <a:gd name="T44" fmla="*/ 47659 w 649"/>
                  <a:gd name="T45" fmla="*/ 85079 h 590"/>
                  <a:gd name="T46" fmla="*/ 47659 w 649"/>
                  <a:gd name="T47" fmla="*/ 85079 h 590"/>
                  <a:gd name="T48" fmla="*/ 15767 w 649"/>
                  <a:gd name="T49" fmla="*/ 58402 h 590"/>
                  <a:gd name="T50" fmla="*/ 47659 w 649"/>
                  <a:gd name="T51" fmla="*/ 42539 h 590"/>
                  <a:gd name="T52" fmla="*/ 47659 w 649"/>
                  <a:gd name="T53" fmla="*/ 85079 h 590"/>
                  <a:gd name="T54" fmla="*/ 174153 w 649"/>
                  <a:gd name="T55" fmla="*/ 68856 h 590"/>
                  <a:gd name="T56" fmla="*/ 174153 w 649"/>
                  <a:gd name="T57" fmla="*/ 68856 h 590"/>
                  <a:gd name="T58" fmla="*/ 116102 w 649"/>
                  <a:gd name="T59" fmla="*/ 143480 h 590"/>
                  <a:gd name="T60" fmla="*/ 58051 w 649"/>
                  <a:gd name="T61" fmla="*/ 68856 h 590"/>
                  <a:gd name="T62" fmla="*/ 58051 w 649"/>
                  <a:gd name="T63" fmla="*/ 26677 h 590"/>
                  <a:gd name="T64" fmla="*/ 73818 w 649"/>
                  <a:gd name="T65" fmla="*/ 15862 h 590"/>
                  <a:gd name="T66" fmla="*/ 158386 w 649"/>
                  <a:gd name="T67" fmla="*/ 15862 h 590"/>
                  <a:gd name="T68" fmla="*/ 174153 w 649"/>
                  <a:gd name="T69" fmla="*/ 26677 h 590"/>
                  <a:gd name="T70" fmla="*/ 174153 w 649"/>
                  <a:gd name="T71" fmla="*/ 68856 h 590"/>
                  <a:gd name="T72" fmla="*/ 184545 w 649"/>
                  <a:gd name="T73" fmla="*/ 85079 h 590"/>
                  <a:gd name="T74" fmla="*/ 184545 w 649"/>
                  <a:gd name="T75" fmla="*/ 85079 h 590"/>
                  <a:gd name="T76" fmla="*/ 184545 w 649"/>
                  <a:gd name="T77" fmla="*/ 42539 h 590"/>
                  <a:gd name="T78" fmla="*/ 216437 w 649"/>
                  <a:gd name="T79" fmla="*/ 58402 h 590"/>
                  <a:gd name="T80" fmla="*/ 184545 w 649"/>
                  <a:gd name="T81" fmla="*/ 85079 h 59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649" h="590">
                    <a:moveTo>
                      <a:pt x="515" y="74"/>
                    </a:moveTo>
                    <a:lnTo>
                      <a:pt x="515" y="74"/>
                    </a:lnTo>
                    <a:cubicBezTo>
                      <a:pt x="515" y="30"/>
                      <a:pt x="486" y="0"/>
                      <a:pt x="442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162" y="0"/>
                      <a:pt x="133" y="30"/>
                      <a:pt x="133" y="74"/>
                    </a:cubicBezTo>
                    <a:cubicBezTo>
                      <a:pt x="0" y="74"/>
                      <a:pt x="15" y="74"/>
                      <a:pt x="15" y="162"/>
                    </a:cubicBezTo>
                    <a:cubicBezTo>
                      <a:pt x="15" y="221"/>
                      <a:pt x="59" y="280"/>
                      <a:pt x="133" y="280"/>
                    </a:cubicBezTo>
                    <a:cubicBezTo>
                      <a:pt x="133" y="280"/>
                      <a:pt x="133" y="280"/>
                      <a:pt x="147" y="280"/>
                    </a:cubicBezTo>
                    <a:cubicBezTo>
                      <a:pt x="162" y="353"/>
                      <a:pt x="236" y="427"/>
                      <a:pt x="309" y="427"/>
                    </a:cubicBezTo>
                    <a:cubicBezTo>
                      <a:pt x="309" y="545"/>
                      <a:pt x="309" y="545"/>
                      <a:pt x="309" y="545"/>
                    </a:cubicBezTo>
                    <a:cubicBezTo>
                      <a:pt x="250" y="545"/>
                      <a:pt x="250" y="545"/>
                      <a:pt x="250" y="545"/>
                    </a:cubicBezTo>
                    <a:cubicBezTo>
                      <a:pt x="236" y="545"/>
                      <a:pt x="221" y="560"/>
                      <a:pt x="221" y="574"/>
                    </a:cubicBezTo>
                    <a:cubicBezTo>
                      <a:pt x="221" y="574"/>
                      <a:pt x="236" y="589"/>
                      <a:pt x="250" y="589"/>
                    </a:cubicBezTo>
                    <a:cubicBezTo>
                      <a:pt x="397" y="589"/>
                      <a:pt x="397" y="589"/>
                      <a:pt x="397" y="589"/>
                    </a:cubicBezTo>
                    <a:cubicBezTo>
                      <a:pt x="413" y="589"/>
                      <a:pt x="427" y="574"/>
                      <a:pt x="427" y="574"/>
                    </a:cubicBezTo>
                    <a:cubicBezTo>
                      <a:pt x="427" y="560"/>
                      <a:pt x="413" y="545"/>
                      <a:pt x="397" y="545"/>
                    </a:cubicBezTo>
                    <a:cubicBezTo>
                      <a:pt x="339" y="545"/>
                      <a:pt x="339" y="545"/>
                      <a:pt x="339" y="545"/>
                    </a:cubicBezTo>
                    <a:cubicBezTo>
                      <a:pt x="339" y="427"/>
                      <a:pt x="339" y="427"/>
                      <a:pt x="339" y="427"/>
                    </a:cubicBezTo>
                    <a:cubicBezTo>
                      <a:pt x="413" y="427"/>
                      <a:pt x="486" y="353"/>
                      <a:pt x="501" y="280"/>
                    </a:cubicBezTo>
                    <a:cubicBezTo>
                      <a:pt x="515" y="280"/>
                      <a:pt x="515" y="280"/>
                      <a:pt x="515" y="280"/>
                    </a:cubicBezTo>
                    <a:cubicBezTo>
                      <a:pt x="589" y="280"/>
                      <a:pt x="633" y="221"/>
                      <a:pt x="633" y="162"/>
                    </a:cubicBezTo>
                    <a:cubicBezTo>
                      <a:pt x="633" y="74"/>
                      <a:pt x="648" y="74"/>
                      <a:pt x="515" y="74"/>
                    </a:cubicBezTo>
                    <a:close/>
                    <a:moveTo>
                      <a:pt x="133" y="236"/>
                    </a:moveTo>
                    <a:lnTo>
                      <a:pt x="133" y="236"/>
                    </a:lnTo>
                    <a:cubicBezTo>
                      <a:pt x="88" y="236"/>
                      <a:pt x="44" y="206"/>
                      <a:pt x="44" y="162"/>
                    </a:cubicBezTo>
                    <a:cubicBezTo>
                      <a:pt x="44" y="118"/>
                      <a:pt x="44" y="118"/>
                      <a:pt x="133" y="118"/>
                    </a:cubicBezTo>
                    <a:lnTo>
                      <a:pt x="133" y="236"/>
                    </a:lnTo>
                    <a:close/>
                    <a:moveTo>
                      <a:pt x="486" y="191"/>
                    </a:moveTo>
                    <a:lnTo>
                      <a:pt x="486" y="191"/>
                    </a:lnTo>
                    <a:cubicBezTo>
                      <a:pt x="486" y="280"/>
                      <a:pt x="413" y="398"/>
                      <a:pt x="324" y="398"/>
                    </a:cubicBezTo>
                    <a:cubicBezTo>
                      <a:pt x="236" y="398"/>
                      <a:pt x="162" y="280"/>
                      <a:pt x="162" y="191"/>
                    </a:cubicBezTo>
                    <a:cubicBezTo>
                      <a:pt x="162" y="74"/>
                      <a:pt x="162" y="74"/>
                      <a:pt x="162" y="74"/>
                    </a:cubicBezTo>
                    <a:cubicBezTo>
                      <a:pt x="162" y="59"/>
                      <a:pt x="192" y="44"/>
                      <a:pt x="206" y="44"/>
                    </a:cubicBezTo>
                    <a:cubicBezTo>
                      <a:pt x="442" y="44"/>
                      <a:pt x="442" y="44"/>
                      <a:pt x="442" y="44"/>
                    </a:cubicBezTo>
                    <a:cubicBezTo>
                      <a:pt x="456" y="44"/>
                      <a:pt x="486" y="59"/>
                      <a:pt x="486" y="74"/>
                    </a:cubicBezTo>
                    <a:lnTo>
                      <a:pt x="486" y="191"/>
                    </a:lnTo>
                    <a:close/>
                    <a:moveTo>
                      <a:pt x="515" y="236"/>
                    </a:moveTo>
                    <a:lnTo>
                      <a:pt x="515" y="236"/>
                    </a:lnTo>
                    <a:cubicBezTo>
                      <a:pt x="515" y="118"/>
                      <a:pt x="515" y="118"/>
                      <a:pt x="515" y="118"/>
                    </a:cubicBezTo>
                    <a:cubicBezTo>
                      <a:pt x="604" y="118"/>
                      <a:pt x="604" y="118"/>
                      <a:pt x="604" y="162"/>
                    </a:cubicBezTo>
                    <a:cubicBezTo>
                      <a:pt x="604" y="206"/>
                      <a:pt x="560" y="236"/>
                      <a:pt x="515" y="2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1157188" y="5013498"/>
              <a:ext cx="853440" cy="853440"/>
              <a:chOff x="808845" y="5100583"/>
              <a:chExt cx="853440" cy="85344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808845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3" name="Freeform 159"/>
              <p:cNvSpPr>
                <a:spLocks noChangeArrowheads="1"/>
              </p:cNvSpPr>
              <p:nvPr/>
            </p:nvSpPr>
            <p:spPr bwMode="auto">
              <a:xfrm>
                <a:off x="1010795" y="5309030"/>
                <a:ext cx="449540" cy="436546"/>
              </a:xfrm>
              <a:custGeom>
                <a:avLst/>
                <a:gdLst>
                  <a:gd name="T0" fmla="*/ 63820 w 634"/>
                  <a:gd name="T1" fmla="*/ 68484 h 619"/>
                  <a:gd name="T2" fmla="*/ 63820 w 634"/>
                  <a:gd name="T3" fmla="*/ 68484 h 619"/>
                  <a:gd name="T4" fmla="*/ 58411 w 634"/>
                  <a:gd name="T5" fmla="*/ 73504 h 619"/>
                  <a:gd name="T6" fmla="*/ 58411 w 634"/>
                  <a:gd name="T7" fmla="*/ 147724 h 619"/>
                  <a:gd name="T8" fmla="*/ 63820 w 634"/>
                  <a:gd name="T9" fmla="*/ 152744 h 619"/>
                  <a:gd name="T10" fmla="*/ 74637 w 634"/>
                  <a:gd name="T11" fmla="*/ 147724 h 619"/>
                  <a:gd name="T12" fmla="*/ 74637 w 634"/>
                  <a:gd name="T13" fmla="*/ 73504 h 619"/>
                  <a:gd name="T14" fmla="*/ 63820 w 634"/>
                  <a:gd name="T15" fmla="*/ 68484 h 619"/>
                  <a:gd name="T16" fmla="*/ 122231 w 634"/>
                  <a:gd name="T17" fmla="*/ 89639 h 619"/>
                  <a:gd name="T18" fmla="*/ 122231 w 634"/>
                  <a:gd name="T19" fmla="*/ 89639 h 619"/>
                  <a:gd name="T20" fmla="*/ 116822 w 634"/>
                  <a:gd name="T21" fmla="*/ 94658 h 619"/>
                  <a:gd name="T22" fmla="*/ 116822 w 634"/>
                  <a:gd name="T23" fmla="*/ 136968 h 619"/>
                  <a:gd name="T24" fmla="*/ 122231 w 634"/>
                  <a:gd name="T25" fmla="*/ 147724 h 619"/>
                  <a:gd name="T26" fmla="*/ 127639 w 634"/>
                  <a:gd name="T27" fmla="*/ 136968 h 619"/>
                  <a:gd name="T28" fmla="*/ 127639 w 634"/>
                  <a:gd name="T29" fmla="*/ 94658 h 619"/>
                  <a:gd name="T30" fmla="*/ 122231 w 634"/>
                  <a:gd name="T31" fmla="*/ 89639 h 619"/>
                  <a:gd name="T32" fmla="*/ 169825 w 634"/>
                  <a:gd name="T33" fmla="*/ 0 h 619"/>
                  <a:gd name="T34" fmla="*/ 169825 w 634"/>
                  <a:gd name="T35" fmla="*/ 0 h 619"/>
                  <a:gd name="T36" fmla="*/ 116822 w 634"/>
                  <a:gd name="T37" fmla="*/ 41951 h 619"/>
                  <a:gd name="T38" fmla="*/ 58411 w 634"/>
                  <a:gd name="T39" fmla="*/ 20796 h 619"/>
                  <a:gd name="T40" fmla="*/ 0 w 634"/>
                  <a:gd name="T41" fmla="*/ 52707 h 619"/>
                  <a:gd name="T42" fmla="*/ 0 w 634"/>
                  <a:gd name="T43" fmla="*/ 221586 h 619"/>
                  <a:gd name="T44" fmla="*/ 58411 w 634"/>
                  <a:gd name="T45" fmla="*/ 190034 h 619"/>
                  <a:gd name="T46" fmla="*/ 116822 w 634"/>
                  <a:gd name="T47" fmla="*/ 210830 h 619"/>
                  <a:gd name="T48" fmla="*/ 169825 w 634"/>
                  <a:gd name="T49" fmla="*/ 168879 h 619"/>
                  <a:gd name="T50" fmla="*/ 228236 w 634"/>
                  <a:gd name="T51" fmla="*/ 210830 h 619"/>
                  <a:gd name="T52" fmla="*/ 228236 w 634"/>
                  <a:gd name="T53" fmla="*/ 41951 h 619"/>
                  <a:gd name="T54" fmla="*/ 169825 w 634"/>
                  <a:gd name="T55" fmla="*/ 0 h 619"/>
                  <a:gd name="T56" fmla="*/ 212372 w 634"/>
                  <a:gd name="T57" fmla="*/ 184655 h 619"/>
                  <a:gd name="T58" fmla="*/ 212372 w 634"/>
                  <a:gd name="T59" fmla="*/ 184655 h 619"/>
                  <a:gd name="T60" fmla="*/ 169825 w 634"/>
                  <a:gd name="T61" fmla="*/ 152744 h 619"/>
                  <a:gd name="T62" fmla="*/ 116822 w 634"/>
                  <a:gd name="T63" fmla="*/ 195053 h 619"/>
                  <a:gd name="T64" fmla="*/ 58411 w 634"/>
                  <a:gd name="T65" fmla="*/ 173899 h 619"/>
                  <a:gd name="T66" fmla="*/ 15865 w 634"/>
                  <a:gd name="T67" fmla="*/ 200432 h 619"/>
                  <a:gd name="T68" fmla="*/ 15865 w 634"/>
                  <a:gd name="T69" fmla="*/ 58086 h 619"/>
                  <a:gd name="T70" fmla="*/ 58411 w 634"/>
                  <a:gd name="T71" fmla="*/ 31553 h 619"/>
                  <a:gd name="T72" fmla="*/ 116822 w 634"/>
                  <a:gd name="T73" fmla="*/ 52707 h 619"/>
                  <a:gd name="T74" fmla="*/ 169825 w 634"/>
                  <a:gd name="T75" fmla="*/ 10398 h 619"/>
                  <a:gd name="T76" fmla="*/ 212372 w 634"/>
                  <a:gd name="T77" fmla="*/ 41951 h 619"/>
                  <a:gd name="T78" fmla="*/ 212372 w 634"/>
                  <a:gd name="T79" fmla="*/ 184655 h 619"/>
                  <a:gd name="T80" fmla="*/ 169825 w 634"/>
                  <a:gd name="T81" fmla="*/ 115813 h 619"/>
                  <a:gd name="T82" fmla="*/ 169825 w 634"/>
                  <a:gd name="T83" fmla="*/ 115813 h 619"/>
                  <a:gd name="T84" fmla="*/ 180642 w 634"/>
                  <a:gd name="T85" fmla="*/ 126570 h 619"/>
                  <a:gd name="T86" fmla="*/ 186051 w 634"/>
                  <a:gd name="T87" fmla="*/ 115813 h 619"/>
                  <a:gd name="T88" fmla="*/ 186051 w 634"/>
                  <a:gd name="T89" fmla="*/ 63106 h 619"/>
                  <a:gd name="T90" fmla="*/ 180642 w 634"/>
                  <a:gd name="T91" fmla="*/ 52707 h 619"/>
                  <a:gd name="T92" fmla="*/ 169825 w 634"/>
                  <a:gd name="T93" fmla="*/ 63106 h 619"/>
                  <a:gd name="T94" fmla="*/ 169825 w 634"/>
                  <a:gd name="T95" fmla="*/ 115813 h 61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34" h="619">
                    <a:moveTo>
                      <a:pt x="177" y="191"/>
                    </a:moveTo>
                    <a:lnTo>
                      <a:pt x="177" y="191"/>
                    </a:lnTo>
                    <a:lnTo>
                      <a:pt x="162" y="205"/>
                    </a:lnTo>
                    <a:cubicBezTo>
                      <a:pt x="162" y="412"/>
                      <a:pt x="162" y="412"/>
                      <a:pt x="162" y="412"/>
                    </a:cubicBezTo>
                    <a:lnTo>
                      <a:pt x="177" y="426"/>
                    </a:lnTo>
                    <a:cubicBezTo>
                      <a:pt x="192" y="426"/>
                      <a:pt x="207" y="412"/>
                      <a:pt x="207" y="412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192" y="191"/>
                      <a:pt x="177" y="191"/>
                    </a:cubicBezTo>
                    <a:close/>
                    <a:moveTo>
                      <a:pt x="339" y="250"/>
                    </a:moveTo>
                    <a:lnTo>
                      <a:pt x="339" y="250"/>
                    </a:lnTo>
                    <a:cubicBezTo>
                      <a:pt x="324" y="250"/>
                      <a:pt x="324" y="264"/>
                      <a:pt x="324" y="264"/>
                    </a:cubicBezTo>
                    <a:cubicBezTo>
                      <a:pt x="324" y="382"/>
                      <a:pt x="324" y="382"/>
                      <a:pt x="324" y="382"/>
                    </a:cubicBezTo>
                    <a:cubicBezTo>
                      <a:pt x="324" y="397"/>
                      <a:pt x="324" y="412"/>
                      <a:pt x="339" y="412"/>
                    </a:cubicBezTo>
                    <a:cubicBezTo>
                      <a:pt x="354" y="412"/>
                      <a:pt x="354" y="397"/>
                      <a:pt x="354" y="382"/>
                    </a:cubicBezTo>
                    <a:cubicBezTo>
                      <a:pt x="354" y="264"/>
                      <a:pt x="354" y="264"/>
                      <a:pt x="354" y="264"/>
                    </a:cubicBezTo>
                    <a:cubicBezTo>
                      <a:pt x="354" y="264"/>
                      <a:pt x="354" y="250"/>
                      <a:pt x="339" y="250"/>
                    </a:cubicBezTo>
                    <a:close/>
                    <a:moveTo>
                      <a:pt x="471" y="0"/>
                    </a:moveTo>
                    <a:lnTo>
                      <a:pt x="471" y="0"/>
                    </a:lnTo>
                    <a:cubicBezTo>
                      <a:pt x="324" y="117"/>
                      <a:pt x="324" y="117"/>
                      <a:pt x="324" y="117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162" y="530"/>
                      <a:pt x="162" y="530"/>
                      <a:pt x="162" y="530"/>
                    </a:cubicBezTo>
                    <a:cubicBezTo>
                      <a:pt x="324" y="588"/>
                      <a:pt x="324" y="588"/>
                      <a:pt x="324" y="588"/>
                    </a:cubicBezTo>
                    <a:cubicBezTo>
                      <a:pt x="471" y="471"/>
                      <a:pt x="471" y="471"/>
                      <a:pt x="471" y="471"/>
                    </a:cubicBezTo>
                    <a:cubicBezTo>
                      <a:pt x="633" y="588"/>
                      <a:pt x="633" y="588"/>
                      <a:pt x="633" y="588"/>
                    </a:cubicBezTo>
                    <a:cubicBezTo>
                      <a:pt x="633" y="117"/>
                      <a:pt x="633" y="117"/>
                      <a:pt x="633" y="117"/>
                    </a:cubicBezTo>
                    <a:lnTo>
                      <a:pt x="471" y="0"/>
                    </a:lnTo>
                    <a:close/>
                    <a:moveTo>
                      <a:pt x="589" y="515"/>
                    </a:moveTo>
                    <a:lnTo>
                      <a:pt x="589" y="515"/>
                    </a:lnTo>
                    <a:cubicBezTo>
                      <a:pt x="471" y="426"/>
                      <a:pt x="471" y="426"/>
                      <a:pt x="471" y="426"/>
                    </a:cubicBezTo>
                    <a:cubicBezTo>
                      <a:pt x="324" y="544"/>
                      <a:pt x="324" y="544"/>
                      <a:pt x="324" y="544"/>
                    </a:cubicBezTo>
                    <a:cubicBezTo>
                      <a:pt x="162" y="485"/>
                      <a:pt x="162" y="485"/>
                      <a:pt x="162" y="485"/>
                    </a:cubicBezTo>
                    <a:cubicBezTo>
                      <a:pt x="44" y="559"/>
                      <a:pt x="44" y="559"/>
                      <a:pt x="44" y="559"/>
                    </a:cubicBezTo>
                    <a:cubicBezTo>
                      <a:pt x="44" y="162"/>
                      <a:pt x="44" y="162"/>
                      <a:pt x="44" y="162"/>
                    </a:cubicBezTo>
                    <a:cubicBezTo>
                      <a:pt x="162" y="88"/>
                      <a:pt x="162" y="88"/>
                      <a:pt x="162" y="88"/>
                    </a:cubicBezTo>
                    <a:cubicBezTo>
                      <a:pt x="324" y="147"/>
                      <a:pt x="324" y="147"/>
                      <a:pt x="324" y="147"/>
                    </a:cubicBezTo>
                    <a:cubicBezTo>
                      <a:pt x="471" y="29"/>
                      <a:pt x="471" y="29"/>
                      <a:pt x="471" y="29"/>
                    </a:cubicBezTo>
                    <a:cubicBezTo>
                      <a:pt x="589" y="117"/>
                      <a:pt x="589" y="117"/>
                      <a:pt x="589" y="117"/>
                    </a:cubicBezTo>
                    <a:lnTo>
                      <a:pt x="589" y="515"/>
                    </a:lnTo>
                    <a:close/>
                    <a:moveTo>
                      <a:pt x="471" y="323"/>
                    </a:moveTo>
                    <a:lnTo>
                      <a:pt x="471" y="323"/>
                    </a:lnTo>
                    <a:cubicBezTo>
                      <a:pt x="471" y="338"/>
                      <a:pt x="486" y="353"/>
                      <a:pt x="501" y="353"/>
                    </a:cubicBezTo>
                    <a:cubicBezTo>
                      <a:pt x="501" y="353"/>
                      <a:pt x="516" y="338"/>
                      <a:pt x="516" y="323"/>
                    </a:cubicBezTo>
                    <a:cubicBezTo>
                      <a:pt x="516" y="176"/>
                      <a:pt x="516" y="176"/>
                      <a:pt x="516" y="176"/>
                    </a:cubicBezTo>
                    <a:cubicBezTo>
                      <a:pt x="516" y="162"/>
                      <a:pt x="501" y="147"/>
                      <a:pt x="501" y="147"/>
                    </a:cubicBezTo>
                    <a:cubicBezTo>
                      <a:pt x="486" y="147"/>
                      <a:pt x="471" y="162"/>
                      <a:pt x="471" y="176"/>
                    </a:cubicBezTo>
                    <a:lnTo>
                      <a:pt x="471" y="3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</p:grpSp>
      <p:sp>
        <p:nvSpPr>
          <p:cNvPr id="2" name="矩形 1"/>
          <p:cNvSpPr/>
          <p:nvPr/>
        </p:nvSpPr>
        <p:spPr>
          <a:xfrm>
            <a:off x="314325" y="513715"/>
            <a:ext cx="3854450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zh-CN" altLang="en-US" sz="16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（</a:t>
            </a:r>
            <a:r>
              <a:rPr lang="en-US" altLang="zh-CN" sz="16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2-2</a:t>
            </a:r>
            <a:r>
              <a:rPr lang="zh-CN" altLang="en-US" sz="16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音频的设置；滤镜特效设置</a:t>
            </a:r>
            <a:endParaRPr lang="zh-CN" altLang="en-US" sz="1600" spc="3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121275" y="2695575"/>
            <a:ext cx="144589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3200">
                <a:solidFill>
                  <a:schemeClr val="bg1"/>
                </a:solidFill>
              </a:rPr>
              <a:t>音频</a:t>
            </a:r>
            <a:endParaRPr lang="zh-CN" altLang="en-US" sz="3200">
              <a:solidFill>
                <a:schemeClr val="bg1"/>
              </a:solidFill>
            </a:endParaRPr>
          </a:p>
          <a:p>
            <a:r>
              <a:rPr lang="zh-CN" altLang="en-US" sz="3200">
                <a:solidFill>
                  <a:schemeClr val="bg1"/>
                </a:solidFill>
              </a:rPr>
              <a:t>滤镜</a:t>
            </a:r>
            <a:endParaRPr lang="zh-CN" altLang="en-US" sz="3200">
              <a:solidFill>
                <a:schemeClr val="bg1"/>
              </a:solidFill>
            </a:endParaRPr>
          </a:p>
        </p:txBody>
      </p:sp>
      <p:sp>
        <p:nvSpPr>
          <p:cNvPr id="5" name="左箭头 4"/>
          <p:cNvSpPr/>
          <p:nvPr/>
        </p:nvSpPr>
        <p:spPr>
          <a:xfrm>
            <a:off x="4357370" y="2861945"/>
            <a:ext cx="824865" cy="267970"/>
          </a:xfrm>
          <a:prstGeom prst="lef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1212215" y="4964430"/>
            <a:ext cx="280606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音频</a:t>
            </a:r>
            <a:r>
              <a:rPr lang="en-US" altLang="zh-CN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——</a:t>
            </a:r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添加音乐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  <p:sp>
        <p:nvSpPr>
          <p:cNvPr id="18" name="右箭头 17"/>
          <p:cNvSpPr/>
          <p:nvPr/>
        </p:nvSpPr>
        <p:spPr>
          <a:xfrm>
            <a:off x="6101715" y="3270885"/>
            <a:ext cx="801370" cy="316865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8576945" y="5098415"/>
            <a:ext cx="2269490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滤镜（滤镜特效作用于整段视频，不能改变参数）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94080" y="1751965"/>
            <a:ext cx="3124200" cy="2964180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5360" y="1812925"/>
            <a:ext cx="3139440" cy="2903220"/>
          </a:xfrm>
          <a:prstGeom prst="rect">
            <a:avLst/>
          </a:prstGeom>
        </p:spPr>
      </p:pic>
    </p:spTree>
    <p:custDataLst>
      <p:tags r:id="rId3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矩形 27"/>
          <p:cNvSpPr/>
          <p:nvPr/>
        </p:nvSpPr>
        <p:spPr>
          <a:xfrm>
            <a:off x="4357370" y="2183765"/>
            <a:ext cx="2648585" cy="23247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00">
              <a:gradFill>
                <a:gsLst>
                  <a:gs pos="0">
                    <a:srgbClr val="C00000"/>
                  </a:gs>
                  <a:gs pos="100000">
                    <a:srgbClr val="F42400"/>
                  </a:gs>
                </a:gsLst>
                <a:lin ang="3000000" scaled="0"/>
              </a:gradFill>
              <a:cs typeface="+mn-ea"/>
              <a:sym typeface="+mn-lt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3787001" y="5424685"/>
            <a:ext cx="3956677" cy="976352"/>
            <a:chOff x="1157188" y="5013498"/>
            <a:chExt cx="3458574" cy="853440"/>
          </a:xfrm>
        </p:grpSpPr>
        <p:grpSp>
          <p:nvGrpSpPr>
            <p:cNvPr id="9" name="组合 8"/>
            <p:cNvGrpSpPr/>
            <p:nvPr/>
          </p:nvGrpSpPr>
          <p:grpSpPr>
            <a:xfrm>
              <a:off x="3762322" y="5013498"/>
              <a:ext cx="853440" cy="853440"/>
              <a:chOff x="3413979" y="5100583"/>
              <a:chExt cx="853440" cy="853440"/>
            </a:xfrm>
          </p:grpSpPr>
          <p:sp>
            <p:nvSpPr>
              <p:cNvPr id="16" name="椭圆 15"/>
              <p:cNvSpPr/>
              <p:nvPr/>
            </p:nvSpPr>
            <p:spPr>
              <a:xfrm>
                <a:off x="3413979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7" name="Freeform 81"/>
              <p:cNvSpPr>
                <a:spLocks noChangeArrowheads="1"/>
              </p:cNvSpPr>
              <p:nvPr/>
            </p:nvSpPr>
            <p:spPr bwMode="auto">
              <a:xfrm>
                <a:off x="3622424" y="5333118"/>
                <a:ext cx="436550" cy="335206"/>
              </a:xfrm>
              <a:custGeom>
                <a:avLst/>
                <a:gdLst>
                  <a:gd name="T0" fmla="*/ 131975 w 619"/>
                  <a:gd name="T1" fmla="*/ 79795 h 472"/>
                  <a:gd name="T2" fmla="*/ 131975 w 619"/>
                  <a:gd name="T3" fmla="*/ 79795 h 472"/>
                  <a:gd name="T4" fmla="*/ 105437 w 619"/>
                  <a:gd name="T5" fmla="*/ 79795 h 472"/>
                  <a:gd name="T6" fmla="*/ 116196 w 619"/>
                  <a:gd name="T7" fmla="*/ 48021 h 472"/>
                  <a:gd name="T8" fmla="*/ 110816 w 619"/>
                  <a:gd name="T9" fmla="*/ 42605 h 472"/>
                  <a:gd name="T10" fmla="*/ 100416 w 619"/>
                  <a:gd name="T11" fmla="*/ 42605 h 472"/>
                  <a:gd name="T12" fmla="*/ 84278 w 619"/>
                  <a:gd name="T13" fmla="*/ 85211 h 472"/>
                  <a:gd name="T14" fmla="*/ 84278 w 619"/>
                  <a:gd name="T15" fmla="*/ 90626 h 472"/>
                  <a:gd name="T16" fmla="*/ 89657 w 619"/>
                  <a:gd name="T17" fmla="*/ 95681 h 472"/>
                  <a:gd name="T18" fmla="*/ 121575 w 619"/>
                  <a:gd name="T19" fmla="*/ 95681 h 472"/>
                  <a:gd name="T20" fmla="*/ 105437 w 619"/>
                  <a:gd name="T21" fmla="*/ 127455 h 472"/>
                  <a:gd name="T22" fmla="*/ 105437 w 619"/>
                  <a:gd name="T23" fmla="*/ 138287 h 472"/>
                  <a:gd name="T24" fmla="*/ 116196 w 619"/>
                  <a:gd name="T25" fmla="*/ 133232 h 472"/>
                  <a:gd name="T26" fmla="*/ 136996 w 619"/>
                  <a:gd name="T27" fmla="*/ 85211 h 472"/>
                  <a:gd name="T28" fmla="*/ 131975 w 619"/>
                  <a:gd name="T29" fmla="*/ 79795 h 472"/>
                  <a:gd name="T30" fmla="*/ 158155 w 619"/>
                  <a:gd name="T31" fmla="*/ 37189 h 472"/>
                  <a:gd name="T32" fmla="*/ 158155 w 619"/>
                  <a:gd name="T33" fmla="*/ 37189 h 472"/>
                  <a:gd name="T34" fmla="*/ 105437 w 619"/>
                  <a:gd name="T35" fmla="*/ 0 h 472"/>
                  <a:gd name="T36" fmla="*/ 42318 w 619"/>
                  <a:gd name="T37" fmla="*/ 58492 h 472"/>
                  <a:gd name="T38" fmla="*/ 0 w 619"/>
                  <a:gd name="T39" fmla="*/ 116984 h 472"/>
                  <a:gd name="T40" fmla="*/ 52718 w 619"/>
                  <a:gd name="T41" fmla="*/ 170060 h 472"/>
                  <a:gd name="T42" fmla="*/ 153134 w 619"/>
                  <a:gd name="T43" fmla="*/ 170060 h 472"/>
                  <a:gd name="T44" fmla="*/ 221632 w 619"/>
                  <a:gd name="T45" fmla="*/ 106513 h 472"/>
                  <a:gd name="T46" fmla="*/ 158155 w 619"/>
                  <a:gd name="T47" fmla="*/ 37189 h 472"/>
                  <a:gd name="T48" fmla="*/ 153134 w 619"/>
                  <a:gd name="T49" fmla="*/ 159589 h 472"/>
                  <a:gd name="T50" fmla="*/ 153134 w 619"/>
                  <a:gd name="T51" fmla="*/ 159589 h 472"/>
                  <a:gd name="T52" fmla="*/ 52718 w 619"/>
                  <a:gd name="T53" fmla="*/ 159589 h 472"/>
                  <a:gd name="T54" fmla="*/ 10400 w 619"/>
                  <a:gd name="T55" fmla="*/ 116984 h 472"/>
                  <a:gd name="T56" fmla="*/ 52718 w 619"/>
                  <a:gd name="T57" fmla="*/ 74379 h 472"/>
                  <a:gd name="T58" fmla="*/ 105437 w 619"/>
                  <a:gd name="T59" fmla="*/ 15887 h 472"/>
                  <a:gd name="T60" fmla="*/ 147755 w 619"/>
                  <a:gd name="T61" fmla="*/ 53437 h 472"/>
                  <a:gd name="T62" fmla="*/ 211232 w 619"/>
                  <a:gd name="T63" fmla="*/ 101097 h 472"/>
                  <a:gd name="T64" fmla="*/ 153134 w 619"/>
                  <a:gd name="T65" fmla="*/ 159589 h 47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19" h="472">
                    <a:moveTo>
                      <a:pt x="368" y="221"/>
                    </a:moveTo>
                    <a:lnTo>
                      <a:pt x="368" y="221"/>
                    </a:lnTo>
                    <a:cubicBezTo>
                      <a:pt x="294" y="221"/>
                      <a:pt x="294" y="221"/>
                      <a:pt x="294" y="221"/>
                    </a:cubicBezTo>
                    <a:cubicBezTo>
                      <a:pt x="324" y="133"/>
                      <a:pt x="324" y="133"/>
                      <a:pt x="324" y="133"/>
                    </a:cubicBezTo>
                    <a:cubicBezTo>
                      <a:pt x="324" y="133"/>
                      <a:pt x="324" y="118"/>
                      <a:pt x="309" y="118"/>
                    </a:cubicBezTo>
                    <a:cubicBezTo>
                      <a:pt x="294" y="103"/>
                      <a:pt x="294" y="118"/>
                      <a:pt x="280" y="118"/>
                    </a:cubicBezTo>
                    <a:cubicBezTo>
                      <a:pt x="235" y="236"/>
                      <a:pt x="235" y="236"/>
                      <a:pt x="235" y="236"/>
                    </a:cubicBezTo>
                    <a:lnTo>
                      <a:pt x="235" y="251"/>
                    </a:lnTo>
                    <a:lnTo>
                      <a:pt x="250" y="265"/>
                    </a:lnTo>
                    <a:cubicBezTo>
                      <a:pt x="339" y="265"/>
                      <a:pt x="339" y="265"/>
                      <a:pt x="339" y="265"/>
                    </a:cubicBezTo>
                    <a:cubicBezTo>
                      <a:pt x="294" y="353"/>
                      <a:pt x="294" y="353"/>
                      <a:pt x="294" y="353"/>
                    </a:cubicBezTo>
                    <a:cubicBezTo>
                      <a:pt x="280" y="353"/>
                      <a:pt x="294" y="369"/>
                      <a:pt x="294" y="383"/>
                    </a:cubicBezTo>
                    <a:cubicBezTo>
                      <a:pt x="309" y="383"/>
                      <a:pt x="324" y="383"/>
                      <a:pt x="324" y="369"/>
                    </a:cubicBezTo>
                    <a:cubicBezTo>
                      <a:pt x="324" y="369"/>
                      <a:pt x="382" y="251"/>
                      <a:pt x="382" y="236"/>
                    </a:cubicBezTo>
                    <a:cubicBezTo>
                      <a:pt x="382" y="236"/>
                      <a:pt x="382" y="221"/>
                      <a:pt x="368" y="221"/>
                    </a:cubicBezTo>
                    <a:close/>
                    <a:moveTo>
                      <a:pt x="441" y="103"/>
                    </a:moveTo>
                    <a:lnTo>
                      <a:pt x="441" y="103"/>
                    </a:lnTo>
                    <a:cubicBezTo>
                      <a:pt x="412" y="44"/>
                      <a:pt x="353" y="0"/>
                      <a:pt x="294" y="0"/>
                    </a:cubicBezTo>
                    <a:cubicBezTo>
                      <a:pt x="191" y="0"/>
                      <a:pt x="118" y="74"/>
                      <a:pt x="118" y="162"/>
                    </a:cubicBezTo>
                    <a:cubicBezTo>
                      <a:pt x="44" y="192"/>
                      <a:pt x="0" y="251"/>
                      <a:pt x="0" y="324"/>
                    </a:cubicBezTo>
                    <a:cubicBezTo>
                      <a:pt x="0" y="398"/>
                      <a:pt x="59" y="471"/>
                      <a:pt x="147" y="471"/>
                    </a:cubicBezTo>
                    <a:lnTo>
                      <a:pt x="427" y="471"/>
                    </a:lnTo>
                    <a:cubicBezTo>
                      <a:pt x="530" y="471"/>
                      <a:pt x="618" y="398"/>
                      <a:pt x="618" y="295"/>
                    </a:cubicBezTo>
                    <a:cubicBezTo>
                      <a:pt x="618" y="192"/>
                      <a:pt x="544" y="103"/>
                      <a:pt x="441" y="103"/>
                    </a:cubicBezTo>
                    <a:close/>
                    <a:moveTo>
                      <a:pt x="427" y="442"/>
                    </a:moveTo>
                    <a:lnTo>
                      <a:pt x="427" y="442"/>
                    </a:lnTo>
                    <a:lnTo>
                      <a:pt x="147" y="442"/>
                    </a:lnTo>
                    <a:cubicBezTo>
                      <a:pt x="147" y="442"/>
                      <a:pt x="29" y="427"/>
                      <a:pt x="29" y="324"/>
                    </a:cubicBezTo>
                    <a:cubicBezTo>
                      <a:pt x="29" y="265"/>
                      <a:pt x="88" y="206"/>
                      <a:pt x="147" y="206"/>
                    </a:cubicBezTo>
                    <a:cubicBezTo>
                      <a:pt x="147" y="118"/>
                      <a:pt x="206" y="44"/>
                      <a:pt x="294" y="44"/>
                    </a:cubicBezTo>
                    <a:cubicBezTo>
                      <a:pt x="353" y="44"/>
                      <a:pt x="397" y="89"/>
                      <a:pt x="412" y="148"/>
                    </a:cubicBezTo>
                    <a:cubicBezTo>
                      <a:pt x="515" y="133"/>
                      <a:pt x="574" y="221"/>
                      <a:pt x="589" y="280"/>
                    </a:cubicBezTo>
                    <a:cubicBezTo>
                      <a:pt x="589" y="369"/>
                      <a:pt x="500" y="442"/>
                      <a:pt x="427" y="4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2459755" y="5013498"/>
              <a:ext cx="853440" cy="853440"/>
              <a:chOff x="2111412" y="5100583"/>
              <a:chExt cx="853440" cy="853440"/>
            </a:xfrm>
          </p:grpSpPr>
          <p:sp>
            <p:nvSpPr>
              <p:cNvPr id="14" name="椭圆 13"/>
              <p:cNvSpPr/>
              <p:nvPr/>
            </p:nvSpPr>
            <p:spPr>
              <a:xfrm>
                <a:off x="2111412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5" name="Freeform 158"/>
              <p:cNvSpPr>
                <a:spLocks noChangeArrowheads="1"/>
              </p:cNvSpPr>
              <p:nvPr/>
            </p:nvSpPr>
            <p:spPr bwMode="auto">
              <a:xfrm>
                <a:off x="2309464" y="5329515"/>
                <a:ext cx="457336" cy="418360"/>
              </a:xfrm>
              <a:custGeom>
                <a:avLst/>
                <a:gdLst>
                  <a:gd name="T0" fmla="*/ 184545 w 649"/>
                  <a:gd name="T1" fmla="*/ 26677 h 590"/>
                  <a:gd name="T2" fmla="*/ 184545 w 649"/>
                  <a:gd name="T3" fmla="*/ 26677 h 590"/>
                  <a:gd name="T4" fmla="*/ 158386 w 649"/>
                  <a:gd name="T5" fmla="*/ 0 h 590"/>
                  <a:gd name="T6" fmla="*/ 73818 w 649"/>
                  <a:gd name="T7" fmla="*/ 0 h 590"/>
                  <a:gd name="T8" fmla="*/ 47659 w 649"/>
                  <a:gd name="T9" fmla="*/ 26677 h 590"/>
                  <a:gd name="T10" fmla="*/ 5375 w 649"/>
                  <a:gd name="T11" fmla="*/ 58402 h 590"/>
                  <a:gd name="T12" fmla="*/ 47659 w 649"/>
                  <a:gd name="T13" fmla="*/ 100941 h 590"/>
                  <a:gd name="T14" fmla="*/ 52676 w 649"/>
                  <a:gd name="T15" fmla="*/ 100941 h 590"/>
                  <a:gd name="T16" fmla="*/ 110727 w 649"/>
                  <a:gd name="T17" fmla="*/ 153935 h 590"/>
                  <a:gd name="T18" fmla="*/ 110727 w 649"/>
                  <a:gd name="T19" fmla="*/ 196474 h 590"/>
                  <a:gd name="T20" fmla="*/ 89585 w 649"/>
                  <a:gd name="T21" fmla="*/ 196474 h 590"/>
                  <a:gd name="T22" fmla="*/ 79193 w 649"/>
                  <a:gd name="T23" fmla="*/ 206929 h 590"/>
                  <a:gd name="T24" fmla="*/ 89585 w 649"/>
                  <a:gd name="T25" fmla="*/ 212336 h 590"/>
                  <a:gd name="T26" fmla="*/ 142261 w 649"/>
                  <a:gd name="T27" fmla="*/ 212336 h 590"/>
                  <a:gd name="T28" fmla="*/ 153011 w 649"/>
                  <a:gd name="T29" fmla="*/ 206929 h 590"/>
                  <a:gd name="T30" fmla="*/ 142261 w 649"/>
                  <a:gd name="T31" fmla="*/ 196474 h 590"/>
                  <a:gd name="T32" fmla="*/ 121477 w 649"/>
                  <a:gd name="T33" fmla="*/ 196474 h 590"/>
                  <a:gd name="T34" fmla="*/ 121477 w 649"/>
                  <a:gd name="T35" fmla="*/ 153935 h 590"/>
                  <a:gd name="T36" fmla="*/ 179528 w 649"/>
                  <a:gd name="T37" fmla="*/ 100941 h 590"/>
                  <a:gd name="T38" fmla="*/ 184545 w 649"/>
                  <a:gd name="T39" fmla="*/ 100941 h 590"/>
                  <a:gd name="T40" fmla="*/ 226829 w 649"/>
                  <a:gd name="T41" fmla="*/ 58402 h 590"/>
                  <a:gd name="T42" fmla="*/ 184545 w 649"/>
                  <a:gd name="T43" fmla="*/ 26677 h 590"/>
                  <a:gd name="T44" fmla="*/ 47659 w 649"/>
                  <a:gd name="T45" fmla="*/ 85079 h 590"/>
                  <a:gd name="T46" fmla="*/ 47659 w 649"/>
                  <a:gd name="T47" fmla="*/ 85079 h 590"/>
                  <a:gd name="T48" fmla="*/ 15767 w 649"/>
                  <a:gd name="T49" fmla="*/ 58402 h 590"/>
                  <a:gd name="T50" fmla="*/ 47659 w 649"/>
                  <a:gd name="T51" fmla="*/ 42539 h 590"/>
                  <a:gd name="T52" fmla="*/ 47659 w 649"/>
                  <a:gd name="T53" fmla="*/ 85079 h 590"/>
                  <a:gd name="T54" fmla="*/ 174153 w 649"/>
                  <a:gd name="T55" fmla="*/ 68856 h 590"/>
                  <a:gd name="T56" fmla="*/ 174153 w 649"/>
                  <a:gd name="T57" fmla="*/ 68856 h 590"/>
                  <a:gd name="T58" fmla="*/ 116102 w 649"/>
                  <a:gd name="T59" fmla="*/ 143480 h 590"/>
                  <a:gd name="T60" fmla="*/ 58051 w 649"/>
                  <a:gd name="T61" fmla="*/ 68856 h 590"/>
                  <a:gd name="T62" fmla="*/ 58051 w 649"/>
                  <a:gd name="T63" fmla="*/ 26677 h 590"/>
                  <a:gd name="T64" fmla="*/ 73818 w 649"/>
                  <a:gd name="T65" fmla="*/ 15862 h 590"/>
                  <a:gd name="T66" fmla="*/ 158386 w 649"/>
                  <a:gd name="T67" fmla="*/ 15862 h 590"/>
                  <a:gd name="T68" fmla="*/ 174153 w 649"/>
                  <a:gd name="T69" fmla="*/ 26677 h 590"/>
                  <a:gd name="T70" fmla="*/ 174153 w 649"/>
                  <a:gd name="T71" fmla="*/ 68856 h 590"/>
                  <a:gd name="T72" fmla="*/ 184545 w 649"/>
                  <a:gd name="T73" fmla="*/ 85079 h 590"/>
                  <a:gd name="T74" fmla="*/ 184545 w 649"/>
                  <a:gd name="T75" fmla="*/ 85079 h 590"/>
                  <a:gd name="T76" fmla="*/ 184545 w 649"/>
                  <a:gd name="T77" fmla="*/ 42539 h 590"/>
                  <a:gd name="T78" fmla="*/ 216437 w 649"/>
                  <a:gd name="T79" fmla="*/ 58402 h 590"/>
                  <a:gd name="T80" fmla="*/ 184545 w 649"/>
                  <a:gd name="T81" fmla="*/ 85079 h 59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649" h="590">
                    <a:moveTo>
                      <a:pt x="515" y="74"/>
                    </a:moveTo>
                    <a:lnTo>
                      <a:pt x="515" y="74"/>
                    </a:lnTo>
                    <a:cubicBezTo>
                      <a:pt x="515" y="30"/>
                      <a:pt x="486" y="0"/>
                      <a:pt x="442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162" y="0"/>
                      <a:pt x="133" y="30"/>
                      <a:pt x="133" y="74"/>
                    </a:cubicBezTo>
                    <a:cubicBezTo>
                      <a:pt x="0" y="74"/>
                      <a:pt x="15" y="74"/>
                      <a:pt x="15" y="162"/>
                    </a:cubicBezTo>
                    <a:cubicBezTo>
                      <a:pt x="15" y="221"/>
                      <a:pt x="59" y="280"/>
                      <a:pt x="133" y="280"/>
                    </a:cubicBezTo>
                    <a:cubicBezTo>
                      <a:pt x="133" y="280"/>
                      <a:pt x="133" y="280"/>
                      <a:pt x="147" y="280"/>
                    </a:cubicBezTo>
                    <a:cubicBezTo>
                      <a:pt x="162" y="353"/>
                      <a:pt x="236" y="427"/>
                      <a:pt x="309" y="427"/>
                    </a:cubicBezTo>
                    <a:cubicBezTo>
                      <a:pt x="309" y="545"/>
                      <a:pt x="309" y="545"/>
                      <a:pt x="309" y="545"/>
                    </a:cubicBezTo>
                    <a:cubicBezTo>
                      <a:pt x="250" y="545"/>
                      <a:pt x="250" y="545"/>
                      <a:pt x="250" y="545"/>
                    </a:cubicBezTo>
                    <a:cubicBezTo>
                      <a:pt x="236" y="545"/>
                      <a:pt x="221" y="560"/>
                      <a:pt x="221" y="574"/>
                    </a:cubicBezTo>
                    <a:cubicBezTo>
                      <a:pt x="221" y="574"/>
                      <a:pt x="236" y="589"/>
                      <a:pt x="250" y="589"/>
                    </a:cubicBezTo>
                    <a:cubicBezTo>
                      <a:pt x="397" y="589"/>
                      <a:pt x="397" y="589"/>
                      <a:pt x="397" y="589"/>
                    </a:cubicBezTo>
                    <a:cubicBezTo>
                      <a:pt x="413" y="589"/>
                      <a:pt x="427" y="574"/>
                      <a:pt x="427" y="574"/>
                    </a:cubicBezTo>
                    <a:cubicBezTo>
                      <a:pt x="427" y="560"/>
                      <a:pt x="413" y="545"/>
                      <a:pt x="397" y="545"/>
                    </a:cubicBezTo>
                    <a:cubicBezTo>
                      <a:pt x="339" y="545"/>
                      <a:pt x="339" y="545"/>
                      <a:pt x="339" y="545"/>
                    </a:cubicBezTo>
                    <a:cubicBezTo>
                      <a:pt x="339" y="427"/>
                      <a:pt x="339" y="427"/>
                      <a:pt x="339" y="427"/>
                    </a:cubicBezTo>
                    <a:cubicBezTo>
                      <a:pt x="413" y="427"/>
                      <a:pt x="486" y="353"/>
                      <a:pt x="501" y="280"/>
                    </a:cubicBezTo>
                    <a:cubicBezTo>
                      <a:pt x="515" y="280"/>
                      <a:pt x="515" y="280"/>
                      <a:pt x="515" y="280"/>
                    </a:cubicBezTo>
                    <a:cubicBezTo>
                      <a:pt x="589" y="280"/>
                      <a:pt x="633" y="221"/>
                      <a:pt x="633" y="162"/>
                    </a:cubicBezTo>
                    <a:cubicBezTo>
                      <a:pt x="633" y="74"/>
                      <a:pt x="648" y="74"/>
                      <a:pt x="515" y="74"/>
                    </a:cubicBezTo>
                    <a:close/>
                    <a:moveTo>
                      <a:pt x="133" y="236"/>
                    </a:moveTo>
                    <a:lnTo>
                      <a:pt x="133" y="236"/>
                    </a:lnTo>
                    <a:cubicBezTo>
                      <a:pt x="88" y="236"/>
                      <a:pt x="44" y="206"/>
                      <a:pt x="44" y="162"/>
                    </a:cubicBezTo>
                    <a:cubicBezTo>
                      <a:pt x="44" y="118"/>
                      <a:pt x="44" y="118"/>
                      <a:pt x="133" y="118"/>
                    </a:cubicBezTo>
                    <a:lnTo>
                      <a:pt x="133" y="236"/>
                    </a:lnTo>
                    <a:close/>
                    <a:moveTo>
                      <a:pt x="486" y="191"/>
                    </a:moveTo>
                    <a:lnTo>
                      <a:pt x="486" y="191"/>
                    </a:lnTo>
                    <a:cubicBezTo>
                      <a:pt x="486" y="280"/>
                      <a:pt x="413" y="398"/>
                      <a:pt x="324" y="398"/>
                    </a:cubicBezTo>
                    <a:cubicBezTo>
                      <a:pt x="236" y="398"/>
                      <a:pt x="162" y="280"/>
                      <a:pt x="162" y="191"/>
                    </a:cubicBezTo>
                    <a:cubicBezTo>
                      <a:pt x="162" y="74"/>
                      <a:pt x="162" y="74"/>
                      <a:pt x="162" y="74"/>
                    </a:cubicBezTo>
                    <a:cubicBezTo>
                      <a:pt x="162" y="59"/>
                      <a:pt x="192" y="44"/>
                      <a:pt x="206" y="44"/>
                    </a:cubicBezTo>
                    <a:cubicBezTo>
                      <a:pt x="442" y="44"/>
                      <a:pt x="442" y="44"/>
                      <a:pt x="442" y="44"/>
                    </a:cubicBezTo>
                    <a:cubicBezTo>
                      <a:pt x="456" y="44"/>
                      <a:pt x="486" y="59"/>
                      <a:pt x="486" y="74"/>
                    </a:cubicBezTo>
                    <a:lnTo>
                      <a:pt x="486" y="191"/>
                    </a:lnTo>
                    <a:close/>
                    <a:moveTo>
                      <a:pt x="515" y="236"/>
                    </a:moveTo>
                    <a:lnTo>
                      <a:pt x="515" y="236"/>
                    </a:lnTo>
                    <a:cubicBezTo>
                      <a:pt x="515" y="118"/>
                      <a:pt x="515" y="118"/>
                      <a:pt x="515" y="118"/>
                    </a:cubicBezTo>
                    <a:cubicBezTo>
                      <a:pt x="604" y="118"/>
                      <a:pt x="604" y="118"/>
                      <a:pt x="604" y="162"/>
                    </a:cubicBezTo>
                    <a:cubicBezTo>
                      <a:pt x="604" y="206"/>
                      <a:pt x="560" y="236"/>
                      <a:pt x="515" y="2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1157188" y="5013498"/>
              <a:ext cx="853440" cy="853440"/>
              <a:chOff x="808845" y="5100583"/>
              <a:chExt cx="853440" cy="85344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808845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3" name="Freeform 159"/>
              <p:cNvSpPr>
                <a:spLocks noChangeArrowheads="1"/>
              </p:cNvSpPr>
              <p:nvPr/>
            </p:nvSpPr>
            <p:spPr bwMode="auto">
              <a:xfrm>
                <a:off x="1010795" y="5309030"/>
                <a:ext cx="449540" cy="436546"/>
              </a:xfrm>
              <a:custGeom>
                <a:avLst/>
                <a:gdLst>
                  <a:gd name="T0" fmla="*/ 63820 w 634"/>
                  <a:gd name="T1" fmla="*/ 68484 h 619"/>
                  <a:gd name="T2" fmla="*/ 63820 w 634"/>
                  <a:gd name="T3" fmla="*/ 68484 h 619"/>
                  <a:gd name="T4" fmla="*/ 58411 w 634"/>
                  <a:gd name="T5" fmla="*/ 73504 h 619"/>
                  <a:gd name="T6" fmla="*/ 58411 w 634"/>
                  <a:gd name="T7" fmla="*/ 147724 h 619"/>
                  <a:gd name="T8" fmla="*/ 63820 w 634"/>
                  <a:gd name="T9" fmla="*/ 152744 h 619"/>
                  <a:gd name="T10" fmla="*/ 74637 w 634"/>
                  <a:gd name="T11" fmla="*/ 147724 h 619"/>
                  <a:gd name="T12" fmla="*/ 74637 w 634"/>
                  <a:gd name="T13" fmla="*/ 73504 h 619"/>
                  <a:gd name="T14" fmla="*/ 63820 w 634"/>
                  <a:gd name="T15" fmla="*/ 68484 h 619"/>
                  <a:gd name="T16" fmla="*/ 122231 w 634"/>
                  <a:gd name="T17" fmla="*/ 89639 h 619"/>
                  <a:gd name="T18" fmla="*/ 122231 w 634"/>
                  <a:gd name="T19" fmla="*/ 89639 h 619"/>
                  <a:gd name="T20" fmla="*/ 116822 w 634"/>
                  <a:gd name="T21" fmla="*/ 94658 h 619"/>
                  <a:gd name="T22" fmla="*/ 116822 w 634"/>
                  <a:gd name="T23" fmla="*/ 136968 h 619"/>
                  <a:gd name="T24" fmla="*/ 122231 w 634"/>
                  <a:gd name="T25" fmla="*/ 147724 h 619"/>
                  <a:gd name="T26" fmla="*/ 127639 w 634"/>
                  <a:gd name="T27" fmla="*/ 136968 h 619"/>
                  <a:gd name="T28" fmla="*/ 127639 w 634"/>
                  <a:gd name="T29" fmla="*/ 94658 h 619"/>
                  <a:gd name="T30" fmla="*/ 122231 w 634"/>
                  <a:gd name="T31" fmla="*/ 89639 h 619"/>
                  <a:gd name="T32" fmla="*/ 169825 w 634"/>
                  <a:gd name="T33" fmla="*/ 0 h 619"/>
                  <a:gd name="T34" fmla="*/ 169825 w 634"/>
                  <a:gd name="T35" fmla="*/ 0 h 619"/>
                  <a:gd name="T36" fmla="*/ 116822 w 634"/>
                  <a:gd name="T37" fmla="*/ 41951 h 619"/>
                  <a:gd name="T38" fmla="*/ 58411 w 634"/>
                  <a:gd name="T39" fmla="*/ 20796 h 619"/>
                  <a:gd name="T40" fmla="*/ 0 w 634"/>
                  <a:gd name="T41" fmla="*/ 52707 h 619"/>
                  <a:gd name="T42" fmla="*/ 0 w 634"/>
                  <a:gd name="T43" fmla="*/ 221586 h 619"/>
                  <a:gd name="T44" fmla="*/ 58411 w 634"/>
                  <a:gd name="T45" fmla="*/ 190034 h 619"/>
                  <a:gd name="T46" fmla="*/ 116822 w 634"/>
                  <a:gd name="T47" fmla="*/ 210830 h 619"/>
                  <a:gd name="T48" fmla="*/ 169825 w 634"/>
                  <a:gd name="T49" fmla="*/ 168879 h 619"/>
                  <a:gd name="T50" fmla="*/ 228236 w 634"/>
                  <a:gd name="T51" fmla="*/ 210830 h 619"/>
                  <a:gd name="T52" fmla="*/ 228236 w 634"/>
                  <a:gd name="T53" fmla="*/ 41951 h 619"/>
                  <a:gd name="T54" fmla="*/ 169825 w 634"/>
                  <a:gd name="T55" fmla="*/ 0 h 619"/>
                  <a:gd name="T56" fmla="*/ 212372 w 634"/>
                  <a:gd name="T57" fmla="*/ 184655 h 619"/>
                  <a:gd name="T58" fmla="*/ 212372 w 634"/>
                  <a:gd name="T59" fmla="*/ 184655 h 619"/>
                  <a:gd name="T60" fmla="*/ 169825 w 634"/>
                  <a:gd name="T61" fmla="*/ 152744 h 619"/>
                  <a:gd name="T62" fmla="*/ 116822 w 634"/>
                  <a:gd name="T63" fmla="*/ 195053 h 619"/>
                  <a:gd name="T64" fmla="*/ 58411 w 634"/>
                  <a:gd name="T65" fmla="*/ 173899 h 619"/>
                  <a:gd name="T66" fmla="*/ 15865 w 634"/>
                  <a:gd name="T67" fmla="*/ 200432 h 619"/>
                  <a:gd name="T68" fmla="*/ 15865 w 634"/>
                  <a:gd name="T69" fmla="*/ 58086 h 619"/>
                  <a:gd name="T70" fmla="*/ 58411 w 634"/>
                  <a:gd name="T71" fmla="*/ 31553 h 619"/>
                  <a:gd name="T72" fmla="*/ 116822 w 634"/>
                  <a:gd name="T73" fmla="*/ 52707 h 619"/>
                  <a:gd name="T74" fmla="*/ 169825 w 634"/>
                  <a:gd name="T75" fmla="*/ 10398 h 619"/>
                  <a:gd name="T76" fmla="*/ 212372 w 634"/>
                  <a:gd name="T77" fmla="*/ 41951 h 619"/>
                  <a:gd name="T78" fmla="*/ 212372 w 634"/>
                  <a:gd name="T79" fmla="*/ 184655 h 619"/>
                  <a:gd name="T80" fmla="*/ 169825 w 634"/>
                  <a:gd name="T81" fmla="*/ 115813 h 619"/>
                  <a:gd name="T82" fmla="*/ 169825 w 634"/>
                  <a:gd name="T83" fmla="*/ 115813 h 619"/>
                  <a:gd name="T84" fmla="*/ 180642 w 634"/>
                  <a:gd name="T85" fmla="*/ 126570 h 619"/>
                  <a:gd name="T86" fmla="*/ 186051 w 634"/>
                  <a:gd name="T87" fmla="*/ 115813 h 619"/>
                  <a:gd name="T88" fmla="*/ 186051 w 634"/>
                  <a:gd name="T89" fmla="*/ 63106 h 619"/>
                  <a:gd name="T90" fmla="*/ 180642 w 634"/>
                  <a:gd name="T91" fmla="*/ 52707 h 619"/>
                  <a:gd name="T92" fmla="*/ 169825 w 634"/>
                  <a:gd name="T93" fmla="*/ 63106 h 619"/>
                  <a:gd name="T94" fmla="*/ 169825 w 634"/>
                  <a:gd name="T95" fmla="*/ 115813 h 61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34" h="619">
                    <a:moveTo>
                      <a:pt x="177" y="191"/>
                    </a:moveTo>
                    <a:lnTo>
                      <a:pt x="177" y="191"/>
                    </a:lnTo>
                    <a:lnTo>
                      <a:pt x="162" y="205"/>
                    </a:lnTo>
                    <a:cubicBezTo>
                      <a:pt x="162" y="412"/>
                      <a:pt x="162" y="412"/>
                      <a:pt x="162" y="412"/>
                    </a:cubicBezTo>
                    <a:lnTo>
                      <a:pt x="177" y="426"/>
                    </a:lnTo>
                    <a:cubicBezTo>
                      <a:pt x="192" y="426"/>
                      <a:pt x="207" y="412"/>
                      <a:pt x="207" y="412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192" y="191"/>
                      <a:pt x="177" y="191"/>
                    </a:cubicBezTo>
                    <a:close/>
                    <a:moveTo>
                      <a:pt x="339" y="250"/>
                    </a:moveTo>
                    <a:lnTo>
                      <a:pt x="339" y="250"/>
                    </a:lnTo>
                    <a:cubicBezTo>
                      <a:pt x="324" y="250"/>
                      <a:pt x="324" y="264"/>
                      <a:pt x="324" y="264"/>
                    </a:cubicBezTo>
                    <a:cubicBezTo>
                      <a:pt x="324" y="382"/>
                      <a:pt x="324" y="382"/>
                      <a:pt x="324" y="382"/>
                    </a:cubicBezTo>
                    <a:cubicBezTo>
                      <a:pt x="324" y="397"/>
                      <a:pt x="324" y="412"/>
                      <a:pt x="339" y="412"/>
                    </a:cubicBezTo>
                    <a:cubicBezTo>
                      <a:pt x="354" y="412"/>
                      <a:pt x="354" y="397"/>
                      <a:pt x="354" y="382"/>
                    </a:cubicBezTo>
                    <a:cubicBezTo>
                      <a:pt x="354" y="264"/>
                      <a:pt x="354" y="264"/>
                      <a:pt x="354" y="264"/>
                    </a:cubicBezTo>
                    <a:cubicBezTo>
                      <a:pt x="354" y="264"/>
                      <a:pt x="354" y="250"/>
                      <a:pt x="339" y="250"/>
                    </a:cubicBezTo>
                    <a:close/>
                    <a:moveTo>
                      <a:pt x="471" y="0"/>
                    </a:moveTo>
                    <a:lnTo>
                      <a:pt x="471" y="0"/>
                    </a:lnTo>
                    <a:cubicBezTo>
                      <a:pt x="324" y="117"/>
                      <a:pt x="324" y="117"/>
                      <a:pt x="324" y="117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162" y="530"/>
                      <a:pt x="162" y="530"/>
                      <a:pt x="162" y="530"/>
                    </a:cubicBezTo>
                    <a:cubicBezTo>
                      <a:pt x="324" y="588"/>
                      <a:pt x="324" y="588"/>
                      <a:pt x="324" y="588"/>
                    </a:cubicBezTo>
                    <a:cubicBezTo>
                      <a:pt x="471" y="471"/>
                      <a:pt x="471" y="471"/>
                      <a:pt x="471" y="471"/>
                    </a:cubicBezTo>
                    <a:cubicBezTo>
                      <a:pt x="633" y="588"/>
                      <a:pt x="633" y="588"/>
                      <a:pt x="633" y="588"/>
                    </a:cubicBezTo>
                    <a:cubicBezTo>
                      <a:pt x="633" y="117"/>
                      <a:pt x="633" y="117"/>
                      <a:pt x="633" y="117"/>
                    </a:cubicBezTo>
                    <a:lnTo>
                      <a:pt x="471" y="0"/>
                    </a:lnTo>
                    <a:close/>
                    <a:moveTo>
                      <a:pt x="589" y="515"/>
                    </a:moveTo>
                    <a:lnTo>
                      <a:pt x="589" y="515"/>
                    </a:lnTo>
                    <a:cubicBezTo>
                      <a:pt x="471" y="426"/>
                      <a:pt x="471" y="426"/>
                      <a:pt x="471" y="426"/>
                    </a:cubicBezTo>
                    <a:cubicBezTo>
                      <a:pt x="324" y="544"/>
                      <a:pt x="324" y="544"/>
                      <a:pt x="324" y="544"/>
                    </a:cubicBezTo>
                    <a:cubicBezTo>
                      <a:pt x="162" y="485"/>
                      <a:pt x="162" y="485"/>
                      <a:pt x="162" y="485"/>
                    </a:cubicBezTo>
                    <a:cubicBezTo>
                      <a:pt x="44" y="559"/>
                      <a:pt x="44" y="559"/>
                      <a:pt x="44" y="559"/>
                    </a:cubicBezTo>
                    <a:cubicBezTo>
                      <a:pt x="44" y="162"/>
                      <a:pt x="44" y="162"/>
                      <a:pt x="44" y="162"/>
                    </a:cubicBezTo>
                    <a:cubicBezTo>
                      <a:pt x="162" y="88"/>
                      <a:pt x="162" y="88"/>
                      <a:pt x="162" y="88"/>
                    </a:cubicBezTo>
                    <a:cubicBezTo>
                      <a:pt x="324" y="147"/>
                      <a:pt x="324" y="147"/>
                      <a:pt x="324" y="147"/>
                    </a:cubicBezTo>
                    <a:cubicBezTo>
                      <a:pt x="471" y="29"/>
                      <a:pt x="471" y="29"/>
                      <a:pt x="471" y="29"/>
                    </a:cubicBezTo>
                    <a:cubicBezTo>
                      <a:pt x="589" y="117"/>
                      <a:pt x="589" y="117"/>
                      <a:pt x="589" y="117"/>
                    </a:cubicBezTo>
                    <a:lnTo>
                      <a:pt x="589" y="515"/>
                    </a:lnTo>
                    <a:close/>
                    <a:moveTo>
                      <a:pt x="471" y="323"/>
                    </a:moveTo>
                    <a:lnTo>
                      <a:pt x="471" y="323"/>
                    </a:lnTo>
                    <a:cubicBezTo>
                      <a:pt x="471" y="338"/>
                      <a:pt x="486" y="353"/>
                      <a:pt x="501" y="353"/>
                    </a:cubicBezTo>
                    <a:cubicBezTo>
                      <a:pt x="501" y="353"/>
                      <a:pt x="516" y="338"/>
                      <a:pt x="516" y="323"/>
                    </a:cubicBezTo>
                    <a:cubicBezTo>
                      <a:pt x="516" y="176"/>
                      <a:pt x="516" y="176"/>
                      <a:pt x="516" y="176"/>
                    </a:cubicBezTo>
                    <a:cubicBezTo>
                      <a:pt x="516" y="162"/>
                      <a:pt x="501" y="147"/>
                      <a:pt x="501" y="147"/>
                    </a:cubicBezTo>
                    <a:cubicBezTo>
                      <a:pt x="486" y="147"/>
                      <a:pt x="471" y="162"/>
                      <a:pt x="471" y="176"/>
                    </a:cubicBezTo>
                    <a:lnTo>
                      <a:pt x="471" y="3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</p:grpSp>
      <p:sp>
        <p:nvSpPr>
          <p:cNvPr id="2" name="矩形 1"/>
          <p:cNvSpPr/>
          <p:nvPr/>
        </p:nvSpPr>
        <p:spPr>
          <a:xfrm>
            <a:off x="-405765" y="523240"/>
            <a:ext cx="5588000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zh-CN" altLang="en-US" sz="16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  （</a:t>
            </a:r>
            <a:r>
              <a:rPr lang="en-US" altLang="zh-CN" sz="16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2-3</a:t>
            </a:r>
            <a:r>
              <a:rPr lang="zh-CN" altLang="en-US" sz="16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画布的调节；美颜瘦脸功能的使用</a:t>
            </a:r>
            <a:endParaRPr lang="zh-CN" altLang="en-US" sz="1600" spc="3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121275" y="2695575"/>
            <a:ext cx="144589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3200">
                <a:solidFill>
                  <a:schemeClr val="bg1"/>
                </a:solidFill>
              </a:rPr>
              <a:t>画布</a:t>
            </a:r>
            <a:endParaRPr lang="zh-CN" altLang="en-US" sz="3200">
              <a:solidFill>
                <a:schemeClr val="bg1"/>
              </a:solidFill>
            </a:endParaRPr>
          </a:p>
          <a:p>
            <a:r>
              <a:rPr lang="zh-CN" altLang="en-US" sz="3200">
                <a:solidFill>
                  <a:schemeClr val="bg1"/>
                </a:solidFill>
              </a:rPr>
              <a:t>美颜</a:t>
            </a:r>
            <a:endParaRPr lang="zh-CN" altLang="en-US" sz="3200">
              <a:solidFill>
                <a:schemeClr val="bg1"/>
              </a:solidFill>
            </a:endParaRPr>
          </a:p>
        </p:txBody>
      </p:sp>
      <p:sp>
        <p:nvSpPr>
          <p:cNvPr id="5" name="左箭头 4"/>
          <p:cNvSpPr/>
          <p:nvPr/>
        </p:nvSpPr>
        <p:spPr>
          <a:xfrm>
            <a:off x="4357370" y="2861945"/>
            <a:ext cx="824865" cy="267970"/>
          </a:xfrm>
          <a:prstGeom prst="lef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1212215" y="4964430"/>
            <a:ext cx="280606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调节</a:t>
            </a:r>
            <a:r>
              <a:rPr lang="en-US" altLang="zh-CN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——</a:t>
            </a:r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画布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  <p:sp>
        <p:nvSpPr>
          <p:cNvPr id="18" name="右箭头 17"/>
          <p:cNvSpPr/>
          <p:nvPr/>
        </p:nvSpPr>
        <p:spPr>
          <a:xfrm>
            <a:off x="6101715" y="3270885"/>
            <a:ext cx="801370" cy="316865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endParaRPr lang="zh-CN" altLang="en-US"/>
          </a:p>
        </p:txBody>
      </p:sp>
      <p:sp>
        <p:nvSpPr>
          <p:cNvPr id="19" name="文本框 18"/>
          <p:cNvSpPr txBox="1"/>
          <p:nvPr/>
        </p:nvSpPr>
        <p:spPr>
          <a:xfrm>
            <a:off x="8278495" y="4964430"/>
            <a:ext cx="22612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剪辑</a:t>
            </a:r>
            <a:r>
              <a:rPr lang="en-US" altLang="zh-CN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——</a:t>
            </a:r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美颜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57275" y="1999615"/>
            <a:ext cx="3116580" cy="252984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5845" y="1898650"/>
            <a:ext cx="2891155" cy="2712720"/>
          </a:xfrm>
          <a:prstGeom prst="rect">
            <a:avLst/>
          </a:prstGeom>
        </p:spPr>
      </p:pic>
    </p:spTree>
    <p:custDataLst>
      <p:tags r:id="rId3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>
          <a:blip r:embed="rId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3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290031" y="3629284"/>
            <a:ext cx="13436749" cy="4529721"/>
          </a:xfrm>
          <a:prstGeom prst="rect">
            <a:avLst/>
          </a:prstGeom>
        </p:spPr>
      </p:pic>
      <p:cxnSp>
        <p:nvCxnSpPr>
          <p:cNvPr id="10" name="连接符: 肘形 9"/>
          <p:cNvCxnSpPr/>
          <p:nvPr/>
        </p:nvCxnSpPr>
        <p:spPr>
          <a:xfrm flipV="1">
            <a:off x="0" y="742951"/>
            <a:ext cx="12192000" cy="3615826"/>
          </a:xfrm>
          <a:prstGeom prst="bentConnector3">
            <a:avLst>
              <a:gd name="adj1" fmla="val 26250"/>
            </a:avLst>
          </a:prstGeom>
          <a:ln w="76200">
            <a:solidFill>
              <a:schemeClr val="accent1">
                <a:alpha val="5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连接符: 肘形 10"/>
          <p:cNvCxnSpPr/>
          <p:nvPr/>
        </p:nvCxnSpPr>
        <p:spPr>
          <a:xfrm rot="10800000" flipV="1">
            <a:off x="0" y="3286389"/>
            <a:ext cx="12706350" cy="3038210"/>
          </a:xfrm>
          <a:prstGeom prst="bentConnector3">
            <a:avLst>
              <a:gd name="adj1" fmla="val 11469"/>
            </a:avLst>
          </a:prstGeom>
          <a:ln w="76200">
            <a:solidFill>
              <a:schemeClr val="accent2">
                <a:alpha val="2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/>
          <p:cNvSpPr/>
          <p:nvPr/>
        </p:nvSpPr>
        <p:spPr>
          <a:xfrm>
            <a:off x="2630129" y="3125163"/>
            <a:ext cx="6931742" cy="7952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标题 4"/>
          <p:cNvSpPr>
            <a:spLocks noGrp="1"/>
          </p:cNvSpPr>
          <p:nvPr>
            <p:ph type="title" idx="4294967295"/>
          </p:nvPr>
        </p:nvSpPr>
        <p:spPr>
          <a:xfrm>
            <a:off x="2917372" y="3242582"/>
            <a:ext cx="6357258" cy="560387"/>
          </a:xfrm>
        </p:spPr>
        <p:txBody>
          <a:bodyPr/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案例分析</a:t>
            </a:r>
            <a:endParaRPr lang="zh-CN" altLang="en-US" sz="3600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428344" y="1999908"/>
            <a:ext cx="1335314" cy="1044642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cs typeface="+mn-ea"/>
                <a:sym typeface="+mn-lt"/>
              </a:rPr>
              <a:t>03</a:t>
            </a:r>
            <a:endParaRPr lang="zh-CN" altLang="en-US" spc="100" dirty="0">
              <a:solidFill>
                <a:schemeClr val="accent4"/>
              </a:solidFill>
              <a:cs typeface="+mn-ea"/>
              <a:sym typeface="+mn-lt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86" y="881574"/>
            <a:ext cx="3303486" cy="2756192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047" y="2660956"/>
            <a:ext cx="1244444" cy="2615873"/>
          </a:xfrm>
          <a:prstGeom prst="rect">
            <a:avLst/>
          </a:prstGeom>
        </p:spPr>
      </p:pic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/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7"/>
          <p:cNvGrpSpPr/>
          <p:nvPr/>
        </p:nvGrpSpPr>
        <p:grpSpPr>
          <a:xfrm>
            <a:off x="3787001" y="5424685"/>
            <a:ext cx="3956677" cy="976352"/>
            <a:chOff x="1157188" y="5013498"/>
            <a:chExt cx="3458574" cy="853440"/>
          </a:xfrm>
        </p:grpSpPr>
        <p:grpSp>
          <p:nvGrpSpPr>
            <p:cNvPr id="9" name="组合 8"/>
            <p:cNvGrpSpPr/>
            <p:nvPr/>
          </p:nvGrpSpPr>
          <p:grpSpPr>
            <a:xfrm>
              <a:off x="3762322" y="5013498"/>
              <a:ext cx="853440" cy="853440"/>
              <a:chOff x="3413979" y="5100583"/>
              <a:chExt cx="853440" cy="853440"/>
            </a:xfrm>
          </p:grpSpPr>
          <p:sp>
            <p:nvSpPr>
              <p:cNvPr id="16" name="椭圆 15"/>
              <p:cNvSpPr/>
              <p:nvPr/>
            </p:nvSpPr>
            <p:spPr>
              <a:xfrm>
                <a:off x="3413979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7" name="Freeform 81"/>
              <p:cNvSpPr>
                <a:spLocks noChangeArrowheads="1"/>
              </p:cNvSpPr>
              <p:nvPr/>
            </p:nvSpPr>
            <p:spPr bwMode="auto">
              <a:xfrm>
                <a:off x="3622424" y="5333118"/>
                <a:ext cx="436550" cy="335206"/>
              </a:xfrm>
              <a:custGeom>
                <a:avLst/>
                <a:gdLst>
                  <a:gd name="T0" fmla="*/ 131975 w 619"/>
                  <a:gd name="T1" fmla="*/ 79795 h 472"/>
                  <a:gd name="T2" fmla="*/ 131975 w 619"/>
                  <a:gd name="T3" fmla="*/ 79795 h 472"/>
                  <a:gd name="T4" fmla="*/ 105437 w 619"/>
                  <a:gd name="T5" fmla="*/ 79795 h 472"/>
                  <a:gd name="T6" fmla="*/ 116196 w 619"/>
                  <a:gd name="T7" fmla="*/ 48021 h 472"/>
                  <a:gd name="T8" fmla="*/ 110816 w 619"/>
                  <a:gd name="T9" fmla="*/ 42605 h 472"/>
                  <a:gd name="T10" fmla="*/ 100416 w 619"/>
                  <a:gd name="T11" fmla="*/ 42605 h 472"/>
                  <a:gd name="T12" fmla="*/ 84278 w 619"/>
                  <a:gd name="T13" fmla="*/ 85211 h 472"/>
                  <a:gd name="T14" fmla="*/ 84278 w 619"/>
                  <a:gd name="T15" fmla="*/ 90626 h 472"/>
                  <a:gd name="T16" fmla="*/ 89657 w 619"/>
                  <a:gd name="T17" fmla="*/ 95681 h 472"/>
                  <a:gd name="T18" fmla="*/ 121575 w 619"/>
                  <a:gd name="T19" fmla="*/ 95681 h 472"/>
                  <a:gd name="T20" fmla="*/ 105437 w 619"/>
                  <a:gd name="T21" fmla="*/ 127455 h 472"/>
                  <a:gd name="T22" fmla="*/ 105437 w 619"/>
                  <a:gd name="T23" fmla="*/ 138287 h 472"/>
                  <a:gd name="T24" fmla="*/ 116196 w 619"/>
                  <a:gd name="T25" fmla="*/ 133232 h 472"/>
                  <a:gd name="T26" fmla="*/ 136996 w 619"/>
                  <a:gd name="T27" fmla="*/ 85211 h 472"/>
                  <a:gd name="T28" fmla="*/ 131975 w 619"/>
                  <a:gd name="T29" fmla="*/ 79795 h 472"/>
                  <a:gd name="T30" fmla="*/ 158155 w 619"/>
                  <a:gd name="T31" fmla="*/ 37189 h 472"/>
                  <a:gd name="T32" fmla="*/ 158155 w 619"/>
                  <a:gd name="T33" fmla="*/ 37189 h 472"/>
                  <a:gd name="T34" fmla="*/ 105437 w 619"/>
                  <a:gd name="T35" fmla="*/ 0 h 472"/>
                  <a:gd name="T36" fmla="*/ 42318 w 619"/>
                  <a:gd name="T37" fmla="*/ 58492 h 472"/>
                  <a:gd name="T38" fmla="*/ 0 w 619"/>
                  <a:gd name="T39" fmla="*/ 116984 h 472"/>
                  <a:gd name="T40" fmla="*/ 52718 w 619"/>
                  <a:gd name="T41" fmla="*/ 170060 h 472"/>
                  <a:gd name="T42" fmla="*/ 153134 w 619"/>
                  <a:gd name="T43" fmla="*/ 170060 h 472"/>
                  <a:gd name="T44" fmla="*/ 221632 w 619"/>
                  <a:gd name="T45" fmla="*/ 106513 h 472"/>
                  <a:gd name="T46" fmla="*/ 158155 w 619"/>
                  <a:gd name="T47" fmla="*/ 37189 h 472"/>
                  <a:gd name="T48" fmla="*/ 153134 w 619"/>
                  <a:gd name="T49" fmla="*/ 159589 h 472"/>
                  <a:gd name="T50" fmla="*/ 153134 w 619"/>
                  <a:gd name="T51" fmla="*/ 159589 h 472"/>
                  <a:gd name="T52" fmla="*/ 52718 w 619"/>
                  <a:gd name="T53" fmla="*/ 159589 h 472"/>
                  <a:gd name="T54" fmla="*/ 10400 w 619"/>
                  <a:gd name="T55" fmla="*/ 116984 h 472"/>
                  <a:gd name="T56" fmla="*/ 52718 w 619"/>
                  <a:gd name="T57" fmla="*/ 74379 h 472"/>
                  <a:gd name="T58" fmla="*/ 105437 w 619"/>
                  <a:gd name="T59" fmla="*/ 15887 h 472"/>
                  <a:gd name="T60" fmla="*/ 147755 w 619"/>
                  <a:gd name="T61" fmla="*/ 53437 h 472"/>
                  <a:gd name="T62" fmla="*/ 211232 w 619"/>
                  <a:gd name="T63" fmla="*/ 101097 h 472"/>
                  <a:gd name="T64" fmla="*/ 153134 w 619"/>
                  <a:gd name="T65" fmla="*/ 159589 h 47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19" h="472">
                    <a:moveTo>
                      <a:pt x="368" y="221"/>
                    </a:moveTo>
                    <a:lnTo>
                      <a:pt x="368" y="221"/>
                    </a:lnTo>
                    <a:cubicBezTo>
                      <a:pt x="294" y="221"/>
                      <a:pt x="294" y="221"/>
                      <a:pt x="294" y="221"/>
                    </a:cubicBezTo>
                    <a:cubicBezTo>
                      <a:pt x="324" y="133"/>
                      <a:pt x="324" y="133"/>
                      <a:pt x="324" y="133"/>
                    </a:cubicBezTo>
                    <a:cubicBezTo>
                      <a:pt x="324" y="133"/>
                      <a:pt x="324" y="118"/>
                      <a:pt x="309" y="118"/>
                    </a:cubicBezTo>
                    <a:cubicBezTo>
                      <a:pt x="294" y="103"/>
                      <a:pt x="294" y="118"/>
                      <a:pt x="280" y="118"/>
                    </a:cubicBezTo>
                    <a:cubicBezTo>
                      <a:pt x="235" y="236"/>
                      <a:pt x="235" y="236"/>
                      <a:pt x="235" y="236"/>
                    </a:cubicBezTo>
                    <a:lnTo>
                      <a:pt x="235" y="251"/>
                    </a:lnTo>
                    <a:lnTo>
                      <a:pt x="250" y="265"/>
                    </a:lnTo>
                    <a:cubicBezTo>
                      <a:pt x="339" y="265"/>
                      <a:pt x="339" y="265"/>
                      <a:pt x="339" y="265"/>
                    </a:cubicBezTo>
                    <a:cubicBezTo>
                      <a:pt x="294" y="353"/>
                      <a:pt x="294" y="353"/>
                      <a:pt x="294" y="353"/>
                    </a:cubicBezTo>
                    <a:cubicBezTo>
                      <a:pt x="280" y="353"/>
                      <a:pt x="294" y="369"/>
                      <a:pt x="294" y="383"/>
                    </a:cubicBezTo>
                    <a:cubicBezTo>
                      <a:pt x="309" y="383"/>
                      <a:pt x="324" y="383"/>
                      <a:pt x="324" y="369"/>
                    </a:cubicBezTo>
                    <a:cubicBezTo>
                      <a:pt x="324" y="369"/>
                      <a:pt x="382" y="251"/>
                      <a:pt x="382" y="236"/>
                    </a:cubicBezTo>
                    <a:cubicBezTo>
                      <a:pt x="382" y="236"/>
                      <a:pt x="382" y="221"/>
                      <a:pt x="368" y="221"/>
                    </a:cubicBezTo>
                    <a:close/>
                    <a:moveTo>
                      <a:pt x="441" y="103"/>
                    </a:moveTo>
                    <a:lnTo>
                      <a:pt x="441" y="103"/>
                    </a:lnTo>
                    <a:cubicBezTo>
                      <a:pt x="412" y="44"/>
                      <a:pt x="353" y="0"/>
                      <a:pt x="294" y="0"/>
                    </a:cubicBezTo>
                    <a:cubicBezTo>
                      <a:pt x="191" y="0"/>
                      <a:pt x="118" y="74"/>
                      <a:pt x="118" y="162"/>
                    </a:cubicBezTo>
                    <a:cubicBezTo>
                      <a:pt x="44" y="192"/>
                      <a:pt x="0" y="251"/>
                      <a:pt x="0" y="324"/>
                    </a:cubicBezTo>
                    <a:cubicBezTo>
                      <a:pt x="0" y="398"/>
                      <a:pt x="59" y="471"/>
                      <a:pt x="147" y="471"/>
                    </a:cubicBezTo>
                    <a:lnTo>
                      <a:pt x="427" y="471"/>
                    </a:lnTo>
                    <a:cubicBezTo>
                      <a:pt x="530" y="471"/>
                      <a:pt x="618" y="398"/>
                      <a:pt x="618" y="295"/>
                    </a:cubicBezTo>
                    <a:cubicBezTo>
                      <a:pt x="618" y="192"/>
                      <a:pt x="544" y="103"/>
                      <a:pt x="441" y="103"/>
                    </a:cubicBezTo>
                    <a:close/>
                    <a:moveTo>
                      <a:pt x="427" y="442"/>
                    </a:moveTo>
                    <a:lnTo>
                      <a:pt x="427" y="442"/>
                    </a:lnTo>
                    <a:lnTo>
                      <a:pt x="147" y="442"/>
                    </a:lnTo>
                    <a:cubicBezTo>
                      <a:pt x="147" y="442"/>
                      <a:pt x="29" y="427"/>
                      <a:pt x="29" y="324"/>
                    </a:cubicBezTo>
                    <a:cubicBezTo>
                      <a:pt x="29" y="265"/>
                      <a:pt x="88" y="206"/>
                      <a:pt x="147" y="206"/>
                    </a:cubicBezTo>
                    <a:cubicBezTo>
                      <a:pt x="147" y="118"/>
                      <a:pt x="206" y="44"/>
                      <a:pt x="294" y="44"/>
                    </a:cubicBezTo>
                    <a:cubicBezTo>
                      <a:pt x="353" y="44"/>
                      <a:pt x="397" y="89"/>
                      <a:pt x="412" y="148"/>
                    </a:cubicBezTo>
                    <a:cubicBezTo>
                      <a:pt x="515" y="133"/>
                      <a:pt x="574" y="221"/>
                      <a:pt x="589" y="280"/>
                    </a:cubicBezTo>
                    <a:cubicBezTo>
                      <a:pt x="589" y="369"/>
                      <a:pt x="500" y="442"/>
                      <a:pt x="427" y="4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2459755" y="5013498"/>
              <a:ext cx="853440" cy="853440"/>
              <a:chOff x="2111412" y="5100583"/>
              <a:chExt cx="853440" cy="853440"/>
            </a:xfrm>
          </p:grpSpPr>
          <p:sp>
            <p:nvSpPr>
              <p:cNvPr id="14" name="椭圆 13"/>
              <p:cNvSpPr/>
              <p:nvPr/>
            </p:nvSpPr>
            <p:spPr>
              <a:xfrm>
                <a:off x="2111412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5" name="Freeform 158"/>
              <p:cNvSpPr>
                <a:spLocks noChangeArrowheads="1"/>
              </p:cNvSpPr>
              <p:nvPr/>
            </p:nvSpPr>
            <p:spPr bwMode="auto">
              <a:xfrm>
                <a:off x="2309464" y="5329515"/>
                <a:ext cx="457336" cy="418360"/>
              </a:xfrm>
              <a:custGeom>
                <a:avLst/>
                <a:gdLst>
                  <a:gd name="T0" fmla="*/ 184545 w 649"/>
                  <a:gd name="T1" fmla="*/ 26677 h 590"/>
                  <a:gd name="T2" fmla="*/ 184545 w 649"/>
                  <a:gd name="T3" fmla="*/ 26677 h 590"/>
                  <a:gd name="T4" fmla="*/ 158386 w 649"/>
                  <a:gd name="T5" fmla="*/ 0 h 590"/>
                  <a:gd name="T6" fmla="*/ 73818 w 649"/>
                  <a:gd name="T7" fmla="*/ 0 h 590"/>
                  <a:gd name="T8" fmla="*/ 47659 w 649"/>
                  <a:gd name="T9" fmla="*/ 26677 h 590"/>
                  <a:gd name="T10" fmla="*/ 5375 w 649"/>
                  <a:gd name="T11" fmla="*/ 58402 h 590"/>
                  <a:gd name="T12" fmla="*/ 47659 w 649"/>
                  <a:gd name="T13" fmla="*/ 100941 h 590"/>
                  <a:gd name="T14" fmla="*/ 52676 w 649"/>
                  <a:gd name="T15" fmla="*/ 100941 h 590"/>
                  <a:gd name="T16" fmla="*/ 110727 w 649"/>
                  <a:gd name="T17" fmla="*/ 153935 h 590"/>
                  <a:gd name="T18" fmla="*/ 110727 w 649"/>
                  <a:gd name="T19" fmla="*/ 196474 h 590"/>
                  <a:gd name="T20" fmla="*/ 89585 w 649"/>
                  <a:gd name="T21" fmla="*/ 196474 h 590"/>
                  <a:gd name="T22" fmla="*/ 79193 w 649"/>
                  <a:gd name="T23" fmla="*/ 206929 h 590"/>
                  <a:gd name="T24" fmla="*/ 89585 w 649"/>
                  <a:gd name="T25" fmla="*/ 212336 h 590"/>
                  <a:gd name="T26" fmla="*/ 142261 w 649"/>
                  <a:gd name="T27" fmla="*/ 212336 h 590"/>
                  <a:gd name="T28" fmla="*/ 153011 w 649"/>
                  <a:gd name="T29" fmla="*/ 206929 h 590"/>
                  <a:gd name="T30" fmla="*/ 142261 w 649"/>
                  <a:gd name="T31" fmla="*/ 196474 h 590"/>
                  <a:gd name="T32" fmla="*/ 121477 w 649"/>
                  <a:gd name="T33" fmla="*/ 196474 h 590"/>
                  <a:gd name="T34" fmla="*/ 121477 w 649"/>
                  <a:gd name="T35" fmla="*/ 153935 h 590"/>
                  <a:gd name="T36" fmla="*/ 179528 w 649"/>
                  <a:gd name="T37" fmla="*/ 100941 h 590"/>
                  <a:gd name="T38" fmla="*/ 184545 w 649"/>
                  <a:gd name="T39" fmla="*/ 100941 h 590"/>
                  <a:gd name="T40" fmla="*/ 226829 w 649"/>
                  <a:gd name="T41" fmla="*/ 58402 h 590"/>
                  <a:gd name="T42" fmla="*/ 184545 w 649"/>
                  <a:gd name="T43" fmla="*/ 26677 h 590"/>
                  <a:gd name="T44" fmla="*/ 47659 w 649"/>
                  <a:gd name="T45" fmla="*/ 85079 h 590"/>
                  <a:gd name="T46" fmla="*/ 47659 w 649"/>
                  <a:gd name="T47" fmla="*/ 85079 h 590"/>
                  <a:gd name="T48" fmla="*/ 15767 w 649"/>
                  <a:gd name="T49" fmla="*/ 58402 h 590"/>
                  <a:gd name="T50" fmla="*/ 47659 w 649"/>
                  <a:gd name="T51" fmla="*/ 42539 h 590"/>
                  <a:gd name="T52" fmla="*/ 47659 w 649"/>
                  <a:gd name="T53" fmla="*/ 85079 h 590"/>
                  <a:gd name="T54" fmla="*/ 174153 w 649"/>
                  <a:gd name="T55" fmla="*/ 68856 h 590"/>
                  <a:gd name="T56" fmla="*/ 174153 w 649"/>
                  <a:gd name="T57" fmla="*/ 68856 h 590"/>
                  <a:gd name="T58" fmla="*/ 116102 w 649"/>
                  <a:gd name="T59" fmla="*/ 143480 h 590"/>
                  <a:gd name="T60" fmla="*/ 58051 w 649"/>
                  <a:gd name="T61" fmla="*/ 68856 h 590"/>
                  <a:gd name="T62" fmla="*/ 58051 w 649"/>
                  <a:gd name="T63" fmla="*/ 26677 h 590"/>
                  <a:gd name="T64" fmla="*/ 73818 w 649"/>
                  <a:gd name="T65" fmla="*/ 15862 h 590"/>
                  <a:gd name="T66" fmla="*/ 158386 w 649"/>
                  <a:gd name="T67" fmla="*/ 15862 h 590"/>
                  <a:gd name="T68" fmla="*/ 174153 w 649"/>
                  <a:gd name="T69" fmla="*/ 26677 h 590"/>
                  <a:gd name="T70" fmla="*/ 174153 w 649"/>
                  <a:gd name="T71" fmla="*/ 68856 h 590"/>
                  <a:gd name="T72" fmla="*/ 184545 w 649"/>
                  <a:gd name="T73" fmla="*/ 85079 h 590"/>
                  <a:gd name="T74" fmla="*/ 184545 w 649"/>
                  <a:gd name="T75" fmla="*/ 85079 h 590"/>
                  <a:gd name="T76" fmla="*/ 184545 w 649"/>
                  <a:gd name="T77" fmla="*/ 42539 h 590"/>
                  <a:gd name="T78" fmla="*/ 216437 w 649"/>
                  <a:gd name="T79" fmla="*/ 58402 h 590"/>
                  <a:gd name="T80" fmla="*/ 184545 w 649"/>
                  <a:gd name="T81" fmla="*/ 85079 h 59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649" h="590">
                    <a:moveTo>
                      <a:pt x="515" y="74"/>
                    </a:moveTo>
                    <a:lnTo>
                      <a:pt x="515" y="74"/>
                    </a:lnTo>
                    <a:cubicBezTo>
                      <a:pt x="515" y="30"/>
                      <a:pt x="486" y="0"/>
                      <a:pt x="442" y="0"/>
                    </a:cubicBezTo>
                    <a:cubicBezTo>
                      <a:pt x="206" y="0"/>
                      <a:pt x="206" y="0"/>
                      <a:pt x="206" y="0"/>
                    </a:cubicBezTo>
                    <a:cubicBezTo>
                      <a:pt x="162" y="0"/>
                      <a:pt x="133" y="30"/>
                      <a:pt x="133" y="74"/>
                    </a:cubicBezTo>
                    <a:cubicBezTo>
                      <a:pt x="0" y="74"/>
                      <a:pt x="15" y="74"/>
                      <a:pt x="15" y="162"/>
                    </a:cubicBezTo>
                    <a:cubicBezTo>
                      <a:pt x="15" y="221"/>
                      <a:pt x="59" y="280"/>
                      <a:pt x="133" y="280"/>
                    </a:cubicBezTo>
                    <a:cubicBezTo>
                      <a:pt x="133" y="280"/>
                      <a:pt x="133" y="280"/>
                      <a:pt x="147" y="280"/>
                    </a:cubicBezTo>
                    <a:cubicBezTo>
                      <a:pt x="162" y="353"/>
                      <a:pt x="236" y="427"/>
                      <a:pt x="309" y="427"/>
                    </a:cubicBezTo>
                    <a:cubicBezTo>
                      <a:pt x="309" y="545"/>
                      <a:pt x="309" y="545"/>
                      <a:pt x="309" y="545"/>
                    </a:cubicBezTo>
                    <a:cubicBezTo>
                      <a:pt x="250" y="545"/>
                      <a:pt x="250" y="545"/>
                      <a:pt x="250" y="545"/>
                    </a:cubicBezTo>
                    <a:cubicBezTo>
                      <a:pt x="236" y="545"/>
                      <a:pt x="221" y="560"/>
                      <a:pt x="221" y="574"/>
                    </a:cubicBezTo>
                    <a:cubicBezTo>
                      <a:pt x="221" y="574"/>
                      <a:pt x="236" y="589"/>
                      <a:pt x="250" y="589"/>
                    </a:cubicBezTo>
                    <a:cubicBezTo>
                      <a:pt x="397" y="589"/>
                      <a:pt x="397" y="589"/>
                      <a:pt x="397" y="589"/>
                    </a:cubicBezTo>
                    <a:cubicBezTo>
                      <a:pt x="413" y="589"/>
                      <a:pt x="427" y="574"/>
                      <a:pt x="427" y="574"/>
                    </a:cubicBezTo>
                    <a:cubicBezTo>
                      <a:pt x="427" y="560"/>
                      <a:pt x="413" y="545"/>
                      <a:pt x="397" y="545"/>
                    </a:cubicBezTo>
                    <a:cubicBezTo>
                      <a:pt x="339" y="545"/>
                      <a:pt x="339" y="545"/>
                      <a:pt x="339" y="545"/>
                    </a:cubicBezTo>
                    <a:cubicBezTo>
                      <a:pt x="339" y="427"/>
                      <a:pt x="339" y="427"/>
                      <a:pt x="339" y="427"/>
                    </a:cubicBezTo>
                    <a:cubicBezTo>
                      <a:pt x="413" y="427"/>
                      <a:pt x="486" y="353"/>
                      <a:pt x="501" y="280"/>
                    </a:cubicBezTo>
                    <a:cubicBezTo>
                      <a:pt x="515" y="280"/>
                      <a:pt x="515" y="280"/>
                      <a:pt x="515" y="280"/>
                    </a:cubicBezTo>
                    <a:cubicBezTo>
                      <a:pt x="589" y="280"/>
                      <a:pt x="633" y="221"/>
                      <a:pt x="633" y="162"/>
                    </a:cubicBezTo>
                    <a:cubicBezTo>
                      <a:pt x="633" y="74"/>
                      <a:pt x="648" y="74"/>
                      <a:pt x="515" y="74"/>
                    </a:cubicBezTo>
                    <a:close/>
                    <a:moveTo>
                      <a:pt x="133" y="236"/>
                    </a:moveTo>
                    <a:lnTo>
                      <a:pt x="133" y="236"/>
                    </a:lnTo>
                    <a:cubicBezTo>
                      <a:pt x="88" y="236"/>
                      <a:pt x="44" y="206"/>
                      <a:pt x="44" y="162"/>
                    </a:cubicBezTo>
                    <a:cubicBezTo>
                      <a:pt x="44" y="118"/>
                      <a:pt x="44" y="118"/>
                      <a:pt x="133" y="118"/>
                    </a:cubicBezTo>
                    <a:lnTo>
                      <a:pt x="133" y="236"/>
                    </a:lnTo>
                    <a:close/>
                    <a:moveTo>
                      <a:pt x="486" y="191"/>
                    </a:moveTo>
                    <a:lnTo>
                      <a:pt x="486" y="191"/>
                    </a:lnTo>
                    <a:cubicBezTo>
                      <a:pt x="486" y="280"/>
                      <a:pt x="413" y="398"/>
                      <a:pt x="324" y="398"/>
                    </a:cubicBezTo>
                    <a:cubicBezTo>
                      <a:pt x="236" y="398"/>
                      <a:pt x="162" y="280"/>
                      <a:pt x="162" y="191"/>
                    </a:cubicBezTo>
                    <a:cubicBezTo>
                      <a:pt x="162" y="74"/>
                      <a:pt x="162" y="74"/>
                      <a:pt x="162" y="74"/>
                    </a:cubicBezTo>
                    <a:cubicBezTo>
                      <a:pt x="162" y="59"/>
                      <a:pt x="192" y="44"/>
                      <a:pt x="206" y="44"/>
                    </a:cubicBezTo>
                    <a:cubicBezTo>
                      <a:pt x="442" y="44"/>
                      <a:pt x="442" y="44"/>
                      <a:pt x="442" y="44"/>
                    </a:cubicBezTo>
                    <a:cubicBezTo>
                      <a:pt x="456" y="44"/>
                      <a:pt x="486" y="59"/>
                      <a:pt x="486" y="74"/>
                    </a:cubicBezTo>
                    <a:lnTo>
                      <a:pt x="486" y="191"/>
                    </a:lnTo>
                    <a:close/>
                    <a:moveTo>
                      <a:pt x="515" y="236"/>
                    </a:moveTo>
                    <a:lnTo>
                      <a:pt x="515" y="236"/>
                    </a:lnTo>
                    <a:cubicBezTo>
                      <a:pt x="515" y="118"/>
                      <a:pt x="515" y="118"/>
                      <a:pt x="515" y="118"/>
                    </a:cubicBezTo>
                    <a:cubicBezTo>
                      <a:pt x="604" y="118"/>
                      <a:pt x="604" y="118"/>
                      <a:pt x="604" y="162"/>
                    </a:cubicBezTo>
                    <a:cubicBezTo>
                      <a:pt x="604" y="206"/>
                      <a:pt x="560" y="236"/>
                      <a:pt x="515" y="2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1157188" y="5013498"/>
              <a:ext cx="853440" cy="853440"/>
              <a:chOff x="808845" y="5100583"/>
              <a:chExt cx="853440" cy="853440"/>
            </a:xfrm>
          </p:grpSpPr>
          <p:sp>
            <p:nvSpPr>
              <p:cNvPr id="12" name="椭圆 11"/>
              <p:cNvSpPr/>
              <p:nvPr/>
            </p:nvSpPr>
            <p:spPr>
              <a:xfrm>
                <a:off x="808845" y="5100583"/>
                <a:ext cx="853440" cy="8534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00">
                  <a:gradFill>
                    <a:gsLst>
                      <a:gs pos="0">
                        <a:srgbClr val="C00000"/>
                      </a:gs>
                      <a:gs pos="100000">
                        <a:srgbClr val="F42400"/>
                      </a:gs>
                    </a:gsLst>
                    <a:lin ang="3000000" scaled="0"/>
                  </a:gradFill>
                  <a:cs typeface="+mn-ea"/>
                  <a:sym typeface="+mn-lt"/>
                </a:endParaRPr>
              </a:p>
            </p:txBody>
          </p:sp>
          <p:sp>
            <p:nvSpPr>
              <p:cNvPr id="13" name="Freeform 159"/>
              <p:cNvSpPr>
                <a:spLocks noChangeArrowheads="1"/>
              </p:cNvSpPr>
              <p:nvPr/>
            </p:nvSpPr>
            <p:spPr bwMode="auto">
              <a:xfrm>
                <a:off x="1010795" y="5309030"/>
                <a:ext cx="449540" cy="436546"/>
              </a:xfrm>
              <a:custGeom>
                <a:avLst/>
                <a:gdLst>
                  <a:gd name="T0" fmla="*/ 63820 w 634"/>
                  <a:gd name="T1" fmla="*/ 68484 h 619"/>
                  <a:gd name="T2" fmla="*/ 63820 w 634"/>
                  <a:gd name="T3" fmla="*/ 68484 h 619"/>
                  <a:gd name="T4" fmla="*/ 58411 w 634"/>
                  <a:gd name="T5" fmla="*/ 73504 h 619"/>
                  <a:gd name="T6" fmla="*/ 58411 w 634"/>
                  <a:gd name="T7" fmla="*/ 147724 h 619"/>
                  <a:gd name="T8" fmla="*/ 63820 w 634"/>
                  <a:gd name="T9" fmla="*/ 152744 h 619"/>
                  <a:gd name="T10" fmla="*/ 74637 w 634"/>
                  <a:gd name="T11" fmla="*/ 147724 h 619"/>
                  <a:gd name="T12" fmla="*/ 74637 w 634"/>
                  <a:gd name="T13" fmla="*/ 73504 h 619"/>
                  <a:gd name="T14" fmla="*/ 63820 w 634"/>
                  <a:gd name="T15" fmla="*/ 68484 h 619"/>
                  <a:gd name="T16" fmla="*/ 122231 w 634"/>
                  <a:gd name="T17" fmla="*/ 89639 h 619"/>
                  <a:gd name="T18" fmla="*/ 122231 w 634"/>
                  <a:gd name="T19" fmla="*/ 89639 h 619"/>
                  <a:gd name="T20" fmla="*/ 116822 w 634"/>
                  <a:gd name="T21" fmla="*/ 94658 h 619"/>
                  <a:gd name="T22" fmla="*/ 116822 w 634"/>
                  <a:gd name="T23" fmla="*/ 136968 h 619"/>
                  <a:gd name="T24" fmla="*/ 122231 w 634"/>
                  <a:gd name="T25" fmla="*/ 147724 h 619"/>
                  <a:gd name="T26" fmla="*/ 127639 w 634"/>
                  <a:gd name="T27" fmla="*/ 136968 h 619"/>
                  <a:gd name="T28" fmla="*/ 127639 w 634"/>
                  <a:gd name="T29" fmla="*/ 94658 h 619"/>
                  <a:gd name="T30" fmla="*/ 122231 w 634"/>
                  <a:gd name="T31" fmla="*/ 89639 h 619"/>
                  <a:gd name="T32" fmla="*/ 169825 w 634"/>
                  <a:gd name="T33" fmla="*/ 0 h 619"/>
                  <a:gd name="T34" fmla="*/ 169825 w 634"/>
                  <a:gd name="T35" fmla="*/ 0 h 619"/>
                  <a:gd name="T36" fmla="*/ 116822 w 634"/>
                  <a:gd name="T37" fmla="*/ 41951 h 619"/>
                  <a:gd name="T38" fmla="*/ 58411 w 634"/>
                  <a:gd name="T39" fmla="*/ 20796 h 619"/>
                  <a:gd name="T40" fmla="*/ 0 w 634"/>
                  <a:gd name="T41" fmla="*/ 52707 h 619"/>
                  <a:gd name="T42" fmla="*/ 0 w 634"/>
                  <a:gd name="T43" fmla="*/ 221586 h 619"/>
                  <a:gd name="T44" fmla="*/ 58411 w 634"/>
                  <a:gd name="T45" fmla="*/ 190034 h 619"/>
                  <a:gd name="T46" fmla="*/ 116822 w 634"/>
                  <a:gd name="T47" fmla="*/ 210830 h 619"/>
                  <a:gd name="T48" fmla="*/ 169825 w 634"/>
                  <a:gd name="T49" fmla="*/ 168879 h 619"/>
                  <a:gd name="T50" fmla="*/ 228236 w 634"/>
                  <a:gd name="T51" fmla="*/ 210830 h 619"/>
                  <a:gd name="T52" fmla="*/ 228236 w 634"/>
                  <a:gd name="T53" fmla="*/ 41951 h 619"/>
                  <a:gd name="T54" fmla="*/ 169825 w 634"/>
                  <a:gd name="T55" fmla="*/ 0 h 619"/>
                  <a:gd name="T56" fmla="*/ 212372 w 634"/>
                  <a:gd name="T57" fmla="*/ 184655 h 619"/>
                  <a:gd name="T58" fmla="*/ 212372 w 634"/>
                  <a:gd name="T59" fmla="*/ 184655 h 619"/>
                  <a:gd name="T60" fmla="*/ 169825 w 634"/>
                  <a:gd name="T61" fmla="*/ 152744 h 619"/>
                  <a:gd name="T62" fmla="*/ 116822 w 634"/>
                  <a:gd name="T63" fmla="*/ 195053 h 619"/>
                  <a:gd name="T64" fmla="*/ 58411 w 634"/>
                  <a:gd name="T65" fmla="*/ 173899 h 619"/>
                  <a:gd name="T66" fmla="*/ 15865 w 634"/>
                  <a:gd name="T67" fmla="*/ 200432 h 619"/>
                  <a:gd name="T68" fmla="*/ 15865 w 634"/>
                  <a:gd name="T69" fmla="*/ 58086 h 619"/>
                  <a:gd name="T70" fmla="*/ 58411 w 634"/>
                  <a:gd name="T71" fmla="*/ 31553 h 619"/>
                  <a:gd name="T72" fmla="*/ 116822 w 634"/>
                  <a:gd name="T73" fmla="*/ 52707 h 619"/>
                  <a:gd name="T74" fmla="*/ 169825 w 634"/>
                  <a:gd name="T75" fmla="*/ 10398 h 619"/>
                  <a:gd name="T76" fmla="*/ 212372 w 634"/>
                  <a:gd name="T77" fmla="*/ 41951 h 619"/>
                  <a:gd name="T78" fmla="*/ 212372 w 634"/>
                  <a:gd name="T79" fmla="*/ 184655 h 619"/>
                  <a:gd name="T80" fmla="*/ 169825 w 634"/>
                  <a:gd name="T81" fmla="*/ 115813 h 619"/>
                  <a:gd name="T82" fmla="*/ 169825 w 634"/>
                  <a:gd name="T83" fmla="*/ 115813 h 619"/>
                  <a:gd name="T84" fmla="*/ 180642 w 634"/>
                  <a:gd name="T85" fmla="*/ 126570 h 619"/>
                  <a:gd name="T86" fmla="*/ 186051 w 634"/>
                  <a:gd name="T87" fmla="*/ 115813 h 619"/>
                  <a:gd name="T88" fmla="*/ 186051 w 634"/>
                  <a:gd name="T89" fmla="*/ 63106 h 619"/>
                  <a:gd name="T90" fmla="*/ 180642 w 634"/>
                  <a:gd name="T91" fmla="*/ 52707 h 619"/>
                  <a:gd name="T92" fmla="*/ 169825 w 634"/>
                  <a:gd name="T93" fmla="*/ 63106 h 619"/>
                  <a:gd name="T94" fmla="*/ 169825 w 634"/>
                  <a:gd name="T95" fmla="*/ 115813 h 61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34" h="619">
                    <a:moveTo>
                      <a:pt x="177" y="191"/>
                    </a:moveTo>
                    <a:lnTo>
                      <a:pt x="177" y="191"/>
                    </a:lnTo>
                    <a:lnTo>
                      <a:pt x="162" y="205"/>
                    </a:lnTo>
                    <a:cubicBezTo>
                      <a:pt x="162" y="412"/>
                      <a:pt x="162" y="412"/>
                      <a:pt x="162" y="412"/>
                    </a:cubicBezTo>
                    <a:lnTo>
                      <a:pt x="177" y="426"/>
                    </a:lnTo>
                    <a:cubicBezTo>
                      <a:pt x="192" y="426"/>
                      <a:pt x="207" y="412"/>
                      <a:pt x="207" y="412"/>
                    </a:cubicBezTo>
                    <a:cubicBezTo>
                      <a:pt x="207" y="205"/>
                      <a:pt x="207" y="205"/>
                      <a:pt x="207" y="205"/>
                    </a:cubicBezTo>
                    <a:cubicBezTo>
                      <a:pt x="207" y="205"/>
                      <a:pt x="192" y="191"/>
                      <a:pt x="177" y="191"/>
                    </a:cubicBezTo>
                    <a:close/>
                    <a:moveTo>
                      <a:pt x="339" y="250"/>
                    </a:moveTo>
                    <a:lnTo>
                      <a:pt x="339" y="250"/>
                    </a:lnTo>
                    <a:cubicBezTo>
                      <a:pt x="324" y="250"/>
                      <a:pt x="324" y="264"/>
                      <a:pt x="324" y="264"/>
                    </a:cubicBezTo>
                    <a:cubicBezTo>
                      <a:pt x="324" y="382"/>
                      <a:pt x="324" y="382"/>
                      <a:pt x="324" y="382"/>
                    </a:cubicBezTo>
                    <a:cubicBezTo>
                      <a:pt x="324" y="397"/>
                      <a:pt x="324" y="412"/>
                      <a:pt x="339" y="412"/>
                    </a:cubicBezTo>
                    <a:cubicBezTo>
                      <a:pt x="354" y="412"/>
                      <a:pt x="354" y="397"/>
                      <a:pt x="354" y="382"/>
                    </a:cubicBezTo>
                    <a:cubicBezTo>
                      <a:pt x="354" y="264"/>
                      <a:pt x="354" y="264"/>
                      <a:pt x="354" y="264"/>
                    </a:cubicBezTo>
                    <a:cubicBezTo>
                      <a:pt x="354" y="264"/>
                      <a:pt x="354" y="250"/>
                      <a:pt x="339" y="250"/>
                    </a:cubicBezTo>
                    <a:close/>
                    <a:moveTo>
                      <a:pt x="471" y="0"/>
                    </a:moveTo>
                    <a:lnTo>
                      <a:pt x="471" y="0"/>
                    </a:lnTo>
                    <a:cubicBezTo>
                      <a:pt x="324" y="117"/>
                      <a:pt x="324" y="117"/>
                      <a:pt x="324" y="117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0" y="618"/>
                      <a:pt x="0" y="618"/>
                      <a:pt x="0" y="618"/>
                    </a:cubicBezTo>
                    <a:cubicBezTo>
                      <a:pt x="162" y="530"/>
                      <a:pt x="162" y="530"/>
                      <a:pt x="162" y="530"/>
                    </a:cubicBezTo>
                    <a:cubicBezTo>
                      <a:pt x="324" y="588"/>
                      <a:pt x="324" y="588"/>
                      <a:pt x="324" y="588"/>
                    </a:cubicBezTo>
                    <a:cubicBezTo>
                      <a:pt x="471" y="471"/>
                      <a:pt x="471" y="471"/>
                      <a:pt x="471" y="471"/>
                    </a:cubicBezTo>
                    <a:cubicBezTo>
                      <a:pt x="633" y="588"/>
                      <a:pt x="633" y="588"/>
                      <a:pt x="633" y="588"/>
                    </a:cubicBezTo>
                    <a:cubicBezTo>
                      <a:pt x="633" y="117"/>
                      <a:pt x="633" y="117"/>
                      <a:pt x="633" y="117"/>
                    </a:cubicBezTo>
                    <a:lnTo>
                      <a:pt x="471" y="0"/>
                    </a:lnTo>
                    <a:close/>
                    <a:moveTo>
                      <a:pt x="589" y="515"/>
                    </a:moveTo>
                    <a:lnTo>
                      <a:pt x="589" y="515"/>
                    </a:lnTo>
                    <a:cubicBezTo>
                      <a:pt x="471" y="426"/>
                      <a:pt x="471" y="426"/>
                      <a:pt x="471" y="426"/>
                    </a:cubicBezTo>
                    <a:cubicBezTo>
                      <a:pt x="324" y="544"/>
                      <a:pt x="324" y="544"/>
                      <a:pt x="324" y="544"/>
                    </a:cubicBezTo>
                    <a:cubicBezTo>
                      <a:pt x="162" y="485"/>
                      <a:pt x="162" y="485"/>
                      <a:pt x="162" y="485"/>
                    </a:cubicBezTo>
                    <a:cubicBezTo>
                      <a:pt x="44" y="559"/>
                      <a:pt x="44" y="559"/>
                      <a:pt x="44" y="559"/>
                    </a:cubicBezTo>
                    <a:cubicBezTo>
                      <a:pt x="44" y="162"/>
                      <a:pt x="44" y="162"/>
                      <a:pt x="44" y="162"/>
                    </a:cubicBezTo>
                    <a:cubicBezTo>
                      <a:pt x="162" y="88"/>
                      <a:pt x="162" y="88"/>
                      <a:pt x="162" y="88"/>
                    </a:cubicBezTo>
                    <a:cubicBezTo>
                      <a:pt x="324" y="147"/>
                      <a:pt x="324" y="147"/>
                      <a:pt x="324" y="147"/>
                    </a:cubicBezTo>
                    <a:cubicBezTo>
                      <a:pt x="471" y="29"/>
                      <a:pt x="471" y="29"/>
                      <a:pt x="471" y="29"/>
                    </a:cubicBezTo>
                    <a:cubicBezTo>
                      <a:pt x="589" y="117"/>
                      <a:pt x="589" y="117"/>
                      <a:pt x="589" y="117"/>
                    </a:cubicBezTo>
                    <a:lnTo>
                      <a:pt x="589" y="515"/>
                    </a:lnTo>
                    <a:close/>
                    <a:moveTo>
                      <a:pt x="471" y="323"/>
                    </a:moveTo>
                    <a:lnTo>
                      <a:pt x="471" y="323"/>
                    </a:lnTo>
                    <a:cubicBezTo>
                      <a:pt x="471" y="338"/>
                      <a:pt x="486" y="353"/>
                      <a:pt x="501" y="353"/>
                    </a:cubicBezTo>
                    <a:cubicBezTo>
                      <a:pt x="501" y="353"/>
                      <a:pt x="516" y="338"/>
                      <a:pt x="516" y="323"/>
                    </a:cubicBezTo>
                    <a:cubicBezTo>
                      <a:pt x="516" y="176"/>
                      <a:pt x="516" y="176"/>
                      <a:pt x="516" y="176"/>
                    </a:cubicBezTo>
                    <a:cubicBezTo>
                      <a:pt x="516" y="162"/>
                      <a:pt x="501" y="147"/>
                      <a:pt x="501" y="147"/>
                    </a:cubicBezTo>
                    <a:cubicBezTo>
                      <a:pt x="486" y="147"/>
                      <a:pt x="471" y="162"/>
                      <a:pt x="471" y="176"/>
                    </a:cubicBezTo>
                    <a:lnTo>
                      <a:pt x="471" y="3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zh-CN" altLang="en-US" sz="1300">
                  <a:cs typeface="+mn-ea"/>
                  <a:sym typeface="+mn-lt"/>
                </a:endParaRPr>
              </a:p>
            </p:txBody>
          </p:sp>
        </p:grpSp>
      </p:grpSp>
      <p:sp>
        <p:nvSpPr>
          <p:cNvPr id="2" name="矩形 1"/>
          <p:cNvSpPr/>
          <p:nvPr/>
        </p:nvSpPr>
        <p:spPr>
          <a:xfrm>
            <a:off x="314325" y="513715"/>
            <a:ext cx="3854450" cy="33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zh-CN" altLang="en-US" sz="1600" spc="3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案例分析</a:t>
            </a:r>
            <a:endParaRPr lang="zh-CN" altLang="en-US" sz="1600" spc="3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121275" y="2695575"/>
            <a:ext cx="144589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3200">
                <a:solidFill>
                  <a:schemeClr val="bg1"/>
                </a:solidFill>
              </a:rPr>
              <a:t>音频</a:t>
            </a:r>
            <a:endParaRPr lang="zh-CN" altLang="en-US" sz="3200">
              <a:solidFill>
                <a:schemeClr val="bg1"/>
              </a:solidFill>
            </a:endParaRPr>
          </a:p>
          <a:p>
            <a:r>
              <a:rPr lang="zh-CN" altLang="en-US" sz="3200">
                <a:solidFill>
                  <a:schemeClr val="bg1"/>
                </a:solidFill>
              </a:rPr>
              <a:t>滤镜</a:t>
            </a:r>
            <a:endParaRPr lang="zh-CN" altLang="en-US" sz="3200">
              <a:solidFill>
                <a:schemeClr val="bg1"/>
              </a:solidFill>
            </a:endParaRPr>
          </a:p>
        </p:txBody>
      </p:sp>
      <p:sp>
        <p:nvSpPr>
          <p:cNvPr id="5" name="左箭头 4"/>
          <p:cNvSpPr/>
          <p:nvPr/>
        </p:nvSpPr>
        <p:spPr>
          <a:xfrm>
            <a:off x="4357370" y="2861945"/>
            <a:ext cx="824865" cy="267970"/>
          </a:xfrm>
          <a:prstGeom prst="lef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endParaRPr lang="zh-CN" altLang="en-US"/>
          </a:p>
        </p:txBody>
      </p:sp>
      <p:sp>
        <p:nvSpPr>
          <p:cNvPr id="18" name="右箭头 17"/>
          <p:cNvSpPr/>
          <p:nvPr/>
        </p:nvSpPr>
        <p:spPr>
          <a:xfrm>
            <a:off x="6101715" y="3270885"/>
            <a:ext cx="801370" cy="316865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4168775" y="2880995"/>
            <a:ext cx="4636770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4000"/>
              <a:t>小仙女视频号分析</a:t>
            </a:r>
            <a:endParaRPr lang="zh-CN" altLang="en-US" sz="4000"/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>
          <a:blip r:embed="rId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3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244311" y="3553084"/>
            <a:ext cx="13436749" cy="4529721"/>
          </a:xfrm>
          <a:prstGeom prst="rect">
            <a:avLst/>
          </a:prstGeom>
        </p:spPr>
      </p:pic>
      <p:cxnSp>
        <p:nvCxnSpPr>
          <p:cNvPr id="10" name="连接符: 肘形 9"/>
          <p:cNvCxnSpPr/>
          <p:nvPr/>
        </p:nvCxnSpPr>
        <p:spPr>
          <a:xfrm flipV="1">
            <a:off x="0" y="742951"/>
            <a:ext cx="12192000" cy="3615826"/>
          </a:xfrm>
          <a:prstGeom prst="bentConnector3">
            <a:avLst>
              <a:gd name="adj1" fmla="val 26250"/>
            </a:avLst>
          </a:prstGeom>
          <a:ln w="76200">
            <a:solidFill>
              <a:schemeClr val="accent1">
                <a:alpha val="5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连接符: 肘形 10"/>
          <p:cNvCxnSpPr/>
          <p:nvPr/>
        </p:nvCxnSpPr>
        <p:spPr>
          <a:xfrm rot="10800000" flipV="1">
            <a:off x="0" y="3286389"/>
            <a:ext cx="12706350" cy="3038210"/>
          </a:xfrm>
          <a:prstGeom prst="bentConnector3">
            <a:avLst>
              <a:gd name="adj1" fmla="val 11469"/>
            </a:avLst>
          </a:prstGeom>
          <a:ln w="76200">
            <a:solidFill>
              <a:schemeClr val="accent2">
                <a:alpha val="2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/>
          <p:cNvSpPr/>
          <p:nvPr/>
        </p:nvSpPr>
        <p:spPr>
          <a:xfrm>
            <a:off x="2630129" y="3125163"/>
            <a:ext cx="6931742" cy="7952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标题 4"/>
          <p:cNvSpPr>
            <a:spLocks noGrp="1"/>
          </p:cNvSpPr>
          <p:nvPr>
            <p:ph type="title" idx="4294967295"/>
          </p:nvPr>
        </p:nvSpPr>
        <p:spPr>
          <a:xfrm>
            <a:off x="2917372" y="3242582"/>
            <a:ext cx="6357258" cy="560387"/>
          </a:xfrm>
        </p:spPr>
        <p:txBody>
          <a:bodyPr/>
          <a:lstStyle/>
          <a:p>
            <a:pPr algn="ctr"/>
            <a:r>
              <a:rPr lang="zh-CN" altLang="en-US" sz="36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实战</a:t>
            </a:r>
            <a:endParaRPr lang="zh-CN" altLang="en-US" sz="3600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428344" y="1999908"/>
            <a:ext cx="1335314" cy="1044642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cs typeface="+mn-ea"/>
                <a:sym typeface="+mn-lt"/>
              </a:rPr>
              <a:t>04</a:t>
            </a:r>
            <a:endParaRPr lang="zh-CN" altLang="en-US" spc="100" dirty="0">
              <a:solidFill>
                <a:schemeClr val="accent4"/>
              </a:solidFill>
              <a:cs typeface="+mn-ea"/>
              <a:sym typeface="+mn-lt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86" y="881574"/>
            <a:ext cx="3303486" cy="2756192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047" y="2660956"/>
            <a:ext cx="1244444" cy="2615873"/>
          </a:xfrm>
          <a:prstGeom prst="rect">
            <a:avLst/>
          </a:prstGeom>
        </p:spPr>
      </p:pic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ldLvl="0" animBg="1"/>
      <p:bldP spid="5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连接符: 肘形 32"/>
          <p:cNvCxnSpPr/>
          <p:nvPr/>
        </p:nvCxnSpPr>
        <p:spPr>
          <a:xfrm rot="10800000" flipV="1">
            <a:off x="0" y="3286389"/>
            <a:ext cx="12706350" cy="3038210"/>
          </a:xfrm>
          <a:prstGeom prst="bentConnector3">
            <a:avLst>
              <a:gd name="adj1" fmla="val 11469"/>
            </a:avLst>
          </a:prstGeom>
          <a:ln w="76200">
            <a:solidFill>
              <a:schemeClr val="accent2">
                <a:alpha val="2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图片 33"/>
          <p:cNvPicPr>
            <a:picLocks noChangeAspect="1"/>
          </p:cNvPicPr>
          <p:nvPr/>
        </p:nvPicPr>
        <p:blipFill>
          <a:blip r:embed="rId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3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244749" y="4111421"/>
            <a:ext cx="13436749" cy="4529721"/>
          </a:xfrm>
          <a:prstGeom prst="rect">
            <a:avLst/>
          </a:prstGeom>
        </p:spPr>
      </p:pic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思源黑体" panose="020B0400000000000000" pitchFamily="34" charset="-122"/>
              <a:ea typeface="思源黑体" panose="020B0400000000000000" pitchFamily="34" charset="-122"/>
              <a:cs typeface="+mj-cs"/>
              <a:sym typeface="思源黑体" panose="020B0400000000000000" pitchFamily="34" charset="-122"/>
            </a:endParaRPr>
          </a:p>
        </p:txBody>
      </p:sp>
      <p:sp>
        <p:nvSpPr>
          <p:cNvPr id="40" name="椭圆 39"/>
          <p:cNvSpPr/>
          <p:nvPr/>
        </p:nvSpPr>
        <p:spPr>
          <a:xfrm>
            <a:off x="3923093" y="1917404"/>
            <a:ext cx="976702" cy="976702"/>
          </a:xfrm>
          <a:prstGeom prst="ellipse">
            <a:avLst/>
          </a:prstGeom>
          <a:solidFill>
            <a:schemeClr val="accent1"/>
          </a:solidFill>
          <a:ln w="92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0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4100485" y="2037366"/>
            <a:ext cx="81624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01.</a:t>
            </a:r>
            <a:endParaRPr lang="zh-CN" altLang="en-US" sz="36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5071778" y="2114267"/>
            <a:ext cx="140208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zh-CN" altLang="en-US" sz="3200" dirty="0">
                <a:latin typeface="尔雅秀丽楷书" panose="00000500000000000000" charset="-122"/>
                <a:ea typeface="尔雅秀丽楷书" panose="00000500000000000000" charset="-122"/>
                <a:sym typeface="思源黑体" panose="020B0400000000000000" pitchFamily="34" charset="-122"/>
              </a:rPr>
              <a:t>画中画</a:t>
            </a:r>
            <a:endParaRPr lang="zh-CN" altLang="en-US" sz="3200" dirty="0">
              <a:latin typeface="尔雅秀丽楷书" panose="00000500000000000000" charset="-122"/>
              <a:ea typeface="尔雅秀丽楷书" panose="00000500000000000000" charset="-122"/>
              <a:sym typeface="思源黑体" panose="020B0400000000000000" pitchFamily="34" charset="-122"/>
            </a:endParaRPr>
          </a:p>
        </p:txBody>
      </p:sp>
      <p:sp>
        <p:nvSpPr>
          <p:cNvPr id="44" name="椭圆 43"/>
          <p:cNvSpPr/>
          <p:nvPr/>
        </p:nvSpPr>
        <p:spPr>
          <a:xfrm>
            <a:off x="3876103" y="3614981"/>
            <a:ext cx="976702" cy="97670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4003330" y="3780028"/>
            <a:ext cx="81625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02.</a:t>
            </a:r>
            <a:endParaRPr lang="zh-CN" altLang="en-US" sz="36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5018438" y="3842959"/>
            <a:ext cx="140208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zh-CN" altLang="en-US" sz="3200" dirty="0">
                <a:latin typeface="尔雅秀丽楷书" panose="00000500000000000000" charset="-122"/>
                <a:ea typeface="尔雅秀丽楷书" panose="00000500000000000000" charset="-122"/>
                <a:sym typeface="思源黑体" panose="020B0400000000000000" pitchFamily="34" charset="-122"/>
              </a:rPr>
              <a:t>素材库</a:t>
            </a:r>
            <a:endParaRPr lang="zh-CN" altLang="en-US" sz="3200" dirty="0">
              <a:latin typeface="尔雅秀丽楷书" panose="00000500000000000000" charset="-122"/>
              <a:ea typeface="尔雅秀丽楷书" panose="00000500000000000000" charset="-122"/>
              <a:sym typeface="思源黑体" panose="020B0400000000000000" pitchFamily="34" charset="-122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7362979" y="1917404"/>
            <a:ext cx="976702" cy="976702"/>
          </a:xfrm>
          <a:prstGeom prst="ellipse">
            <a:avLst/>
          </a:prstGeom>
          <a:solidFill>
            <a:schemeClr val="accent1"/>
          </a:solidFill>
          <a:ln w="92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0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7511299" y="2083721"/>
            <a:ext cx="874395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03.</a:t>
            </a:r>
            <a:endParaRPr lang="zh-CN" altLang="en-US" sz="36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8385934" y="2114267"/>
            <a:ext cx="99568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zh-CN" altLang="en-US" sz="3200" dirty="0">
                <a:latin typeface="尔雅秀丽楷书" panose="00000500000000000000" charset="-122"/>
                <a:ea typeface="尔雅秀丽楷书" panose="00000500000000000000" charset="-122"/>
                <a:sym typeface="思源黑体" panose="020B0400000000000000" pitchFamily="34" charset="-122"/>
              </a:rPr>
              <a:t>贴纸</a:t>
            </a:r>
            <a:endParaRPr lang="zh-CN" altLang="en-US" sz="3200" dirty="0">
              <a:latin typeface="尔雅秀丽楷书" panose="00000500000000000000" charset="-122"/>
              <a:ea typeface="尔雅秀丽楷书" panose="00000500000000000000" charset="-122"/>
              <a:sym typeface="思源黑体" panose="020B0400000000000000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8695814" y="3881694"/>
            <a:ext cx="180848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zh-CN" altLang="en-US" sz="3200" dirty="0">
                <a:latin typeface="尔雅秀丽楷书" panose="00000500000000000000" charset="-122"/>
                <a:ea typeface="尔雅秀丽楷书" panose="00000500000000000000" charset="-122"/>
                <a:sym typeface="思源黑体" panose="020B0400000000000000" pitchFamily="34" charset="-122"/>
              </a:rPr>
              <a:t>音乐提取</a:t>
            </a:r>
            <a:endParaRPr lang="zh-CN" altLang="en-US" sz="3200" dirty="0">
              <a:latin typeface="尔雅秀丽楷书" panose="00000500000000000000" charset="-122"/>
              <a:ea typeface="尔雅秀丽楷书" panose="00000500000000000000" charset="-122"/>
              <a:sym typeface="思源黑体" panose="020B0400000000000000" pitchFamily="34" charset="-122"/>
            </a:endParaRPr>
          </a:p>
        </p:txBody>
      </p:sp>
      <p:cxnSp>
        <p:nvCxnSpPr>
          <p:cNvPr id="32" name="连接符: 肘形 31"/>
          <p:cNvCxnSpPr/>
          <p:nvPr/>
        </p:nvCxnSpPr>
        <p:spPr>
          <a:xfrm flipV="1">
            <a:off x="0" y="742951"/>
            <a:ext cx="12192000" cy="3615826"/>
          </a:xfrm>
          <a:prstGeom prst="bentConnector3">
            <a:avLst>
              <a:gd name="adj1" fmla="val 26250"/>
            </a:avLst>
          </a:prstGeom>
          <a:ln w="76200">
            <a:solidFill>
              <a:schemeClr val="accent1">
                <a:alpha val="5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ïSḷïḑé"/>
          <p:cNvSpPr/>
          <p:nvPr/>
        </p:nvSpPr>
        <p:spPr bwMode="auto">
          <a:xfrm rot="3451689">
            <a:off x="492228" y="2066649"/>
            <a:ext cx="3343576" cy="2724702"/>
          </a:xfrm>
          <a:custGeom>
            <a:avLst/>
            <a:gdLst>
              <a:gd name="T0" fmla="*/ 483 w 1647"/>
              <a:gd name="T1" fmla="*/ 270 h 1078"/>
              <a:gd name="T2" fmla="*/ 746 w 1647"/>
              <a:gd name="T3" fmla="*/ 176 h 1078"/>
              <a:gd name="T4" fmla="*/ 1314 w 1647"/>
              <a:gd name="T5" fmla="*/ 117 h 1078"/>
              <a:gd name="T6" fmla="*/ 1569 w 1647"/>
              <a:gd name="T7" fmla="*/ 684 h 1078"/>
              <a:gd name="T8" fmla="*/ 775 w 1647"/>
              <a:gd name="T9" fmla="*/ 1058 h 1078"/>
              <a:gd name="T10" fmla="*/ 18 w 1647"/>
              <a:gd name="T11" fmla="*/ 563 h 1078"/>
              <a:gd name="T12" fmla="*/ 483 w 1647"/>
              <a:gd name="T13" fmla="*/ 270 h 10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47" h="1078">
                <a:moveTo>
                  <a:pt x="483" y="270"/>
                </a:moveTo>
                <a:cubicBezTo>
                  <a:pt x="483" y="270"/>
                  <a:pt x="584" y="297"/>
                  <a:pt x="746" y="176"/>
                </a:cubicBezTo>
                <a:cubicBezTo>
                  <a:pt x="908" y="55"/>
                  <a:pt x="1102" y="0"/>
                  <a:pt x="1314" y="117"/>
                </a:cubicBezTo>
                <a:cubicBezTo>
                  <a:pt x="1526" y="234"/>
                  <a:pt x="1647" y="488"/>
                  <a:pt x="1569" y="684"/>
                </a:cubicBezTo>
                <a:cubicBezTo>
                  <a:pt x="1499" y="863"/>
                  <a:pt x="1236" y="1078"/>
                  <a:pt x="775" y="1058"/>
                </a:cubicBezTo>
                <a:cubicBezTo>
                  <a:pt x="315" y="1039"/>
                  <a:pt x="0" y="773"/>
                  <a:pt x="18" y="563"/>
                </a:cubicBezTo>
                <a:cubicBezTo>
                  <a:pt x="33" y="379"/>
                  <a:pt x="136" y="244"/>
                  <a:pt x="483" y="27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1477645" y="3197860"/>
            <a:ext cx="1770380" cy="706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40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实战</a:t>
            </a:r>
            <a:endParaRPr lang="zh-CN" altLang="en-US" sz="40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4" name="椭圆 3"/>
          <p:cNvSpPr/>
          <p:nvPr/>
        </p:nvSpPr>
        <p:spPr>
          <a:xfrm>
            <a:off x="7409243" y="3685466"/>
            <a:ext cx="976702" cy="97670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7511208" y="3851148"/>
            <a:ext cx="874395" cy="645160"/>
          </a:xfrm>
          <a:prstGeom prst="rect">
            <a:avLst/>
          </a:prstGeom>
        </p:spPr>
        <p:txBody>
          <a:bodyPr wrap="none">
            <a:spAutoFit/>
          </a:bodyPr>
          <a:p>
            <a:pPr algn="ctr"/>
            <a:r>
              <a:rPr lang="en-US" altLang="zh-CN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04.</a:t>
            </a:r>
            <a:endParaRPr lang="zh-CN" altLang="en-US" sz="36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000"/>
                            </p:stCondLst>
                            <p:childTnLst>
                              <p:par>
                                <p:cTn id="3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00"/>
                            </p:stCondLst>
                            <p:childTnLst>
                              <p:par>
                                <p:cTn id="4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000"/>
                            </p:stCondLst>
                            <p:childTnLst>
                              <p:par>
                                <p:cTn id="5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4500"/>
                            </p:stCondLst>
                            <p:childTnLst>
                              <p:par>
                                <p:cTn id="6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0"/>
                            </p:stCondLst>
                            <p:childTnLst>
                              <p:par>
                                <p:cTn id="6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500"/>
                            </p:stCondLst>
                            <p:childTnLst>
                              <p:par>
                                <p:cTn id="7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6000"/>
                            </p:stCondLst>
                            <p:childTnLst>
                              <p:par>
                                <p:cTn id="7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500"/>
                            </p:stCondLst>
                            <p:childTnLst>
                              <p:par>
                                <p:cTn id="8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bldLvl="0" animBg="1"/>
      <p:bldP spid="41" grpId="0"/>
      <p:bldP spid="42" grpId="0"/>
      <p:bldP spid="44" grpId="0" bldLvl="0" animBg="1"/>
      <p:bldP spid="45" grpId="0"/>
      <p:bldP spid="46" grpId="0"/>
      <p:bldP spid="22" grpId="0" bldLvl="0" animBg="1"/>
      <p:bldP spid="23" grpId="0"/>
      <p:bldP spid="24" grpId="0"/>
      <p:bldP spid="28" grpId="0"/>
      <p:bldP spid="20" grpId="0" bldLvl="0" animBg="1"/>
      <p:bldP spid="43" grpId="0"/>
      <p:bldP spid="4" grpId="0" bldLvl="0" animBg="1"/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连接符: 肘形 32"/>
          <p:cNvCxnSpPr/>
          <p:nvPr/>
        </p:nvCxnSpPr>
        <p:spPr>
          <a:xfrm rot="10800000" flipV="1">
            <a:off x="0" y="3286389"/>
            <a:ext cx="12706350" cy="3038210"/>
          </a:xfrm>
          <a:prstGeom prst="bentConnector3">
            <a:avLst>
              <a:gd name="adj1" fmla="val 11469"/>
            </a:avLst>
          </a:prstGeom>
          <a:ln w="76200">
            <a:solidFill>
              <a:schemeClr val="accent2">
                <a:alpha val="2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图片 33"/>
          <p:cNvPicPr>
            <a:picLocks noChangeAspect="1"/>
          </p:cNvPicPr>
          <p:nvPr/>
        </p:nvPicPr>
        <p:blipFill>
          <a:blip r:embed="rId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3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49" y="2248966"/>
            <a:ext cx="13436749" cy="4529721"/>
          </a:xfrm>
          <a:prstGeom prst="rect">
            <a:avLst/>
          </a:prstGeom>
        </p:spPr>
      </p:pic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思源黑体" panose="020B0400000000000000" pitchFamily="34" charset="-122"/>
              <a:ea typeface="思源黑体" panose="020B0400000000000000" pitchFamily="34" charset="-122"/>
              <a:cs typeface="+mj-cs"/>
              <a:sym typeface="思源黑体" panose="020B0400000000000000" pitchFamily="34" charset="-122"/>
            </a:endParaRPr>
          </a:p>
        </p:txBody>
      </p:sp>
      <p:cxnSp>
        <p:nvCxnSpPr>
          <p:cNvPr id="32" name="连接符: 肘形 31"/>
          <p:cNvCxnSpPr/>
          <p:nvPr/>
        </p:nvCxnSpPr>
        <p:spPr>
          <a:xfrm flipV="1">
            <a:off x="-53340" y="288926"/>
            <a:ext cx="12192000" cy="3615826"/>
          </a:xfrm>
          <a:prstGeom prst="bentConnector3">
            <a:avLst>
              <a:gd name="adj1" fmla="val 26250"/>
            </a:avLst>
          </a:prstGeom>
          <a:ln w="76200">
            <a:solidFill>
              <a:schemeClr val="accent1">
                <a:alpha val="5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ïSḷïḑé"/>
          <p:cNvSpPr/>
          <p:nvPr/>
        </p:nvSpPr>
        <p:spPr bwMode="auto">
          <a:xfrm rot="3451689">
            <a:off x="322048" y="1899644"/>
            <a:ext cx="3343576" cy="2724702"/>
          </a:xfrm>
          <a:custGeom>
            <a:avLst/>
            <a:gdLst>
              <a:gd name="T0" fmla="*/ 483 w 1647"/>
              <a:gd name="T1" fmla="*/ 270 h 1078"/>
              <a:gd name="T2" fmla="*/ 746 w 1647"/>
              <a:gd name="T3" fmla="*/ 176 h 1078"/>
              <a:gd name="T4" fmla="*/ 1314 w 1647"/>
              <a:gd name="T5" fmla="*/ 117 h 1078"/>
              <a:gd name="T6" fmla="*/ 1569 w 1647"/>
              <a:gd name="T7" fmla="*/ 684 h 1078"/>
              <a:gd name="T8" fmla="*/ 775 w 1647"/>
              <a:gd name="T9" fmla="*/ 1058 h 1078"/>
              <a:gd name="T10" fmla="*/ 18 w 1647"/>
              <a:gd name="T11" fmla="*/ 563 h 1078"/>
              <a:gd name="T12" fmla="*/ 483 w 1647"/>
              <a:gd name="T13" fmla="*/ 270 h 10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47" h="1078">
                <a:moveTo>
                  <a:pt x="483" y="270"/>
                </a:moveTo>
                <a:cubicBezTo>
                  <a:pt x="483" y="270"/>
                  <a:pt x="584" y="297"/>
                  <a:pt x="746" y="176"/>
                </a:cubicBezTo>
                <a:cubicBezTo>
                  <a:pt x="908" y="55"/>
                  <a:pt x="1102" y="0"/>
                  <a:pt x="1314" y="117"/>
                </a:cubicBezTo>
                <a:cubicBezTo>
                  <a:pt x="1526" y="234"/>
                  <a:pt x="1647" y="488"/>
                  <a:pt x="1569" y="684"/>
                </a:cubicBezTo>
                <a:cubicBezTo>
                  <a:pt x="1499" y="863"/>
                  <a:pt x="1236" y="1078"/>
                  <a:pt x="775" y="1058"/>
                </a:cubicBezTo>
                <a:cubicBezTo>
                  <a:pt x="315" y="1039"/>
                  <a:pt x="0" y="773"/>
                  <a:pt x="18" y="563"/>
                </a:cubicBezTo>
                <a:cubicBezTo>
                  <a:pt x="33" y="379"/>
                  <a:pt x="136" y="244"/>
                  <a:pt x="483" y="27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1477645" y="3197860"/>
            <a:ext cx="1770380" cy="706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40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前言</a:t>
            </a:r>
            <a:endParaRPr lang="zh-CN" altLang="en-US" sz="40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882390" y="958215"/>
            <a:ext cx="7553325" cy="16300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000"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想要简单操作就制作出高端的视频，你第一个想到的是什么</a:t>
            </a:r>
            <a:r>
              <a:rPr lang="en-US" altLang="zh-CN" sz="2000"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APP</a:t>
            </a:r>
            <a:r>
              <a:rPr lang="zh-CN" altLang="en-US" sz="2000"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，</a:t>
            </a:r>
            <a:r>
              <a:rPr lang="zh-CN" altLang="en-US" sz="2000" b="1"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爱剪辑、</a:t>
            </a:r>
            <a:r>
              <a:rPr lang="en-US" altLang="zh-CN" sz="2000" b="1"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Inshot</a:t>
            </a:r>
            <a:r>
              <a:rPr lang="zh-CN" altLang="en-US" sz="2000" b="1"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、快剪辑、快影、小影、剪映</a:t>
            </a:r>
            <a:r>
              <a:rPr lang="zh-CN" altLang="en-US" sz="2000"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等等。</a:t>
            </a:r>
            <a:endParaRPr lang="zh-CN" altLang="en-US" sz="2000"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  <a:p>
            <a:endParaRPr lang="zh-CN" altLang="en-US" sz="2000"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  <a:p>
            <a:r>
              <a:rPr lang="zh-CN" altLang="en-US" sz="2000"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   不管你用什么软件啊，重在坚持，不能说是遇到一小点点困难</a:t>
            </a:r>
            <a:r>
              <a:rPr lang="zh-CN" altLang="en-US" sz="2000"/>
              <a:t>就放弃。</a:t>
            </a:r>
            <a:endParaRPr lang="zh-CN" altLang="en-US" sz="2000"/>
          </a:p>
        </p:txBody>
      </p:sp>
      <p:sp>
        <p:nvSpPr>
          <p:cNvPr id="13" name="文本框 12"/>
          <p:cNvSpPr txBox="1"/>
          <p:nvPr/>
        </p:nvSpPr>
        <p:spPr>
          <a:xfrm>
            <a:off x="4573905" y="2770505"/>
            <a:ext cx="6362700" cy="18764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000">
                <a:latin typeface="尔雅秀丽楷书" panose="00000500000000000000" charset="-122"/>
                <a:ea typeface="尔雅秀丽楷书" panose="00000500000000000000" charset="-122"/>
              </a:rPr>
              <a:t>今天，我们介绍的就是剪映，拭目以待。</a:t>
            </a:r>
            <a:endParaRPr lang="zh-CN" altLang="en-US" sz="2000">
              <a:latin typeface="尔雅秀丽楷书" panose="00000500000000000000" charset="-122"/>
              <a:ea typeface="尔雅秀丽楷书" panose="00000500000000000000" charset="-122"/>
            </a:endParaRPr>
          </a:p>
          <a:p>
            <a:endParaRPr lang="zh-CN" altLang="en-US" sz="3200" b="1"/>
          </a:p>
          <a:p>
            <a:r>
              <a:rPr lang="zh-CN" altLang="en-US" sz="3200" b="1"/>
              <a:t>   </a:t>
            </a:r>
            <a:endParaRPr lang="zh-CN" altLang="en-US" sz="3200" b="1"/>
          </a:p>
          <a:p>
            <a:r>
              <a:rPr lang="zh-CN" altLang="en-US" sz="3200" b="1">
                <a:latin typeface="尔雅酷黑体" panose="00000500000000000000" charset="-122"/>
                <a:ea typeface="尔雅酷黑体" panose="00000500000000000000" charset="-122"/>
                <a:cs typeface="尔雅酷黑体" panose="00000500000000000000" charset="-122"/>
              </a:rPr>
              <a:t>  优质小视频</a:t>
            </a:r>
            <a:r>
              <a:rPr lang="en-US" altLang="zh-CN" sz="3200" b="1">
                <a:latin typeface="尔雅酷黑体" panose="00000500000000000000" charset="-122"/>
                <a:ea typeface="尔雅酷黑体" panose="00000500000000000000" charset="-122"/>
                <a:cs typeface="尔雅酷黑体" panose="00000500000000000000" charset="-122"/>
              </a:rPr>
              <a:t>=</a:t>
            </a:r>
            <a:r>
              <a:rPr lang="zh-CN" altLang="en-US" sz="3200" b="1">
                <a:latin typeface="尔雅酷黑体" panose="00000500000000000000" charset="-122"/>
                <a:ea typeface="尔雅酷黑体" panose="00000500000000000000" charset="-122"/>
                <a:cs typeface="尔雅酷黑体" panose="00000500000000000000" charset="-122"/>
              </a:rPr>
              <a:t>态度</a:t>
            </a:r>
            <a:r>
              <a:rPr lang="en-US" altLang="zh-CN" sz="3200" b="1">
                <a:latin typeface="尔雅酷黑体" panose="00000500000000000000" charset="-122"/>
                <a:ea typeface="尔雅酷黑体" panose="00000500000000000000" charset="-122"/>
                <a:cs typeface="尔雅酷黑体" panose="00000500000000000000" charset="-122"/>
              </a:rPr>
              <a:t>+</a:t>
            </a:r>
            <a:r>
              <a:rPr lang="zh-CN" altLang="en-US" sz="3200" b="1">
                <a:latin typeface="尔雅酷黑体" panose="00000500000000000000" charset="-122"/>
                <a:ea typeface="尔雅酷黑体" panose="00000500000000000000" charset="-122"/>
                <a:cs typeface="尔雅酷黑体" panose="00000500000000000000" charset="-122"/>
              </a:rPr>
              <a:t>坚持</a:t>
            </a:r>
            <a:endParaRPr lang="zh-CN" altLang="en-US" sz="3200" b="1">
              <a:latin typeface="尔雅酷黑体" panose="00000500000000000000" charset="-122"/>
              <a:ea typeface="尔雅酷黑体" panose="00000500000000000000" charset="-122"/>
              <a:cs typeface="尔雅酷黑体" panose="00000500000000000000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bldLvl="0" animBg="1"/>
      <p:bldP spid="4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29"/>
          <p:cNvPicPr>
            <a:picLocks noChangeAspect="1"/>
          </p:cNvPicPr>
          <p:nvPr/>
        </p:nvPicPr>
        <p:blipFill>
          <a:blip r:embed="rId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4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244749" y="4093641"/>
            <a:ext cx="13436749" cy="4529721"/>
          </a:xfrm>
          <a:prstGeom prst="rect">
            <a:avLst/>
          </a:prstGeom>
        </p:spPr>
      </p:pic>
      <p:grpSp>
        <p:nvGrpSpPr>
          <p:cNvPr id="9" name="组合 8"/>
          <p:cNvGrpSpPr/>
          <p:nvPr/>
        </p:nvGrpSpPr>
        <p:grpSpPr>
          <a:xfrm>
            <a:off x="3789070" y="2370018"/>
            <a:ext cx="4611978" cy="2705737"/>
            <a:chOff x="2801692" y="1534121"/>
            <a:chExt cx="6252927" cy="3668445"/>
          </a:xfrm>
        </p:grpSpPr>
        <p:sp>
          <p:nvSpPr>
            <p:cNvPr id="10" name="矩形 9"/>
            <p:cNvSpPr/>
            <p:nvPr/>
          </p:nvSpPr>
          <p:spPr>
            <a:xfrm>
              <a:off x="2801692" y="4300227"/>
              <a:ext cx="6108235" cy="466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10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1" name="标题 3"/>
            <p:cNvSpPr txBox="1"/>
            <p:nvPr/>
          </p:nvSpPr>
          <p:spPr>
            <a:xfrm>
              <a:off x="2836742" y="4340764"/>
              <a:ext cx="6073186" cy="861802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endParaRPr lang="zh-CN" altLang="en-US" sz="16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grpSp>
          <p:nvGrpSpPr>
            <p:cNvPr id="12" name="组合 11"/>
            <p:cNvGrpSpPr/>
            <p:nvPr/>
          </p:nvGrpSpPr>
          <p:grpSpPr>
            <a:xfrm>
              <a:off x="2804244" y="1534121"/>
              <a:ext cx="6250375" cy="2580996"/>
              <a:chOff x="2383834" y="4961879"/>
              <a:chExt cx="2442165" cy="1008456"/>
            </a:xfrm>
          </p:grpSpPr>
          <p:grpSp>
            <p:nvGrpSpPr>
              <p:cNvPr id="13" name="组合 12"/>
              <p:cNvGrpSpPr/>
              <p:nvPr/>
            </p:nvGrpSpPr>
            <p:grpSpPr>
              <a:xfrm>
                <a:off x="2396532" y="4961879"/>
                <a:ext cx="2429467" cy="1008456"/>
                <a:chOff x="5139956" y="1908357"/>
                <a:chExt cx="3836971" cy="1480171"/>
              </a:xfrm>
            </p:grpSpPr>
            <p:grpSp>
              <p:nvGrpSpPr>
                <p:cNvPr id="16" name="组合 15"/>
                <p:cNvGrpSpPr/>
                <p:nvPr/>
              </p:nvGrpSpPr>
              <p:grpSpPr>
                <a:xfrm>
                  <a:off x="5139956" y="2066114"/>
                  <a:ext cx="3836940" cy="1322414"/>
                  <a:chOff x="1" y="2662635"/>
                  <a:chExt cx="3651966" cy="1539900"/>
                </a:xfrm>
              </p:grpSpPr>
              <p:sp>
                <p:nvSpPr>
                  <p:cNvPr id="19" name="矩形 18"/>
                  <p:cNvSpPr/>
                  <p:nvPr/>
                </p:nvSpPr>
                <p:spPr>
                  <a:xfrm>
                    <a:off x="1" y="2662635"/>
                    <a:ext cx="1841176" cy="321360"/>
                  </a:xfrm>
                  <a:prstGeom prst="rect">
                    <a:avLst/>
                  </a:prstGeom>
                  <a:noFill/>
                </p:spPr>
                <p:txBody>
                  <a:bodyPr wrap="none" numCol="1" rtlCol="0">
                    <a:prstTxWarp prst="textPlain">
                      <a:avLst/>
                    </a:prstTxWarp>
                    <a:spAutoFit/>
                  </a:bodyPr>
                  <a:lstStyle/>
                  <a:p>
                    <a:pPr lvl="0"/>
                    <a:endParaRPr lang="en-US" altLang="zh-CN" sz="8800" noProof="0" dirty="0">
                      <a:solidFill>
                        <a:schemeClr val="bg1"/>
                      </a:solidFill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35" name="文本框 34"/>
                  <p:cNvSpPr txBox="1"/>
                  <p:nvPr/>
                </p:nvSpPr>
                <p:spPr>
                  <a:xfrm>
                    <a:off x="83455" y="3315634"/>
                    <a:ext cx="3568512" cy="88690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prstTxWarp prst="textPlain">
                      <a:avLst/>
                    </a:prstTxWarp>
                    <a:spAutoFit/>
                  </a:bodyPr>
                  <a:lstStyle/>
                  <a:p>
                    <a:r>
                      <a:rPr lang="zh-CN" altLang="en-US" sz="8800" b="1" dirty="0">
                        <a:solidFill>
                          <a:schemeClr val="bg1"/>
                        </a:solidFill>
                        <a:latin typeface="字魂184号-银翼创世黑" panose="00000500000000000000" pitchFamily="2" charset="-122"/>
                        <a:ea typeface="字魂184号-银翼创世黑" panose="00000500000000000000" pitchFamily="2" charset="-122"/>
                        <a:cs typeface="+mn-ea"/>
                        <a:sym typeface="+mn-lt"/>
                      </a:rPr>
                      <a:t>谢谢聆听</a:t>
                    </a:r>
                    <a:endParaRPr lang="zh-CN" altLang="en-US" sz="8800" b="1" dirty="0">
                      <a:solidFill>
                        <a:schemeClr val="bg1"/>
                      </a:solidFill>
                      <a:latin typeface="字魂184号-银翼创世黑" panose="00000500000000000000" pitchFamily="2" charset="-122"/>
                      <a:ea typeface="字魂184号-银翼创世黑" panose="00000500000000000000" pitchFamily="2" charset="-122"/>
                      <a:cs typeface="+mn-ea"/>
                      <a:sym typeface="+mn-lt"/>
                    </a:endParaRPr>
                  </a:p>
                </p:txBody>
              </p:sp>
            </p:grpSp>
            <p:sp>
              <p:nvSpPr>
                <p:cNvPr id="17" name="文本框 16"/>
                <p:cNvSpPr txBox="1"/>
                <p:nvPr/>
              </p:nvSpPr>
              <p:spPr>
                <a:xfrm>
                  <a:off x="7457736" y="1908357"/>
                  <a:ext cx="1519191" cy="521934"/>
                </a:xfrm>
                <a:prstGeom prst="rect">
                  <a:avLst/>
                </a:prstGeom>
                <a:noFill/>
              </p:spPr>
              <p:txBody>
                <a:bodyPr wrap="none" rtlCol="0">
                  <a:prstTxWarp prst="textPlain">
                    <a:avLst/>
                  </a:prstTxWarp>
                  <a:spAutoFit/>
                </a:bodyPr>
                <a:lstStyle/>
                <a:p>
                  <a:endParaRPr lang="zh-CN" altLang="en-US" sz="66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cxnSp>
            <p:nvCxnSpPr>
              <p:cNvPr id="14" name="直接连接符 13"/>
              <p:cNvCxnSpPr/>
              <p:nvPr/>
            </p:nvCxnSpPr>
            <p:spPr>
              <a:xfrm>
                <a:off x="2383834" y="4961879"/>
                <a:ext cx="1426168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/>
              <p:cNvCxnSpPr/>
              <p:nvPr/>
            </p:nvCxnSpPr>
            <p:spPr>
              <a:xfrm>
                <a:off x="2383834" y="5317480"/>
                <a:ext cx="1426168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" name="组合 20"/>
          <p:cNvGrpSpPr/>
          <p:nvPr/>
        </p:nvGrpSpPr>
        <p:grpSpPr>
          <a:xfrm>
            <a:off x="-707035" y="417257"/>
            <a:ext cx="4697630" cy="5823950"/>
            <a:chOff x="5192523" y="-1690798"/>
            <a:chExt cx="6576646" cy="8153487"/>
          </a:xfrm>
        </p:grpSpPr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92523" y="-1690798"/>
              <a:ext cx="6576646" cy="5487082"/>
            </a:xfrm>
            <a:prstGeom prst="rect">
              <a:avLst/>
            </a:prstGeom>
          </p:spPr>
        </p:pic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388070" y="1254956"/>
              <a:ext cx="2477464" cy="5207733"/>
            </a:xfrm>
            <a:prstGeom prst="rect">
              <a:avLst/>
            </a:prstGeom>
          </p:spPr>
        </p:pic>
      </p:grpSp>
      <p:pic>
        <p:nvPicPr>
          <p:cNvPr id="32" name="图片 3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2164" y="2112739"/>
            <a:ext cx="1919637" cy="2994634"/>
          </a:xfrm>
          <a:prstGeom prst="rect">
            <a:avLst/>
          </a:prstGeom>
        </p:spPr>
      </p:pic>
    </p:spTree>
    <p:custDataLst>
      <p:tags r:id="rId6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连接符: 肘形 32"/>
          <p:cNvCxnSpPr/>
          <p:nvPr/>
        </p:nvCxnSpPr>
        <p:spPr>
          <a:xfrm rot="10800000" flipV="1">
            <a:off x="0" y="3286389"/>
            <a:ext cx="12706350" cy="3038210"/>
          </a:xfrm>
          <a:prstGeom prst="bentConnector3">
            <a:avLst>
              <a:gd name="adj1" fmla="val 11469"/>
            </a:avLst>
          </a:prstGeom>
          <a:ln w="76200">
            <a:solidFill>
              <a:schemeClr val="accent2">
                <a:alpha val="2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图片 33"/>
          <p:cNvPicPr>
            <a:picLocks noChangeAspect="1"/>
          </p:cNvPicPr>
          <p:nvPr/>
        </p:nvPicPr>
        <p:blipFill>
          <a:blip r:embed="rId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3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244749" y="4111421"/>
            <a:ext cx="13436749" cy="4529721"/>
          </a:xfrm>
          <a:prstGeom prst="rect">
            <a:avLst/>
          </a:prstGeom>
        </p:spPr>
      </p:pic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4" imgW="9525" imgH="9525" progId="TCLayout.ActiveDocument.1">
                  <p:embed/>
                </p:oleObj>
              </mc:Choice>
              <mc:Fallback>
                <p:oleObj name="think-cell Slide" r:id="rId4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思源黑体" panose="020B0400000000000000" pitchFamily="34" charset="-122"/>
              <a:ea typeface="思源黑体" panose="020B0400000000000000" pitchFamily="34" charset="-122"/>
              <a:cs typeface="+mj-cs"/>
              <a:sym typeface="思源黑体" panose="020B0400000000000000" pitchFamily="34" charset="-122"/>
            </a:endParaRPr>
          </a:p>
        </p:txBody>
      </p:sp>
      <p:sp>
        <p:nvSpPr>
          <p:cNvPr id="40" name="椭圆 39"/>
          <p:cNvSpPr/>
          <p:nvPr/>
        </p:nvSpPr>
        <p:spPr>
          <a:xfrm>
            <a:off x="3923093" y="1917404"/>
            <a:ext cx="976702" cy="976702"/>
          </a:xfrm>
          <a:prstGeom prst="ellipse">
            <a:avLst/>
          </a:prstGeom>
          <a:solidFill>
            <a:schemeClr val="accent1"/>
          </a:solidFill>
          <a:ln w="92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0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4100485" y="2037366"/>
            <a:ext cx="81624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01.</a:t>
            </a:r>
            <a:endParaRPr lang="zh-CN" altLang="en-US" sz="36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42" name="矩形 41"/>
          <p:cNvSpPr/>
          <p:nvPr/>
        </p:nvSpPr>
        <p:spPr>
          <a:xfrm>
            <a:off x="5071778" y="2114267"/>
            <a:ext cx="180848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zh-CN" altLang="en-US" sz="3200" dirty="0">
                <a:latin typeface="尔雅秀丽楷书" panose="00000500000000000000" charset="-122"/>
                <a:ea typeface="尔雅秀丽楷书" panose="00000500000000000000" charset="-122"/>
                <a:sym typeface="思源黑体" panose="020B0400000000000000" pitchFamily="34" charset="-122"/>
              </a:rPr>
              <a:t>初步认识</a:t>
            </a:r>
            <a:endParaRPr lang="zh-CN" altLang="en-US" sz="3200" dirty="0">
              <a:latin typeface="尔雅秀丽楷书" panose="00000500000000000000" charset="-122"/>
              <a:ea typeface="尔雅秀丽楷书" panose="00000500000000000000" charset="-122"/>
              <a:sym typeface="思源黑体" panose="020B0400000000000000" pitchFamily="34" charset="-122"/>
            </a:endParaRPr>
          </a:p>
        </p:txBody>
      </p:sp>
      <p:sp>
        <p:nvSpPr>
          <p:cNvPr id="44" name="椭圆 43"/>
          <p:cNvSpPr/>
          <p:nvPr/>
        </p:nvSpPr>
        <p:spPr>
          <a:xfrm>
            <a:off x="3876103" y="3614981"/>
            <a:ext cx="976702" cy="97670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4003330" y="3780028"/>
            <a:ext cx="81625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02.</a:t>
            </a:r>
            <a:endParaRPr lang="zh-CN" altLang="en-US" sz="36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5018438" y="3842959"/>
            <a:ext cx="180848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zh-CN" altLang="en-US" sz="3200" dirty="0">
                <a:latin typeface="尔雅秀丽楷书" panose="00000500000000000000" charset="-122"/>
                <a:ea typeface="尔雅秀丽楷书" panose="00000500000000000000" charset="-122"/>
                <a:sym typeface="思源黑体" panose="020B0400000000000000" pitchFamily="34" charset="-122"/>
              </a:rPr>
              <a:t>深入了解</a:t>
            </a:r>
            <a:endParaRPr lang="zh-CN" altLang="en-US" sz="3200" dirty="0">
              <a:latin typeface="尔雅秀丽楷书" panose="00000500000000000000" charset="-122"/>
              <a:ea typeface="尔雅秀丽楷书" panose="00000500000000000000" charset="-122"/>
              <a:sym typeface="思源黑体" panose="020B0400000000000000" pitchFamily="34" charset="-122"/>
            </a:endParaRPr>
          </a:p>
        </p:txBody>
      </p:sp>
      <p:sp>
        <p:nvSpPr>
          <p:cNvPr id="22" name="椭圆 21"/>
          <p:cNvSpPr/>
          <p:nvPr/>
        </p:nvSpPr>
        <p:spPr>
          <a:xfrm>
            <a:off x="7362979" y="1917404"/>
            <a:ext cx="976702" cy="976702"/>
          </a:xfrm>
          <a:prstGeom prst="ellipse">
            <a:avLst/>
          </a:prstGeom>
          <a:solidFill>
            <a:schemeClr val="accent1"/>
          </a:solidFill>
          <a:ln w="9225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defTabSz="91440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7511299" y="2083721"/>
            <a:ext cx="874395" cy="6451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03.</a:t>
            </a:r>
            <a:endParaRPr lang="zh-CN" altLang="en-US" sz="36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8385934" y="2114267"/>
            <a:ext cx="180848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zh-CN" altLang="en-US" sz="3200" dirty="0">
                <a:latin typeface="尔雅秀丽楷书" panose="00000500000000000000" charset="-122"/>
                <a:ea typeface="尔雅秀丽楷书" panose="00000500000000000000" charset="-122"/>
                <a:sym typeface="思源黑体" panose="020B0400000000000000" pitchFamily="34" charset="-122"/>
              </a:rPr>
              <a:t>案例分析</a:t>
            </a:r>
            <a:endParaRPr lang="zh-CN" altLang="en-US" sz="3200" dirty="0">
              <a:latin typeface="尔雅秀丽楷书" panose="00000500000000000000" charset="-122"/>
              <a:ea typeface="尔雅秀丽楷书" panose="00000500000000000000" charset="-122"/>
              <a:sym typeface="思源黑体" panose="020B0400000000000000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8695814" y="3881694"/>
            <a:ext cx="995680" cy="5835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zh-CN" altLang="en-US" sz="3200" dirty="0">
                <a:latin typeface="尔雅秀丽楷书" panose="00000500000000000000" charset="-122"/>
                <a:ea typeface="尔雅秀丽楷书" panose="00000500000000000000" charset="-122"/>
                <a:sym typeface="思源黑体" panose="020B0400000000000000" pitchFamily="34" charset="-122"/>
              </a:rPr>
              <a:t>实战</a:t>
            </a:r>
            <a:endParaRPr lang="zh-CN" altLang="en-US" sz="3200" dirty="0">
              <a:latin typeface="尔雅秀丽楷书" panose="00000500000000000000" charset="-122"/>
              <a:ea typeface="尔雅秀丽楷书" panose="00000500000000000000" charset="-122"/>
              <a:sym typeface="思源黑体" panose="020B0400000000000000" pitchFamily="34" charset="-122"/>
            </a:endParaRPr>
          </a:p>
        </p:txBody>
      </p:sp>
      <p:cxnSp>
        <p:nvCxnSpPr>
          <p:cNvPr id="32" name="连接符: 肘形 31"/>
          <p:cNvCxnSpPr/>
          <p:nvPr/>
        </p:nvCxnSpPr>
        <p:spPr>
          <a:xfrm flipV="1">
            <a:off x="0" y="742951"/>
            <a:ext cx="12192000" cy="3615826"/>
          </a:xfrm>
          <a:prstGeom prst="bentConnector3">
            <a:avLst>
              <a:gd name="adj1" fmla="val 26250"/>
            </a:avLst>
          </a:prstGeom>
          <a:ln w="76200">
            <a:solidFill>
              <a:schemeClr val="accent1">
                <a:alpha val="5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ïSḷïḑé"/>
          <p:cNvSpPr/>
          <p:nvPr/>
        </p:nvSpPr>
        <p:spPr bwMode="auto">
          <a:xfrm rot="3451689">
            <a:off x="492228" y="2066649"/>
            <a:ext cx="3343576" cy="2724702"/>
          </a:xfrm>
          <a:custGeom>
            <a:avLst/>
            <a:gdLst>
              <a:gd name="T0" fmla="*/ 483 w 1647"/>
              <a:gd name="T1" fmla="*/ 270 h 1078"/>
              <a:gd name="T2" fmla="*/ 746 w 1647"/>
              <a:gd name="T3" fmla="*/ 176 h 1078"/>
              <a:gd name="T4" fmla="*/ 1314 w 1647"/>
              <a:gd name="T5" fmla="*/ 117 h 1078"/>
              <a:gd name="T6" fmla="*/ 1569 w 1647"/>
              <a:gd name="T7" fmla="*/ 684 h 1078"/>
              <a:gd name="T8" fmla="*/ 775 w 1647"/>
              <a:gd name="T9" fmla="*/ 1058 h 1078"/>
              <a:gd name="T10" fmla="*/ 18 w 1647"/>
              <a:gd name="T11" fmla="*/ 563 h 1078"/>
              <a:gd name="T12" fmla="*/ 483 w 1647"/>
              <a:gd name="T13" fmla="*/ 270 h 10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47" h="1078">
                <a:moveTo>
                  <a:pt x="483" y="270"/>
                </a:moveTo>
                <a:cubicBezTo>
                  <a:pt x="483" y="270"/>
                  <a:pt x="584" y="297"/>
                  <a:pt x="746" y="176"/>
                </a:cubicBezTo>
                <a:cubicBezTo>
                  <a:pt x="908" y="55"/>
                  <a:pt x="1102" y="0"/>
                  <a:pt x="1314" y="117"/>
                </a:cubicBezTo>
                <a:cubicBezTo>
                  <a:pt x="1526" y="234"/>
                  <a:pt x="1647" y="488"/>
                  <a:pt x="1569" y="684"/>
                </a:cubicBezTo>
                <a:cubicBezTo>
                  <a:pt x="1499" y="863"/>
                  <a:pt x="1236" y="1078"/>
                  <a:pt x="775" y="1058"/>
                </a:cubicBezTo>
                <a:cubicBezTo>
                  <a:pt x="315" y="1039"/>
                  <a:pt x="0" y="773"/>
                  <a:pt x="18" y="563"/>
                </a:cubicBezTo>
                <a:cubicBezTo>
                  <a:pt x="33" y="379"/>
                  <a:pt x="136" y="244"/>
                  <a:pt x="483" y="27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>
              <a:solidFill>
                <a:schemeClr val="lt1"/>
              </a:solidFill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1477645" y="3197860"/>
            <a:ext cx="1770380" cy="706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40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目录</a:t>
            </a:r>
            <a:endParaRPr lang="zh-CN" altLang="en-US" sz="40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  <p:sp>
        <p:nvSpPr>
          <p:cNvPr id="4" name="椭圆 3"/>
          <p:cNvSpPr/>
          <p:nvPr/>
        </p:nvSpPr>
        <p:spPr>
          <a:xfrm>
            <a:off x="7409243" y="3685466"/>
            <a:ext cx="976702" cy="97670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>
            <a:off x="7511208" y="3851148"/>
            <a:ext cx="874395" cy="645160"/>
          </a:xfrm>
          <a:prstGeom prst="rect">
            <a:avLst/>
          </a:prstGeom>
        </p:spPr>
        <p:txBody>
          <a:bodyPr wrap="none">
            <a:spAutoFit/>
          </a:bodyPr>
          <a:p>
            <a:pPr algn="ctr"/>
            <a:r>
              <a:rPr lang="en-US" altLang="zh-CN" sz="3600" b="1" dirty="0">
                <a:solidFill>
                  <a:schemeClr val="bg1"/>
                </a:solidFill>
                <a:latin typeface="思源黑体" panose="020B0400000000000000" pitchFamily="34" charset="-122"/>
                <a:ea typeface="思源黑体" panose="020B0400000000000000" pitchFamily="34" charset="-122"/>
                <a:sym typeface="思源黑体" panose="020B0400000000000000" pitchFamily="34" charset="-122"/>
              </a:rPr>
              <a:t>04.</a:t>
            </a:r>
            <a:endParaRPr lang="zh-CN" altLang="en-US" sz="3600" b="1" dirty="0">
              <a:solidFill>
                <a:schemeClr val="bg1"/>
              </a:solidFill>
              <a:latin typeface="思源黑体" panose="020B0400000000000000" pitchFamily="34" charset="-122"/>
              <a:ea typeface="思源黑体" panose="020B0400000000000000" pitchFamily="34" charset="-122"/>
              <a:sym typeface="思源黑体" panose="020B0400000000000000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000"/>
                            </p:stCondLst>
                            <p:childTnLst>
                              <p:par>
                                <p:cTn id="3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00"/>
                            </p:stCondLst>
                            <p:childTnLst>
                              <p:par>
                                <p:cTn id="4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000"/>
                            </p:stCondLst>
                            <p:childTnLst>
                              <p:par>
                                <p:cTn id="5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4500"/>
                            </p:stCondLst>
                            <p:childTnLst>
                              <p:par>
                                <p:cTn id="6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0"/>
                            </p:stCondLst>
                            <p:childTnLst>
                              <p:par>
                                <p:cTn id="6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500"/>
                            </p:stCondLst>
                            <p:childTnLst>
                              <p:par>
                                <p:cTn id="7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6000"/>
                            </p:stCondLst>
                            <p:childTnLst>
                              <p:par>
                                <p:cTn id="7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500"/>
                            </p:stCondLst>
                            <p:childTnLst>
                              <p:par>
                                <p:cTn id="8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bldLvl="0" animBg="1"/>
      <p:bldP spid="41" grpId="0"/>
      <p:bldP spid="42" grpId="0"/>
      <p:bldP spid="44" grpId="0" bldLvl="0" animBg="1"/>
      <p:bldP spid="45" grpId="0"/>
      <p:bldP spid="46" grpId="0"/>
      <p:bldP spid="22" grpId="0" bldLvl="0" animBg="1"/>
      <p:bldP spid="23" grpId="0"/>
      <p:bldP spid="24" grpId="0"/>
      <p:bldP spid="28" grpId="0"/>
      <p:bldP spid="20" grpId="0" bldLvl="0" animBg="1"/>
      <p:bldP spid="43" grpId="0"/>
      <p:bldP spid="4" grpId="0" bldLvl="0" animBg="1"/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/>
          <p:cNvPicPr>
            <a:picLocks noChangeAspect="1"/>
          </p:cNvPicPr>
          <p:nvPr/>
        </p:nvPicPr>
        <p:blipFill>
          <a:blip r:embed="rId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rightnessContrast bright="3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1298921" y="3637539"/>
            <a:ext cx="13436749" cy="4529721"/>
          </a:xfrm>
          <a:prstGeom prst="rect">
            <a:avLst/>
          </a:prstGeom>
        </p:spPr>
      </p:pic>
      <p:cxnSp>
        <p:nvCxnSpPr>
          <p:cNvPr id="10" name="连接符: 肘形 9"/>
          <p:cNvCxnSpPr/>
          <p:nvPr/>
        </p:nvCxnSpPr>
        <p:spPr>
          <a:xfrm flipV="1">
            <a:off x="0" y="742951"/>
            <a:ext cx="12192000" cy="3615826"/>
          </a:xfrm>
          <a:prstGeom prst="bentConnector3">
            <a:avLst>
              <a:gd name="adj1" fmla="val 26250"/>
            </a:avLst>
          </a:prstGeom>
          <a:ln w="76200">
            <a:solidFill>
              <a:schemeClr val="accent1">
                <a:alpha val="5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连接符: 肘形 10"/>
          <p:cNvCxnSpPr/>
          <p:nvPr/>
        </p:nvCxnSpPr>
        <p:spPr>
          <a:xfrm rot="10800000" flipV="1">
            <a:off x="0" y="3286389"/>
            <a:ext cx="12706350" cy="3038210"/>
          </a:xfrm>
          <a:prstGeom prst="bentConnector3">
            <a:avLst>
              <a:gd name="adj1" fmla="val 11469"/>
            </a:avLst>
          </a:prstGeom>
          <a:ln w="76200">
            <a:solidFill>
              <a:schemeClr val="accent2">
                <a:alpha val="2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/>
          <p:cNvSpPr/>
          <p:nvPr/>
        </p:nvSpPr>
        <p:spPr>
          <a:xfrm>
            <a:off x="2630129" y="3125163"/>
            <a:ext cx="6931742" cy="7952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5" name="标题 4"/>
          <p:cNvSpPr>
            <a:spLocks noGrp="1"/>
          </p:cNvSpPr>
          <p:nvPr>
            <p:ph type="title" idx="4294967295"/>
          </p:nvPr>
        </p:nvSpPr>
        <p:spPr>
          <a:xfrm>
            <a:off x="2917372" y="3201942"/>
            <a:ext cx="6357258" cy="560387"/>
          </a:xfrm>
        </p:spPr>
        <p:txBody>
          <a:bodyPr/>
          <a:lstStyle/>
          <a:p>
            <a:pPr algn="ctr"/>
            <a:r>
              <a:rPr lang="zh-CN" altLang="en-US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+mn-ea"/>
                <a:sym typeface="+mn-lt"/>
              </a:rPr>
              <a:t>初步认识</a:t>
            </a:r>
            <a:endParaRPr lang="zh-CN" altLang="en-US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4294967295"/>
          </p:nvPr>
        </p:nvSpPr>
        <p:spPr>
          <a:xfrm>
            <a:off x="2514239" y="4117144"/>
            <a:ext cx="7165478" cy="2011900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（</a:t>
            </a:r>
            <a:r>
              <a:rPr lang="en-US" altLang="zh-CN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1-1</a:t>
            </a: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</a:t>
            </a: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剪映的界面</a:t>
            </a:r>
            <a:endParaRPr lang="en-US" altLang="zh-CN" sz="2000" dirty="0">
              <a:solidFill>
                <a:schemeClr val="accent4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  <a:p>
            <a:pPr marL="0" indent="0" algn="ctr">
              <a:buNone/>
            </a:pP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    （</a:t>
            </a:r>
            <a:r>
              <a:rPr lang="en-US" altLang="zh-CN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1-2</a:t>
            </a: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剪辑功能的使用</a:t>
            </a:r>
            <a:endParaRPr lang="en-US" altLang="zh-CN" sz="2000" dirty="0">
              <a:solidFill>
                <a:schemeClr val="accent4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  <a:p>
            <a:pPr marL="0" indent="0" algn="ctr">
              <a:buNone/>
            </a:pP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    （</a:t>
            </a:r>
            <a:r>
              <a:rPr lang="en-US" altLang="zh-CN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1-3</a:t>
            </a:r>
            <a:r>
              <a:rPr lang="zh-CN" altLang="en-US" sz="2000" dirty="0">
                <a:solidFill>
                  <a:schemeClr val="accent4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剪辑转场的使用</a:t>
            </a:r>
            <a:endParaRPr lang="zh-CN" altLang="en-US" sz="2000" dirty="0">
              <a:solidFill>
                <a:schemeClr val="accent4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428344" y="1999908"/>
            <a:ext cx="1335314" cy="1044642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4"/>
                </a:solidFill>
                <a:cs typeface="+mn-ea"/>
                <a:sym typeface="+mn-lt"/>
              </a:rPr>
              <a:t>0</a:t>
            </a:r>
            <a:r>
              <a:rPr lang="en-US" altLang="zh-CN" sz="100" spc="100" dirty="0">
                <a:solidFill>
                  <a:schemeClr val="accent4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4"/>
                </a:solidFill>
                <a:cs typeface="+mn-ea"/>
                <a:sym typeface="+mn-lt"/>
              </a:rPr>
              <a:t>1</a:t>
            </a:r>
            <a:endParaRPr lang="zh-CN" altLang="en-US" spc="100" dirty="0">
              <a:solidFill>
                <a:schemeClr val="accent4"/>
              </a:solidFill>
              <a:cs typeface="+mn-ea"/>
              <a:sym typeface="+mn-lt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86" y="881574"/>
            <a:ext cx="3303486" cy="2756192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047" y="2660956"/>
            <a:ext cx="1244444" cy="2615873"/>
          </a:xfrm>
          <a:prstGeom prst="rect">
            <a:avLst/>
          </a:prstGeom>
        </p:spPr>
      </p:pic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/>
      <p:bldP spid="6" grpId="0" build="p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9"/>
          <p:cNvSpPr/>
          <p:nvPr/>
        </p:nvSpPr>
        <p:spPr>
          <a:xfrm>
            <a:off x="1404106" y="3976391"/>
            <a:ext cx="9393181" cy="6255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45"/>
          </a:p>
        </p:txBody>
      </p:sp>
      <p:sp>
        <p:nvSpPr>
          <p:cNvPr id="109" name="Text Box 7"/>
          <p:cNvSpPr txBox="1">
            <a:spLocks noChangeArrowheads="1"/>
          </p:cNvSpPr>
          <p:nvPr/>
        </p:nvSpPr>
        <p:spPr bwMode="auto">
          <a:xfrm>
            <a:off x="2126895" y="4169320"/>
            <a:ext cx="2043056" cy="2842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ctr" defTabSz="1116330"/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合同主要风险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111" name="Text Box 7"/>
          <p:cNvSpPr txBox="1">
            <a:spLocks noChangeArrowheads="1"/>
          </p:cNvSpPr>
          <p:nvPr/>
        </p:nvSpPr>
        <p:spPr bwMode="auto">
          <a:xfrm>
            <a:off x="5124940" y="4169320"/>
            <a:ext cx="2020716" cy="284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ctr" defTabSz="1116330"/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合同特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53675" y="462157"/>
            <a:ext cx="272767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（</a:t>
            </a:r>
            <a:r>
              <a:rPr lang="en-US" altLang="zh-CN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1-1</a:t>
            </a: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剪映的界面</a:t>
            </a:r>
            <a:endParaRPr lang="zh-CN" altLang="en-US" sz="2400" spc="3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26235" y="1094740"/>
            <a:ext cx="9018270" cy="498729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/>
      <p:bldP spid="1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9"/>
          <p:cNvSpPr/>
          <p:nvPr/>
        </p:nvSpPr>
        <p:spPr>
          <a:xfrm>
            <a:off x="1404106" y="3976391"/>
            <a:ext cx="9393181" cy="6255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45"/>
          </a:p>
        </p:txBody>
      </p:sp>
      <p:sp>
        <p:nvSpPr>
          <p:cNvPr id="109" name="Text Box 7"/>
          <p:cNvSpPr txBox="1">
            <a:spLocks noChangeArrowheads="1"/>
          </p:cNvSpPr>
          <p:nvPr/>
        </p:nvSpPr>
        <p:spPr bwMode="auto">
          <a:xfrm>
            <a:off x="2126895" y="4169320"/>
            <a:ext cx="2043056" cy="2842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ctr" defTabSz="1116330"/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合同主要风险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111" name="Text Box 7"/>
          <p:cNvSpPr txBox="1">
            <a:spLocks noChangeArrowheads="1"/>
          </p:cNvSpPr>
          <p:nvPr/>
        </p:nvSpPr>
        <p:spPr bwMode="auto">
          <a:xfrm>
            <a:off x="5124940" y="4169320"/>
            <a:ext cx="2020716" cy="284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ctr" defTabSz="1116330"/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合同特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53675" y="462157"/>
            <a:ext cx="272767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（</a:t>
            </a:r>
            <a:r>
              <a:rPr lang="en-US" altLang="zh-CN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1-1</a:t>
            </a: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剪映的界面</a:t>
            </a:r>
            <a:endParaRPr lang="zh-CN" altLang="en-US" sz="2400" spc="3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40510" y="1308735"/>
            <a:ext cx="2447290" cy="301053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4445" y="1264285"/>
            <a:ext cx="2705100" cy="306387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86825" y="1264285"/>
            <a:ext cx="2424430" cy="3108325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1884680" y="4601845"/>
            <a:ext cx="175958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</a:rPr>
              <a:t>新建项目</a:t>
            </a:r>
            <a:endParaRPr lang="zh-CN" altLang="en-US" sz="2400" b="1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125085" y="4601845"/>
            <a:ext cx="240347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管理</a:t>
            </a:r>
            <a:r>
              <a:rPr lang="en-US" altLang="zh-CN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——</a:t>
            </a:r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删除键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9053830" y="4601845"/>
            <a:ext cx="19812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设置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/>
      <p:bldP spid="1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9"/>
          <p:cNvSpPr/>
          <p:nvPr/>
        </p:nvSpPr>
        <p:spPr>
          <a:xfrm>
            <a:off x="1404106" y="3976391"/>
            <a:ext cx="9393181" cy="6255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45"/>
          </a:p>
        </p:txBody>
      </p:sp>
      <p:sp>
        <p:nvSpPr>
          <p:cNvPr id="109" name="Text Box 7"/>
          <p:cNvSpPr txBox="1">
            <a:spLocks noChangeArrowheads="1"/>
          </p:cNvSpPr>
          <p:nvPr/>
        </p:nvSpPr>
        <p:spPr bwMode="auto">
          <a:xfrm>
            <a:off x="2126895" y="4169320"/>
            <a:ext cx="2043056" cy="2842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ctr" defTabSz="1116330"/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合同主要风险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111" name="Text Box 7"/>
          <p:cNvSpPr txBox="1">
            <a:spLocks noChangeArrowheads="1"/>
          </p:cNvSpPr>
          <p:nvPr/>
        </p:nvSpPr>
        <p:spPr bwMode="auto">
          <a:xfrm>
            <a:off x="5124940" y="4169320"/>
            <a:ext cx="2020716" cy="284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ctr" defTabSz="1116330"/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合同特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53675" y="462157"/>
            <a:ext cx="272767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（</a:t>
            </a:r>
            <a:r>
              <a:rPr lang="en-US" altLang="zh-CN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1-1</a:t>
            </a: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剪映的界面</a:t>
            </a:r>
            <a:endParaRPr lang="zh-CN" altLang="en-US" sz="2400" spc="3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84680" y="4601845"/>
            <a:ext cx="216471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</a:rPr>
              <a:t>设置是否添加片尾</a:t>
            </a:r>
            <a:endParaRPr lang="zh-CN" altLang="en-US" sz="2400" b="1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274310" y="4601845"/>
            <a:ext cx="240347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新建</a:t>
            </a:r>
            <a:r>
              <a:rPr lang="en-US" altLang="zh-CN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——</a:t>
            </a:r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素材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9360535" y="4601845"/>
            <a:ext cx="19812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素材库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884680" y="1264285"/>
            <a:ext cx="2284095" cy="311721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4310" y="1085215"/>
            <a:ext cx="2599690" cy="3440430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6490" y="998855"/>
            <a:ext cx="2595245" cy="345503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/>
      <p:bldP spid="1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9"/>
          <p:cNvSpPr/>
          <p:nvPr/>
        </p:nvSpPr>
        <p:spPr>
          <a:xfrm>
            <a:off x="1404106" y="3976391"/>
            <a:ext cx="9393181" cy="6255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45"/>
          </a:p>
        </p:txBody>
      </p:sp>
      <p:sp>
        <p:nvSpPr>
          <p:cNvPr id="109" name="Text Box 7"/>
          <p:cNvSpPr txBox="1">
            <a:spLocks noChangeArrowheads="1"/>
          </p:cNvSpPr>
          <p:nvPr/>
        </p:nvSpPr>
        <p:spPr bwMode="auto">
          <a:xfrm>
            <a:off x="2126895" y="4169320"/>
            <a:ext cx="2043056" cy="2842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ctr" defTabSz="1116330"/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合同主要风险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111" name="Text Box 7"/>
          <p:cNvSpPr txBox="1">
            <a:spLocks noChangeArrowheads="1"/>
          </p:cNvSpPr>
          <p:nvPr/>
        </p:nvSpPr>
        <p:spPr bwMode="auto">
          <a:xfrm>
            <a:off x="5124940" y="4169320"/>
            <a:ext cx="2020716" cy="284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ctr" defTabSz="1116330"/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合同特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53675" y="462157"/>
            <a:ext cx="272767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（</a:t>
            </a:r>
            <a:r>
              <a:rPr lang="en-US" altLang="zh-CN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1-1</a:t>
            </a: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剪映的界面</a:t>
            </a:r>
            <a:endParaRPr lang="zh-CN" altLang="en-US" sz="2400" spc="3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1884680" y="4601845"/>
            <a:ext cx="216471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 b="1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</a:rPr>
              <a:t>剪辑页面，可设置分辨率</a:t>
            </a:r>
            <a:endParaRPr lang="zh-CN" altLang="en-US" sz="2400" b="1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733540" y="4786630"/>
            <a:ext cx="19812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导出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751330" y="1061720"/>
            <a:ext cx="1914525" cy="339217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4435" y="1161415"/>
            <a:ext cx="2319020" cy="32924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/>
      <p:bldP spid="11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9"/>
          <p:cNvSpPr/>
          <p:nvPr/>
        </p:nvSpPr>
        <p:spPr>
          <a:xfrm>
            <a:off x="1404106" y="3976391"/>
            <a:ext cx="9393181" cy="6255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45"/>
          </a:p>
        </p:txBody>
      </p:sp>
      <p:sp>
        <p:nvSpPr>
          <p:cNvPr id="109" name="Text Box 7"/>
          <p:cNvSpPr txBox="1">
            <a:spLocks noChangeArrowheads="1"/>
          </p:cNvSpPr>
          <p:nvPr/>
        </p:nvSpPr>
        <p:spPr bwMode="auto">
          <a:xfrm>
            <a:off x="2126895" y="4169320"/>
            <a:ext cx="2043056" cy="28423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ctr" defTabSz="1116330"/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合同主要风险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111" name="Text Box 7"/>
          <p:cNvSpPr txBox="1">
            <a:spLocks noChangeArrowheads="1"/>
          </p:cNvSpPr>
          <p:nvPr/>
        </p:nvSpPr>
        <p:spPr bwMode="auto">
          <a:xfrm>
            <a:off x="5124940" y="4169320"/>
            <a:ext cx="2020716" cy="284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6919" tIns="23460" rIns="46919" bIns="23460">
            <a:spAutoFit/>
          </a:bodyPr>
          <a:lstStyle/>
          <a:p>
            <a:pPr algn="ctr" defTabSz="1116330"/>
            <a:r>
              <a:rPr lang="zh-CN" altLang="en-US" sz="154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anose="020B0606030504020204" pitchFamily="34" charset="0"/>
              </a:rPr>
              <a:t>合同特点</a:t>
            </a:r>
            <a:endParaRPr lang="zh-CN" altLang="en-US" sz="154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anose="020B0606030504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53675" y="462157"/>
            <a:ext cx="2727675" cy="460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（</a:t>
            </a:r>
            <a:r>
              <a:rPr lang="en-US" altLang="zh-CN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1-1</a:t>
            </a:r>
            <a:r>
              <a:rPr lang="zh-CN" altLang="en-US" sz="2400" dirty="0">
                <a:solidFill>
                  <a:schemeClr val="bg1"/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  <a:sym typeface="+mn-lt"/>
              </a:rPr>
              <a:t>）剪映的界面</a:t>
            </a:r>
            <a:endParaRPr lang="zh-CN" altLang="en-US" sz="2400" spc="300" dirty="0">
              <a:solidFill>
                <a:schemeClr val="bg1"/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  <a:sym typeface="+mn-lt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5125085" y="4169410"/>
            <a:ext cx="1981200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400">
                <a:solidFill>
                  <a:schemeClr val="accent2">
                    <a:lumMod val="75000"/>
                  </a:schemeClr>
                </a:solidFill>
                <a:latin typeface="尔雅秀丽楷书" panose="00000500000000000000" charset="-122"/>
                <a:ea typeface="尔雅秀丽楷书" panose="00000500000000000000" charset="-122"/>
                <a:cs typeface="尔雅秀丽楷书" panose="00000500000000000000" charset="-122"/>
              </a:rPr>
              <a:t>剪辑页面</a:t>
            </a:r>
            <a:endParaRPr lang="zh-CN" altLang="en-US" sz="2400">
              <a:solidFill>
                <a:schemeClr val="accent2">
                  <a:lumMod val="75000"/>
                </a:schemeClr>
              </a:solidFill>
              <a:latin typeface="尔雅秀丽楷书" panose="00000500000000000000" charset="-122"/>
              <a:ea typeface="尔雅秀丽楷书" panose="00000500000000000000" charset="-122"/>
              <a:cs typeface="尔雅秀丽楷书" panose="00000500000000000000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232785" y="1524635"/>
            <a:ext cx="5339715" cy="22510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>
        <p:random/>
      </p:transition>
    </mc:Choice>
    <mc:Fallback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/>
      <p:bldP spid="111" grpId="0"/>
    </p:bldLst>
  </p:timing>
</p:sld>
</file>

<file path=ppt/tags/tag1.xml><?xml version="1.0" encoding="utf-8"?>
<p:tagLst xmlns:p="http://schemas.openxmlformats.org/presentationml/2006/main">
  <p:tag name="ISLIDE.THEME" val="https://www.islide.cc;"/>
</p:tagLst>
</file>

<file path=ppt/tags/tag10.xml><?xml version="1.0" encoding="utf-8"?>
<p:tagLst xmlns:p="http://schemas.openxmlformats.org/presentationml/2006/main">
  <p:tag name="ISLIDE.ICON" val="#405095;"/>
</p:tagLst>
</file>

<file path=ppt/tags/tag11.xml><?xml version="1.0" encoding="utf-8"?>
<p:tagLst xmlns:p="http://schemas.openxmlformats.org/presentationml/2006/main">
  <p:tag name="ISLIDE.THEME" val="https://www.islide.cc;"/>
</p:tagLst>
</file>

<file path=ppt/tags/tag12.xml><?xml version="1.0" encoding="utf-8"?>
<p:tagLst xmlns:p="http://schemas.openxmlformats.org/presentationml/2006/main">
  <p:tag name="ISLIDE.ICON" val="#405095;"/>
</p:tagLst>
</file>

<file path=ppt/tags/tag13.xml><?xml version="1.0" encoding="utf-8"?>
<p:tagLst xmlns:p="http://schemas.openxmlformats.org/presentationml/2006/main">
  <p:tag name="ISLIDE.THEME" val="https://www.islide.cc;"/>
</p:tagLst>
</file>

<file path=ppt/tags/tag14.xml><?xml version="1.0" encoding="utf-8"?>
<p:tagLst xmlns:p="http://schemas.openxmlformats.org/presentationml/2006/main">
  <p:tag name="THINKCELLSHAPEDONOTDELETE" val="thinkcellActiveDocDoNotDelete"/>
</p:tagLst>
</file>

<file path=ppt/tags/tag15.xml><?xml version="1.0" encoding="utf-8"?>
<p:tagLst xmlns:p="http://schemas.openxmlformats.org/presentationml/2006/main">
  <p:tag name="THINKCELLSHAPEDONOTDELETE" val="tA6S0wzOvQ8a50SA42PUNRg"/>
</p:tagLst>
</file>

<file path=ppt/tags/tag16.xml><?xml version="1.0" encoding="utf-8"?>
<p:tagLst xmlns:p="http://schemas.openxmlformats.org/presentationml/2006/main">
  <p:tag name="ISLIDE.THEME" val="https://www.islide.cc;"/>
</p:tagLst>
</file>

<file path=ppt/tags/tag17.xml><?xml version="1.0" encoding="utf-8"?>
<p:tagLst xmlns:p="http://schemas.openxmlformats.org/presentationml/2006/main">
  <p:tag name="ISPRING_PRESENTATION_TITLE" val="PowerPoint 演示文稿"/>
  <p:tag name="KSO_WPP_MARK_KEY" val="4173fae1-105d-4233-b367-7ad43516bfa3"/>
  <p:tag name="COMMONDATA" val="eyJoZGlkIjoiMWZmN2RiZjcyZTg2M2YzNjljOTg1MTM5N2U5NzdiMTEifQ==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A6S0wzOvQ8a50SA42PUNRg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A6S0wzOvQ8a50SA42PUNRg"/>
</p:tagLst>
</file>

<file path=ppt/tags/tag6.xml><?xml version="1.0" encoding="utf-8"?>
<p:tagLst xmlns:p="http://schemas.openxmlformats.org/presentationml/2006/main">
  <p:tag name="ISLIDE.THEME" val="https://www.islide.cc;"/>
</p:tagLst>
</file>

<file path=ppt/tags/tag7.xml><?xml version="1.0" encoding="utf-8"?>
<p:tagLst xmlns:p="http://schemas.openxmlformats.org/presentationml/2006/main">
  <p:tag name="ISLIDE.THEME" val="https://www.islide.cc;"/>
</p:tagLst>
</file>

<file path=ppt/tags/tag8.xml><?xml version="1.0" encoding="utf-8"?>
<p:tagLst xmlns:p="http://schemas.openxmlformats.org/presentationml/2006/main">
  <p:tag name="ISLIDE.ICON" val="#405095;"/>
</p:tagLst>
</file>

<file path=ppt/tags/tag9.xml><?xml version="1.0" encoding="utf-8"?>
<p:tagLst xmlns:p="http://schemas.openxmlformats.org/presentationml/2006/main">
  <p:tag name="ISLIDE.ICON" val="#405095;"/>
</p:tagLst>
</file>

<file path=ppt/theme/theme1.xml><?xml version="1.0" encoding="utf-8"?>
<a:theme xmlns:a="http://schemas.openxmlformats.org/drawingml/2006/main" name="Office Theme">
  <a:themeElements>
    <a:clrScheme name="自定义 2474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789DFC"/>
      </a:accent1>
      <a:accent2>
        <a:srgbClr val="FF743E"/>
      </a:accent2>
      <a:accent3>
        <a:srgbClr val="AEC4FD"/>
      </a:accent3>
      <a:accent4>
        <a:srgbClr val="1F5CFA"/>
      </a:accent4>
      <a:accent5>
        <a:srgbClr val="A5BDFD"/>
      </a:accent5>
      <a:accent6>
        <a:srgbClr val="ED4200"/>
      </a:accent6>
      <a:hlink>
        <a:srgbClr val="1B4939"/>
      </a:hlink>
      <a:folHlink>
        <a:srgbClr val="BFBFBF"/>
      </a:folHlink>
    </a:clrScheme>
    <a:fontScheme name="24tm5fhk">
      <a:majorFont>
        <a:latin typeface="思源黑体 CN Medium"/>
        <a:ea typeface="思源黑体 CN Light"/>
        <a:cs typeface=""/>
      </a:majorFont>
      <a:minorFont>
        <a:latin typeface="思源黑体 CN Medium"/>
        <a:ea typeface="思源黑体 CN Light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主题​​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F5CFA"/>
      </a:accent1>
      <a:accent2>
        <a:srgbClr val="0CE6DA"/>
      </a:accent2>
      <a:accent3>
        <a:srgbClr val="FF743E"/>
      </a:accent3>
      <a:accent4>
        <a:srgbClr val="654BE3"/>
      </a:accent4>
      <a:accent5>
        <a:srgbClr val="33E69C"/>
      </a:accent5>
      <a:accent6>
        <a:srgbClr val="F84D4D"/>
      </a:accent6>
      <a:hlink>
        <a:srgbClr val="1B4939"/>
      </a:hlink>
      <a:folHlink>
        <a:srgbClr val="BFBFBF"/>
      </a:folHlink>
    </a:clrScheme>
    <a:fontScheme name="24tm5fhk">
      <a:majorFont>
        <a:latin typeface="思源黑体 CN Medium"/>
        <a:ea typeface="思源黑体 CN Light"/>
        <a:cs typeface=""/>
      </a:majorFont>
      <a:minorFont>
        <a:latin typeface="思源黑体 CN Medium"/>
        <a:ea typeface="思源黑体 CN Light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722</Words>
  <Application>WPS 演示</Application>
  <PresentationFormat>宽屏</PresentationFormat>
  <Paragraphs>168</Paragraphs>
  <Slides>20</Slides>
  <Notes>15</Notes>
  <HiddenSlides>0</HiddenSlides>
  <MMClips>1</MMClips>
  <ScaleCrop>false</ScaleCrop>
  <HeadingPairs>
    <vt:vector size="8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20</vt:i4>
      </vt:variant>
    </vt:vector>
  </HeadingPairs>
  <TitlesOfParts>
    <vt:vector size="41" baseType="lpstr">
      <vt:lpstr>Arial</vt:lpstr>
      <vt:lpstr>宋体</vt:lpstr>
      <vt:lpstr>Wingdings</vt:lpstr>
      <vt:lpstr>尔雅盛唐真书</vt:lpstr>
      <vt:lpstr>思源黑体</vt:lpstr>
      <vt:lpstr>黑体</vt:lpstr>
      <vt:lpstr>尔雅秀丽楷书</vt:lpstr>
      <vt:lpstr>尔雅酷黑体</vt:lpstr>
      <vt:lpstr>楷体_GB2312</vt:lpstr>
      <vt:lpstr>微软雅黑</vt:lpstr>
      <vt:lpstr>Open Sans</vt:lpstr>
      <vt:lpstr>思源黑体 CN Medium</vt:lpstr>
      <vt:lpstr>Arial Unicode MS</vt:lpstr>
      <vt:lpstr>等线</vt:lpstr>
      <vt:lpstr>字魂184号-银翼创世黑</vt:lpstr>
      <vt:lpstr>思源黑体 CN Light</vt:lpstr>
      <vt:lpstr>Office Theme</vt:lpstr>
      <vt:lpstr>1_Office Theme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初步认识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深入了解</vt:lpstr>
      <vt:lpstr>PowerPoint 演示文稿</vt:lpstr>
      <vt:lpstr>PowerPoint 演示文稿</vt:lpstr>
      <vt:lpstr>PowerPoint 演示文稿</vt:lpstr>
      <vt:lpstr>案例分析</vt:lpstr>
      <vt:lpstr>PowerPoint 演示文稿</vt:lpstr>
      <vt:lpstr>实战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孝昌电商培训中心-小仙女</cp:lastModifiedBy>
  <cp:revision>255</cp:revision>
  <dcterms:created xsi:type="dcterms:W3CDTF">2019-07-11T04:52:00Z</dcterms:created>
  <dcterms:modified xsi:type="dcterms:W3CDTF">2022-11-22T06:4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2763</vt:lpwstr>
  </property>
  <property fmtid="{D5CDD505-2E9C-101B-9397-08002B2CF9AE}" pid="3" name="ICV">
    <vt:lpwstr>68480D7DA1054364A1E80F43E0DBAD0F</vt:lpwstr>
  </property>
</Properties>
</file>